
<file path=[Content_Types].xml><?xml version="1.0" encoding="utf-8"?>
<Types xmlns="http://schemas.openxmlformats.org/package/2006/content-types">
  <Default Extension="rels" ContentType="application/vnd.openxmlformats-package.relationships+xml"/>
  <Default Extension="jpeg" ContentType="image/jpeg"/>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10.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4.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15.xml" ContentType="application/vnd.openxmlformats-officedocument.presentationml.slide+xml"/>
  <Override PartName="/ppt/slides/slide2.xml" ContentType="application/vnd.openxmlformats-officedocument.presentationml.slide+xml"/>
  <Override PartName="/ppt/notesSlides/notesSlide8.xml" ContentType="application/vnd.openxmlformats-officedocument.presentationml.notesSlide+xml"/>
  <Override PartName="/ppt/slideMasters/slideMaster2.xml" ContentType="application/vnd.openxmlformats-officedocument.presentationml.slideMaster+xml"/>
  <Override PartName="/ppt/notesSlides/notesSlide7.xml" ContentType="application/vnd.openxmlformats-officedocument.presentationml.notesSlide+xml"/>
  <Override PartName="/ppt/slideLayouts/slideLayout23.xml" ContentType="application/vnd.openxmlformats-officedocument.presentationml.slideLayout+xml"/>
  <Override PartName="/ppt/notesSlides/notesSlide2.xml" ContentType="application/vnd.openxmlformats-officedocument.presentationml.notesSlide+xml"/>
  <Override PartName="/ppt/slideLayouts/slideLayout14.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6.xml" ContentType="application/vnd.openxmlformats-officedocument.presentationml.notesSlide+xml"/>
  <Override PartName="/ppt/slideLayouts/slideLayout4.xml" ContentType="application/vnd.openxmlformats-officedocument.presentationml.slideLayout+xml"/>
  <Override PartName="/ppt/notesSlides/notesSlide5.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charts/chart5.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4.xml" ContentType="application/vnd.openxmlformats-officedocument.drawingml.chart+xml"/>
  <Override PartName="/ppt/charts/chart6.xml" ContentType="application/vnd.openxmlformats-officedocument.drawingml.chart+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7.xml" ContentType="application/vnd.openxmlformats-officedocument.presentationml.tags+xml"/>
  <Override PartName="/ppt/tags/tag322.xml" ContentType="application/vnd.openxmlformats-officedocument.presentationml.tags+xml"/>
  <Override PartName="/ppt/tags/tag320.xml" ContentType="application/vnd.openxmlformats-officedocument.presentationml.tags+xml"/>
  <Override PartName="/ppt/tags/tag323.xml" ContentType="application/vnd.openxmlformats-officedocument.presentationml.tags+xml"/>
  <Override PartName="/ppt/tags/tag321.xml" ContentType="application/vnd.openxmlformats-officedocument.presentationml.tags+xml"/>
  <Override PartName="/ppt/tags/tag325.xml" ContentType="application/vnd.openxmlformats-officedocument.presentationml.tags+xml"/>
  <Override PartName="/ppt/tags/tag319.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4.xml" ContentType="application/vnd.openxmlformats-officedocument.presentationml.tags+xml"/>
  <Override PartName="/ppt/tags/tag317.xml" ContentType="application/vnd.openxmlformats-officedocument.presentationml.tags+xml"/>
  <Override PartName="/ppt/tags/tag329.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8.xml" ContentType="application/vnd.openxmlformats-officedocument.presentationml.tags+xml"/>
  <Override PartName="/ppt/tags/tag331.xml" ContentType="application/vnd.openxmlformats-officedocument.presentationml.tags+xml"/>
  <Override PartName="/ppt/tags/tag307.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30.xml" ContentType="application/vnd.openxmlformats-officedocument.presentationml.tags+xml"/>
  <Override PartName="/ppt/tags/tag305.xml" ContentType="application/vnd.openxmlformats-officedocument.presentationml.tags+xml"/>
  <Override PartName="/ppt/tags/tag353.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6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306.xml" ContentType="application/vnd.openxmlformats-officedocument.presentationml.tags+xml"/>
  <Override PartName="/ppt/tags/tag355.xml" ContentType="application/vnd.openxmlformats-officedocument.presentationml.tags+xml"/>
  <Override PartName="/ppt/tags/tag259.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67.xml" ContentType="application/vnd.openxmlformats-officedocument.presentationml.tags+xml"/>
  <Override PartName="/ppt/tags/tag366.xml" ContentType="application/vnd.openxmlformats-officedocument.presentationml.tags+xml"/>
  <Override PartName="/ppt/tags/tag36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2.xml" ContentType="application/vnd.openxmlformats-officedocument.presentationml.tags+xml"/>
  <Override PartName="/ppt/tags/tag61.xml" ContentType="application/vnd.openxmlformats-officedocument.presentationml.tags+xml"/>
  <Override PartName="/ppt/tags/tag354.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6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981" r:id="rId2"/>
  </p:sldMasterIdLst>
  <p:notesMasterIdLst>
    <p:notesMasterId r:id="rId20"/>
  </p:notesMasterIdLst>
  <p:sldIdLst>
    <p:sldId id="263" r:id="rId3"/>
    <p:sldId id="264" r:id="rId4"/>
    <p:sldId id="265" r:id="rId5"/>
    <p:sldId id="266" r:id="rId6"/>
    <p:sldId id="277" r:id="rId7"/>
    <p:sldId id="275" r:id="rId8"/>
    <p:sldId id="269" r:id="rId9"/>
    <p:sldId id="270" r:id="rId10"/>
    <p:sldId id="257" r:id="rId11"/>
    <p:sldId id="278" r:id="rId12"/>
    <p:sldId id="259" r:id="rId13"/>
    <p:sldId id="271" r:id="rId14"/>
    <p:sldId id="280" r:id="rId15"/>
    <p:sldId id="279" r:id="rId16"/>
    <p:sldId id="281" r:id="rId17"/>
    <p:sldId id="282" r:id="rId18"/>
    <p:sldId id="268" r:id="rId19"/>
  </p:sldIdLst>
  <p:sldSz cx="9906000" cy="6858000" type="A4"/>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4" d="100"/>
          <a:sy n="104" d="100"/>
        </p:scale>
        <p:origin x="-858" y="-78"/>
      </p:cViewPr>
      <p:guideLst>
        <p:guide orient="horz" pos="2160"/>
        <p:guide pos="312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2.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 Id="rId27"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1475409836065574"/>
          <c:y val="6.8527918781725886E-2"/>
          <c:w val="0.87377049180327881"/>
          <c:h val="0.79441624365482233"/>
        </c:manualLayout>
      </c:layout>
      <c:barChart>
        <c:barDir val="col"/>
        <c:grouping val="clustered"/>
        <c:ser>
          <c:idx val="0"/>
          <c:order val="0"/>
          <c:spPr>
            <a:solidFill>
              <a:schemeClr val="accent1"/>
            </a:solidFill>
            <a:ln w="25243">
              <a:noFill/>
            </a:ln>
          </c:spP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0.00%</c:formatCode>
                <c:ptCount val="12"/>
                <c:pt idx="0">
                  <c:v>4.36E-2</c:v>
                </c:pt>
                <c:pt idx="1">
                  <c:v>2.8199999999999996E-2</c:v>
                </c:pt>
                <c:pt idx="2">
                  <c:v>8.4700000000000039E-2</c:v>
                </c:pt>
                <c:pt idx="3">
                  <c:v>0.14490000000000003</c:v>
                </c:pt>
                <c:pt idx="4">
                  <c:v>0.18540000000000004</c:v>
                </c:pt>
                <c:pt idx="5">
                  <c:v>0.1401</c:v>
                </c:pt>
                <c:pt idx="6">
                  <c:v>9.3700000000000019E-2</c:v>
                </c:pt>
                <c:pt idx="7">
                  <c:v>5.4400000000000011E-2</c:v>
                </c:pt>
                <c:pt idx="8">
                  <c:v>6.8900000000000003E-2</c:v>
                </c:pt>
                <c:pt idx="9">
                  <c:v>5.6800000000000003E-2</c:v>
                </c:pt>
                <c:pt idx="10">
                  <c:v>5.3699999999999998E-2</c:v>
                </c:pt>
                <c:pt idx="11">
                  <c:v>4.5600000000000002E-2</c:v>
                </c:pt>
              </c:numCache>
            </c:numRef>
          </c:val>
        </c:ser>
        <c:dLbls/>
        <c:axId val="327690112"/>
        <c:axId val="303412736"/>
      </c:barChart>
      <c:lineChart>
        <c:grouping val="standard"/>
        <c:ser>
          <c:idx val="1"/>
          <c:order val="1"/>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0.0%</c:formatCode>
                <c:ptCount val="12"/>
                <c:pt idx="0">
                  <c:v>1.3333333333333336E-2</c:v>
                </c:pt>
                <c:pt idx="1">
                  <c:v>8.333333333333335E-3</c:v>
                </c:pt>
                <c:pt idx="2">
                  <c:v>5.6666666666666664E-2</c:v>
                </c:pt>
                <c:pt idx="3">
                  <c:v>0.1516666666666667</c:v>
                </c:pt>
                <c:pt idx="4">
                  <c:v>0.25666666666666671</c:v>
                </c:pt>
                <c:pt idx="5">
                  <c:v>0.11666666666666668</c:v>
                </c:pt>
                <c:pt idx="6">
                  <c:v>6.666666666666668E-2</c:v>
                </c:pt>
                <c:pt idx="7">
                  <c:v>9.8333333333333328E-2</c:v>
                </c:pt>
                <c:pt idx="8">
                  <c:v>7.8333333333333352E-2</c:v>
                </c:pt>
                <c:pt idx="9">
                  <c:v>4.8333333333333346E-2</c:v>
                </c:pt>
                <c:pt idx="10">
                  <c:v>4.0000000000000008E-2</c:v>
                </c:pt>
                <c:pt idx="11">
                  <c:v>8.333333333333335E-3</c:v>
                </c:pt>
              </c:numCache>
            </c:numRef>
          </c:val>
        </c:ser>
        <c:dLbls/>
        <c:marker val="1"/>
        <c:axId val="328113152"/>
        <c:axId val="328295168"/>
      </c:lineChart>
      <c:catAx>
        <c:axId val="327690112"/>
        <c:scaling>
          <c:orientation val="minMax"/>
        </c:scaling>
        <c:axPos val="b"/>
        <c:numFmt formatCode="General" sourceLinked="1"/>
        <c:majorTickMark val="in"/>
        <c:tickLblPos val="low"/>
        <c:spPr>
          <a:ln w="3156">
            <a:solidFill>
              <a:schemeClr val="tx1"/>
            </a:solidFill>
            <a:prstDash val="solid"/>
          </a:ln>
        </c:spPr>
        <c:txPr>
          <a:bodyPr rot="0" vert="horz"/>
          <a:lstStyle/>
          <a:p>
            <a:pPr>
              <a:defRPr sz="1392" b="0" i="0" u="none" strike="noStrike" baseline="0">
                <a:solidFill>
                  <a:schemeClr val="tx1"/>
                </a:solidFill>
                <a:latin typeface="Arial"/>
                <a:ea typeface="Arial"/>
                <a:cs typeface="Arial"/>
              </a:defRPr>
            </a:pPr>
            <a:endParaRPr lang="en-US"/>
          </a:p>
        </c:txPr>
        <c:crossAx val="303412736"/>
        <c:crosses val="autoZero"/>
        <c:auto val="1"/>
        <c:lblAlgn val="ctr"/>
        <c:lblOffset val="100"/>
        <c:tickLblSkip val="1"/>
        <c:tickMarkSkip val="1"/>
      </c:catAx>
      <c:valAx>
        <c:axId val="303412736"/>
        <c:scaling>
          <c:orientation val="minMax"/>
        </c:scaling>
        <c:axPos val="l"/>
        <c:majorGridlines>
          <c:spPr>
            <a:ln w="12622">
              <a:solidFill>
                <a:schemeClr val="folHlink"/>
              </a:solidFill>
              <a:prstDash val="solid"/>
            </a:ln>
          </c:spPr>
        </c:majorGridlines>
        <c:numFmt formatCode="0%" sourceLinked="0"/>
        <c:tickLblPos val="nextTo"/>
        <c:spPr>
          <a:ln w="9467">
            <a:noFill/>
          </a:ln>
        </c:spPr>
        <c:txPr>
          <a:bodyPr rot="0" vert="horz"/>
          <a:lstStyle/>
          <a:p>
            <a:pPr>
              <a:defRPr sz="1392" b="0" i="0" u="none" strike="noStrike" baseline="0">
                <a:solidFill>
                  <a:schemeClr val="tx1"/>
                </a:solidFill>
                <a:latin typeface="Arial"/>
                <a:ea typeface="Arial"/>
                <a:cs typeface="Arial"/>
              </a:defRPr>
            </a:pPr>
            <a:endParaRPr lang="en-US"/>
          </a:p>
        </c:txPr>
        <c:crossAx val="327690112"/>
        <c:crosses val="autoZero"/>
        <c:crossBetween val="between"/>
      </c:valAx>
      <c:catAx>
        <c:axId val="328113152"/>
        <c:scaling>
          <c:orientation val="minMax"/>
        </c:scaling>
        <c:delete val="1"/>
        <c:axPos val="b"/>
        <c:tickLblPos val="none"/>
        <c:crossAx val="328295168"/>
        <c:crosses val="autoZero"/>
        <c:auto val="1"/>
        <c:lblAlgn val="ctr"/>
        <c:lblOffset val="100"/>
      </c:catAx>
      <c:valAx>
        <c:axId val="328295168"/>
        <c:scaling>
          <c:orientation val="minMax"/>
        </c:scaling>
        <c:axPos val="r"/>
        <c:numFmt formatCode="0%" sourceLinked="0"/>
        <c:tickLblPos val="nextTo"/>
        <c:crossAx val="328113152"/>
        <c:crosses val="max"/>
        <c:crossBetween val="between"/>
      </c:valAx>
      <c:spPr>
        <a:noFill/>
        <a:ln w="25391">
          <a:noFill/>
        </a:ln>
      </c:spPr>
    </c:plotArea>
    <c:plotVisOnly val="1"/>
    <c:dispBlanksAs val="gap"/>
  </c:chart>
  <c:spPr>
    <a:noFill/>
    <a:ln>
      <a:noFill/>
    </a:ln>
  </c:spPr>
  <c:txPr>
    <a:bodyPr/>
    <a:lstStyle/>
    <a:p>
      <a:pPr>
        <a:defRPr sz="1392" b="0" i="0" u="none" strike="noStrike" baseline="0">
          <a:solidFill>
            <a:schemeClr val="tx1"/>
          </a:solidFill>
          <a:latin typeface="Arial"/>
          <a:ea typeface="Arial"/>
          <a:cs typeface="Arial"/>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1475409836065574"/>
          <c:y val="6.8527918781725886E-2"/>
          <c:w val="0.87377049180327881"/>
          <c:h val="0.75495086331174555"/>
        </c:manualLayout>
      </c:layout>
      <c:areaChart>
        <c:grouping val="percentStacked"/>
        <c:ser>
          <c:idx val="0"/>
          <c:order val="0"/>
          <c:tx>
            <c:strRef>
              <c:f>Sheet1!$B$21</c:f>
              <c:strCache>
                <c:ptCount val="1"/>
                <c:pt idx="0">
                  <c:v>AT</c:v>
                </c:pt>
              </c:strCache>
            </c:strRef>
          </c:tx>
          <c:spPr>
            <a:solidFill>
              <a:schemeClr val="accent1"/>
            </a:solidFill>
            <a:ln w="25239">
              <a:noFill/>
            </a:ln>
          </c:spPr>
          <c:dLbls>
            <c:dLbl>
              <c:idx val="0"/>
              <c:layout>
                <c:manualLayout>
                  <c:x val="-0.27362551654895745"/>
                  <c:y val="-1.9647971269612204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B$22:$B$33</c:f>
              <c:numCache>
                <c:formatCode>General</c:formatCode>
                <c:ptCount val="12"/>
                <c:pt idx="2">
                  <c:v>1</c:v>
                </c:pt>
                <c:pt idx="3">
                  <c:v>1</c:v>
                </c:pt>
                <c:pt idx="4">
                  <c:v>5</c:v>
                </c:pt>
                <c:pt idx="5">
                  <c:v>1</c:v>
                </c:pt>
                <c:pt idx="6">
                  <c:v>1</c:v>
                </c:pt>
                <c:pt idx="8">
                  <c:v>1</c:v>
                </c:pt>
              </c:numCache>
            </c:numRef>
          </c:val>
        </c:ser>
        <c:ser>
          <c:idx val="1"/>
          <c:order val="1"/>
          <c:tx>
            <c:strRef>
              <c:f>Sheet1!$C$21</c:f>
              <c:strCache>
                <c:ptCount val="1"/>
                <c:pt idx="0">
                  <c:v>BE</c:v>
                </c:pt>
              </c:strCache>
            </c:strRef>
          </c:tx>
          <c:dLbls>
            <c:dLbl>
              <c:idx val="0"/>
              <c:layout>
                <c:manualLayout>
                  <c:x val="-0.12566505204470638"/>
                  <c:y val="-2.2922633147880889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C$22:$C$33</c:f>
              <c:numCache>
                <c:formatCode>General</c:formatCode>
                <c:ptCount val="12"/>
                <c:pt idx="3">
                  <c:v>3</c:v>
                </c:pt>
                <c:pt idx="4">
                  <c:v>6</c:v>
                </c:pt>
                <c:pt idx="5">
                  <c:v>1</c:v>
                </c:pt>
                <c:pt idx="6">
                  <c:v>1</c:v>
                </c:pt>
                <c:pt idx="7">
                  <c:v>1</c:v>
                </c:pt>
                <c:pt idx="8">
                  <c:v>2</c:v>
                </c:pt>
                <c:pt idx="9">
                  <c:v>1</c:v>
                </c:pt>
              </c:numCache>
            </c:numRef>
          </c:val>
        </c:ser>
        <c:ser>
          <c:idx val="2"/>
          <c:order val="2"/>
          <c:tx>
            <c:strRef>
              <c:f>Sheet1!$D$21</c:f>
              <c:strCache>
                <c:ptCount val="1"/>
                <c:pt idx="0">
                  <c:v>CH</c:v>
                </c:pt>
              </c:strCache>
            </c:strRef>
          </c:tx>
          <c:dLbls>
            <c:dLbl>
              <c:idx val="0"/>
              <c:layout>
                <c:manualLayout>
                  <c:x val="-0.32835061985874903"/>
                  <c:y val="-4.2570604417493094E-2"/>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D$22:$D$33</c:f>
              <c:numCache>
                <c:formatCode>General</c:formatCode>
                <c:ptCount val="12"/>
                <c:pt idx="0">
                  <c:v>1</c:v>
                </c:pt>
                <c:pt idx="1">
                  <c:v>2</c:v>
                </c:pt>
                <c:pt idx="2">
                  <c:v>6</c:v>
                </c:pt>
                <c:pt idx="3">
                  <c:v>13</c:v>
                </c:pt>
                <c:pt idx="4">
                  <c:v>12</c:v>
                </c:pt>
                <c:pt idx="5">
                  <c:v>6</c:v>
                </c:pt>
                <c:pt idx="6">
                  <c:v>2</c:v>
                </c:pt>
                <c:pt idx="8">
                  <c:v>1</c:v>
                </c:pt>
              </c:numCache>
            </c:numRef>
          </c:val>
        </c:ser>
        <c:ser>
          <c:idx val="3"/>
          <c:order val="3"/>
          <c:tx>
            <c:strRef>
              <c:f>Sheet1!$E$21</c:f>
              <c:strCache>
                <c:ptCount val="1"/>
                <c:pt idx="0">
                  <c:v>DE</c:v>
                </c:pt>
              </c:strCache>
            </c:strRef>
          </c:tx>
          <c:dLbls>
            <c:dLbl>
              <c:idx val="0"/>
              <c:layout>
                <c:manualLayout>
                  <c:x val="-0.11147706229772336"/>
                  <c:y val="-6.2218575687105281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E$22:$E$33</c:f>
              <c:numCache>
                <c:formatCode>General</c:formatCode>
                <c:ptCount val="12"/>
                <c:pt idx="0">
                  <c:v>3</c:v>
                </c:pt>
                <c:pt idx="1">
                  <c:v>1</c:v>
                </c:pt>
                <c:pt idx="2">
                  <c:v>1</c:v>
                </c:pt>
                <c:pt idx="3">
                  <c:v>11</c:v>
                </c:pt>
                <c:pt idx="4">
                  <c:v>33</c:v>
                </c:pt>
                <c:pt idx="5">
                  <c:v>7</c:v>
                </c:pt>
                <c:pt idx="6">
                  <c:v>2</c:v>
                </c:pt>
              </c:numCache>
            </c:numRef>
          </c:val>
        </c:ser>
        <c:ser>
          <c:idx val="4"/>
          <c:order val="4"/>
          <c:tx>
            <c:strRef>
              <c:f>Sheet1!$F$21</c:f>
              <c:strCache>
                <c:ptCount val="1"/>
                <c:pt idx="0">
                  <c:v>DK</c:v>
                </c:pt>
              </c:strCache>
            </c:strRef>
          </c:tx>
          <c:dLbls>
            <c:dLbl>
              <c:idx val="0"/>
              <c:layout>
                <c:manualLayout>
                  <c:x val="-0.34051175392759148"/>
                  <c:y val="-0.32746644567426209"/>
                </c:manualLayout>
              </c:layout>
              <c:showSerName val="1"/>
            </c:dLbl>
            <c:txPr>
              <a:bodyPr/>
              <a:lstStyle/>
              <a:p>
                <a:pPr>
                  <a:defRPr>
                    <a:solidFill>
                      <a:schemeClr val="bg1"/>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F$22:$F$33</c:f>
              <c:numCache>
                <c:formatCode>General</c:formatCode>
                <c:ptCount val="12"/>
                <c:pt idx="1">
                  <c:v>1</c:v>
                </c:pt>
                <c:pt idx="2">
                  <c:v>8</c:v>
                </c:pt>
                <c:pt idx="3">
                  <c:v>2</c:v>
                </c:pt>
                <c:pt idx="4">
                  <c:v>2</c:v>
                </c:pt>
                <c:pt idx="7">
                  <c:v>1</c:v>
                </c:pt>
                <c:pt idx="11">
                  <c:v>2</c:v>
                </c:pt>
              </c:numCache>
            </c:numRef>
          </c:val>
        </c:ser>
        <c:ser>
          <c:idx val="5"/>
          <c:order val="5"/>
          <c:tx>
            <c:strRef>
              <c:f>Sheet1!$G$21</c:f>
              <c:strCache>
                <c:ptCount val="1"/>
                <c:pt idx="0">
                  <c:v>ES</c:v>
                </c:pt>
              </c:strCache>
            </c:strRef>
          </c:tx>
          <c:dLbls>
            <c:dLbl>
              <c:idx val="0"/>
              <c:layout>
                <c:manualLayout>
                  <c:x val="0.25741067112383414"/>
                  <c:y val="0.14081046076555406"/>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G$22:$G$33</c:f>
              <c:numCache>
                <c:formatCode>General</c:formatCode>
                <c:ptCount val="12"/>
                <c:pt idx="0">
                  <c:v>1</c:v>
                </c:pt>
                <c:pt idx="4">
                  <c:v>2</c:v>
                </c:pt>
                <c:pt idx="5">
                  <c:v>1</c:v>
                </c:pt>
                <c:pt idx="6">
                  <c:v>14</c:v>
                </c:pt>
                <c:pt idx="7">
                  <c:v>1</c:v>
                </c:pt>
                <c:pt idx="8">
                  <c:v>3</c:v>
                </c:pt>
                <c:pt idx="9">
                  <c:v>3</c:v>
                </c:pt>
                <c:pt idx="10">
                  <c:v>2</c:v>
                </c:pt>
              </c:numCache>
            </c:numRef>
          </c:val>
        </c:ser>
        <c:ser>
          <c:idx val="6"/>
          <c:order val="6"/>
          <c:tx>
            <c:strRef>
              <c:f>Sheet1!$H$21</c:f>
              <c:strCache>
                <c:ptCount val="1"/>
                <c:pt idx="0">
                  <c:v>FI</c:v>
                </c:pt>
              </c:strCache>
            </c:strRef>
          </c:tx>
          <c:dLbls>
            <c:dLbl>
              <c:idx val="0"/>
              <c:layout>
                <c:manualLayout>
                  <c:x val="-0.2776792279052383"/>
                  <c:y val="-0.19320505081785327"/>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H$22:$H$33</c:f>
              <c:numCache>
                <c:formatCode>General</c:formatCode>
                <c:ptCount val="12"/>
                <c:pt idx="2">
                  <c:v>9</c:v>
                </c:pt>
                <c:pt idx="3">
                  <c:v>10</c:v>
                </c:pt>
                <c:pt idx="4">
                  <c:v>1</c:v>
                </c:pt>
              </c:numCache>
            </c:numRef>
          </c:val>
        </c:ser>
        <c:ser>
          <c:idx val="7"/>
          <c:order val="7"/>
          <c:tx>
            <c:strRef>
              <c:f>Sheet1!$I$21</c:f>
              <c:strCache>
                <c:ptCount val="1"/>
                <c:pt idx="0">
                  <c:v>FR</c:v>
                </c:pt>
              </c:strCache>
            </c:strRef>
          </c:tx>
          <c:dLbls>
            <c:dLbl>
              <c:idx val="0"/>
              <c:layout>
                <c:manualLayout>
                  <c:x val="-8.9181649838178695E-2"/>
                  <c:y val="1.6373309391343561E-2"/>
                </c:manualLayout>
              </c:layout>
              <c:showSerName val="1"/>
            </c:dLbl>
            <c:txPr>
              <a:bodyPr/>
              <a:lstStyle/>
              <a:p>
                <a:pPr>
                  <a:defRPr>
                    <a:solidFill>
                      <a:schemeClr val="bg1"/>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I$22:$I$33</c:f>
              <c:numCache>
                <c:formatCode>General</c:formatCode>
                <c:ptCount val="12"/>
                <c:pt idx="0">
                  <c:v>1</c:v>
                </c:pt>
                <c:pt idx="1">
                  <c:v>1</c:v>
                </c:pt>
                <c:pt idx="3">
                  <c:v>10</c:v>
                </c:pt>
                <c:pt idx="4">
                  <c:v>35</c:v>
                </c:pt>
                <c:pt idx="5">
                  <c:v>22</c:v>
                </c:pt>
                <c:pt idx="6">
                  <c:v>6</c:v>
                </c:pt>
                <c:pt idx="7">
                  <c:v>1</c:v>
                </c:pt>
                <c:pt idx="8">
                  <c:v>2</c:v>
                </c:pt>
                <c:pt idx="10">
                  <c:v>5</c:v>
                </c:pt>
                <c:pt idx="11">
                  <c:v>1</c:v>
                </c:pt>
              </c:numCache>
            </c:numRef>
          </c:val>
        </c:ser>
        <c:ser>
          <c:idx val="8"/>
          <c:order val="8"/>
          <c:tx>
            <c:strRef>
              <c:f>Sheet1!$J$21</c:f>
              <c:strCache>
                <c:ptCount val="1"/>
                <c:pt idx="0">
                  <c:v>GB</c:v>
                </c:pt>
              </c:strCache>
            </c:strRef>
          </c:tx>
          <c:spPr>
            <a:solidFill>
              <a:schemeClr val="accent6">
                <a:lumMod val="75000"/>
              </a:schemeClr>
            </a:solidFill>
          </c:spPr>
          <c:dLbls>
            <c:dLbl>
              <c:idx val="0"/>
              <c:layout>
                <c:manualLayout>
                  <c:x val="0.17633644399821705"/>
                  <c:y val="0.13426113700901671"/>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J$22:$J$33</c:f>
              <c:numCache>
                <c:formatCode>General</c:formatCode>
                <c:ptCount val="12"/>
                <c:pt idx="0">
                  <c:v>2</c:v>
                </c:pt>
                <c:pt idx="2">
                  <c:v>3</c:v>
                </c:pt>
                <c:pt idx="3">
                  <c:v>3</c:v>
                </c:pt>
                <c:pt idx="4">
                  <c:v>6</c:v>
                </c:pt>
                <c:pt idx="5">
                  <c:v>23</c:v>
                </c:pt>
                <c:pt idx="6">
                  <c:v>12</c:v>
                </c:pt>
                <c:pt idx="7">
                  <c:v>46</c:v>
                </c:pt>
                <c:pt idx="8">
                  <c:v>33</c:v>
                </c:pt>
                <c:pt idx="9">
                  <c:v>23</c:v>
                </c:pt>
                <c:pt idx="10">
                  <c:v>10</c:v>
                </c:pt>
                <c:pt idx="11">
                  <c:v>1</c:v>
                </c:pt>
              </c:numCache>
            </c:numRef>
          </c:val>
        </c:ser>
        <c:ser>
          <c:idx val="9"/>
          <c:order val="9"/>
          <c:tx>
            <c:strRef>
              <c:f>Sheet1!$K$21</c:f>
              <c:strCache>
                <c:ptCount val="1"/>
                <c:pt idx="0">
                  <c:v>GR</c:v>
                </c:pt>
              </c:strCache>
            </c:strRef>
          </c:tx>
          <c:dLbls>
            <c:dLbl>
              <c:idx val="0"/>
              <c:layout>
                <c:manualLayout>
                  <c:x val="-4.6617680597229788E-2"/>
                  <c:y val="6.5493237565373993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K$22:$K$33</c:f>
              <c:numCache>
                <c:formatCode>General</c:formatCode>
                <c:ptCount val="12"/>
                <c:pt idx="3">
                  <c:v>1</c:v>
                </c:pt>
                <c:pt idx="4">
                  <c:v>1</c:v>
                </c:pt>
                <c:pt idx="5">
                  <c:v>4</c:v>
                </c:pt>
                <c:pt idx="6">
                  <c:v>1</c:v>
                </c:pt>
              </c:numCache>
            </c:numRef>
          </c:val>
        </c:ser>
        <c:ser>
          <c:idx val="10"/>
          <c:order val="10"/>
          <c:tx>
            <c:strRef>
              <c:f>Sheet1!$L$21</c:f>
              <c:strCache>
                <c:ptCount val="1"/>
                <c:pt idx="0">
                  <c:v>IE</c:v>
                </c:pt>
              </c:strCache>
            </c:strRef>
          </c:tx>
          <c:dLbls>
            <c:dLbl>
              <c:idx val="0"/>
              <c:layout>
                <c:manualLayout>
                  <c:x val="0.19052443374520017"/>
                  <c:y val="2.2922633147880889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L$22:$L$33</c:f>
              <c:numCache>
                <c:formatCode>General</c:formatCode>
                <c:ptCount val="12"/>
                <c:pt idx="4">
                  <c:v>2</c:v>
                </c:pt>
                <c:pt idx="7">
                  <c:v>2</c:v>
                </c:pt>
                <c:pt idx="8">
                  <c:v>2</c:v>
                </c:pt>
                <c:pt idx="9">
                  <c:v>1</c:v>
                </c:pt>
                <c:pt idx="10">
                  <c:v>1</c:v>
                </c:pt>
              </c:numCache>
            </c:numRef>
          </c:val>
        </c:ser>
        <c:ser>
          <c:idx val="11"/>
          <c:order val="11"/>
          <c:tx>
            <c:strRef>
              <c:f>Sheet1!$M$21</c:f>
              <c:strCache>
                <c:ptCount val="1"/>
                <c:pt idx="0">
                  <c:v>IT</c:v>
                </c:pt>
              </c:strCache>
            </c:strRef>
          </c:tx>
          <c:dLbls>
            <c:dLbl>
              <c:idx val="0"/>
              <c:layout>
                <c:manualLayout>
                  <c:x val="-0.13985304179168934"/>
                  <c:y val="0.19647971269612199"/>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M$22:$M$33</c:f>
              <c:numCache>
                <c:formatCode>General</c:formatCode>
                <c:ptCount val="12"/>
                <c:pt idx="3">
                  <c:v>5</c:v>
                </c:pt>
                <c:pt idx="4">
                  <c:v>17</c:v>
                </c:pt>
                <c:pt idx="5">
                  <c:v>2</c:v>
                </c:pt>
                <c:pt idx="8">
                  <c:v>1</c:v>
                </c:pt>
                <c:pt idx="9">
                  <c:v>1</c:v>
                </c:pt>
                <c:pt idx="10">
                  <c:v>4</c:v>
                </c:pt>
              </c:numCache>
            </c:numRef>
          </c:val>
        </c:ser>
        <c:ser>
          <c:idx val="12"/>
          <c:order val="12"/>
          <c:tx>
            <c:strRef>
              <c:f>Sheet1!$N$21</c:f>
              <c:strCache>
                <c:ptCount val="1"/>
                <c:pt idx="0">
                  <c:v>LU</c:v>
                </c:pt>
              </c:strCache>
            </c:strRef>
          </c:tx>
          <c:dLbls>
            <c:dLbl>
              <c:idx val="0"/>
              <c:layout>
                <c:manualLayout>
                  <c:x val="0.33645804257131062"/>
                  <c:y val="1.9647971269612204E-2"/>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N$22:$N$33</c:f>
              <c:numCache>
                <c:formatCode>General</c:formatCode>
                <c:ptCount val="12"/>
                <c:pt idx="3">
                  <c:v>1</c:v>
                </c:pt>
                <c:pt idx="10">
                  <c:v>1</c:v>
                </c:pt>
              </c:numCache>
            </c:numRef>
          </c:val>
        </c:ser>
        <c:ser>
          <c:idx val="13"/>
          <c:order val="13"/>
          <c:tx>
            <c:strRef>
              <c:f>Sheet1!$O$21</c:f>
              <c:strCache>
                <c:ptCount val="1"/>
                <c:pt idx="0">
                  <c:v>NL</c:v>
                </c:pt>
              </c:strCache>
            </c:strRef>
          </c:tx>
          <c:dLbls>
            <c:dLbl>
              <c:idx val="0"/>
              <c:layout>
                <c:manualLayout>
                  <c:x val="9.3235361194459604E-2"/>
                  <c:y val="2.2922375300488903E-2"/>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O$22:$O$33</c:f>
              <c:numCache>
                <c:formatCode>General</c:formatCode>
                <c:ptCount val="12"/>
                <c:pt idx="3">
                  <c:v>12</c:v>
                </c:pt>
                <c:pt idx="4">
                  <c:v>5</c:v>
                </c:pt>
                <c:pt idx="6">
                  <c:v>1</c:v>
                </c:pt>
                <c:pt idx="7">
                  <c:v>7</c:v>
                </c:pt>
                <c:pt idx="10">
                  <c:v>1</c:v>
                </c:pt>
              </c:numCache>
            </c:numRef>
          </c:val>
        </c:ser>
        <c:ser>
          <c:idx val="14"/>
          <c:order val="14"/>
          <c:tx>
            <c:strRef>
              <c:f>Sheet1!$P$21</c:f>
              <c:strCache>
                <c:ptCount val="1"/>
                <c:pt idx="0">
                  <c:v>NO</c:v>
                </c:pt>
              </c:strCache>
            </c:strRef>
          </c:tx>
          <c:dLbls>
            <c:dLbl>
              <c:idx val="0"/>
              <c:layout>
                <c:manualLayout>
                  <c:x val="-0.14593360882611067"/>
                  <c:y val="0.10478918010459837"/>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P$22:$P$33</c:f>
              <c:numCache>
                <c:formatCode>General</c:formatCode>
                <c:ptCount val="12"/>
                <c:pt idx="3">
                  <c:v>2</c:v>
                </c:pt>
                <c:pt idx="4">
                  <c:v>8</c:v>
                </c:pt>
                <c:pt idx="5">
                  <c:v>2</c:v>
                </c:pt>
                <c:pt idx="8">
                  <c:v>1</c:v>
                </c:pt>
              </c:numCache>
            </c:numRef>
          </c:val>
        </c:ser>
        <c:ser>
          <c:idx val="15"/>
          <c:order val="15"/>
          <c:tx>
            <c:strRef>
              <c:f>Sheet1!$Q$21</c:f>
              <c:strCache>
                <c:ptCount val="1"/>
                <c:pt idx="0">
                  <c:v>PT</c:v>
                </c:pt>
              </c:strCache>
            </c:strRef>
          </c:tx>
          <c:dLbls>
            <c:dLbl>
              <c:idx val="0"/>
              <c:layout>
                <c:manualLayout>
                  <c:x val="0.39118314588110215"/>
                  <c:y val="3.9295942539224402E-2"/>
                </c:manualLayout>
              </c:layout>
              <c:showSerName val="1"/>
            </c:dLbl>
            <c:txPr>
              <a:bodyPr/>
              <a:lstStyle/>
              <a:p>
                <a:pPr>
                  <a:defRPr>
                    <a:solidFill>
                      <a:srgbClr val="002060"/>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Q$22:$Q$33</c:f>
              <c:numCache>
                <c:formatCode>General</c:formatCode>
                <c:ptCount val="12"/>
                <c:pt idx="3">
                  <c:v>2</c:v>
                </c:pt>
                <c:pt idx="4">
                  <c:v>3</c:v>
                </c:pt>
                <c:pt idx="5">
                  <c:v>1</c:v>
                </c:pt>
                <c:pt idx="11">
                  <c:v>1</c:v>
                </c:pt>
              </c:numCache>
            </c:numRef>
          </c:val>
        </c:ser>
        <c:ser>
          <c:idx val="16"/>
          <c:order val="16"/>
          <c:tx>
            <c:strRef>
              <c:f>Sheet1!$R$21</c:f>
              <c:strCache>
                <c:ptCount val="1"/>
                <c:pt idx="0">
                  <c:v>SE</c:v>
                </c:pt>
              </c:strCache>
            </c:strRef>
          </c:tx>
          <c:dLbls>
            <c:dLbl>
              <c:idx val="0"/>
              <c:layout>
                <c:manualLayout>
                  <c:x val="-0.22700783595172766"/>
                  <c:y val="6.2218575687105274E-2"/>
                </c:manualLayout>
              </c:layout>
              <c:showSerName val="1"/>
            </c:dLbl>
            <c:txPr>
              <a:bodyPr/>
              <a:lstStyle/>
              <a:p>
                <a:pPr>
                  <a:defRPr>
                    <a:solidFill>
                      <a:schemeClr val="accent3"/>
                    </a:solidFill>
                  </a:defRPr>
                </a:pPr>
                <a:endParaRPr lang="en-US"/>
              </a:p>
            </c:txPr>
            <c:showSerName val="1"/>
          </c:dLbls>
          <c:cat>
            <c:numRef>
              <c:f>Sheet1!$A$22:$A$33</c:f>
              <c:numCache>
                <c:formatCode>mmm\-yy</c:formatCode>
                <c:ptCount val="12"/>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numCache>
            </c:numRef>
          </c:cat>
          <c:val>
            <c:numRef>
              <c:f>Sheet1!$R$22:$R$33</c:f>
              <c:numCache>
                <c:formatCode>General</c:formatCode>
                <c:ptCount val="12"/>
                <c:pt idx="2">
                  <c:v>6</c:v>
                </c:pt>
                <c:pt idx="3">
                  <c:v>15</c:v>
                </c:pt>
                <c:pt idx="4">
                  <c:v>16</c:v>
                </c:pt>
                <c:pt idx="8">
                  <c:v>1</c:v>
                </c:pt>
              </c:numCache>
            </c:numRef>
          </c:val>
        </c:ser>
        <c:dLbls/>
        <c:axId val="332727424"/>
        <c:axId val="333449088"/>
      </c:areaChart>
      <c:dateAx>
        <c:axId val="332727424"/>
        <c:scaling>
          <c:orientation val="minMax"/>
        </c:scaling>
        <c:axPos val="b"/>
        <c:numFmt formatCode="mmm\-yy" sourceLinked="0"/>
        <c:minorTickMark val="out"/>
        <c:tickLblPos val="low"/>
        <c:spPr>
          <a:ln w="3155">
            <a:solidFill>
              <a:schemeClr val="tx1"/>
            </a:solidFill>
            <a:prstDash val="solid"/>
          </a:ln>
        </c:spPr>
        <c:txPr>
          <a:bodyPr rot="0" vert="horz"/>
          <a:lstStyle/>
          <a:p>
            <a:pPr>
              <a:defRPr sz="1392" b="0" i="0" u="none" strike="noStrike" baseline="0">
                <a:solidFill>
                  <a:schemeClr val="tx1"/>
                </a:solidFill>
                <a:latin typeface="Arial"/>
                <a:ea typeface="Arial"/>
                <a:cs typeface="Arial"/>
              </a:defRPr>
            </a:pPr>
            <a:endParaRPr lang="en-US"/>
          </a:p>
        </c:txPr>
        <c:crossAx val="333449088"/>
        <c:crosses val="autoZero"/>
        <c:auto val="1"/>
        <c:lblOffset val="100"/>
        <c:baseTimeUnit val="months"/>
      </c:dateAx>
      <c:valAx>
        <c:axId val="333449088"/>
        <c:scaling>
          <c:orientation val="minMax"/>
        </c:scaling>
        <c:axPos val="l"/>
        <c:majorGridlines>
          <c:spPr>
            <a:ln w="12618">
              <a:solidFill>
                <a:schemeClr val="folHlink"/>
              </a:solidFill>
              <a:prstDash val="solid"/>
            </a:ln>
          </c:spPr>
        </c:majorGridlines>
        <c:numFmt formatCode="0%" sourceLinked="0"/>
        <c:tickLblPos val="nextTo"/>
        <c:spPr>
          <a:ln w="9464">
            <a:noFill/>
          </a:ln>
        </c:spPr>
        <c:txPr>
          <a:bodyPr rot="0" vert="horz"/>
          <a:lstStyle/>
          <a:p>
            <a:pPr>
              <a:defRPr sz="1392" b="0" i="0" u="none" strike="noStrike" baseline="0">
                <a:solidFill>
                  <a:schemeClr val="tx1"/>
                </a:solidFill>
                <a:latin typeface="Arial"/>
                <a:ea typeface="Arial"/>
                <a:cs typeface="Arial"/>
              </a:defRPr>
            </a:pPr>
            <a:endParaRPr lang="en-US"/>
          </a:p>
        </c:txPr>
        <c:crossAx val="332727424"/>
        <c:crosses val="autoZero"/>
        <c:crossBetween val="midCat"/>
      </c:valAx>
      <c:spPr>
        <a:noFill/>
        <a:ln w="25393">
          <a:noFill/>
        </a:ln>
      </c:spPr>
    </c:plotArea>
    <c:plotVisOnly val="1"/>
    <c:dispBlanksAs val="zero"/>
  </c:chart>
  <c:spPr>
    <a:noFill/>
    <a:ln>
      <a:noFill/>
    </a:ln>
  </c:spPr>
  <c:txPr>
    <a:bodyPr/>
    <a:lstStyle/>
    <a:p>
      <a:pPr>
        <a:defRPr sz="1392" b="0" i="0" u="none" strike="noStrike" baseline="0">
          <a:solidFill>
            <a:schemeClr val="tx1"/>
          </a:solidFill>
          <a:latin typeface="Arial"/>
          <a:ea typeface="Arial"/>
          <a:cs typeface="Arial"/>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0491803278688526"/>
          <c:y val="9.0909090909090939E-2"/>
          <c:w val="0.82295081967213124"/>
          <c:h val="0.73775607334779081"/>
        </c:manualLayout>
      </c:layout>
      <c:lineChart>
        <c:grouping val="standard"/>
        <c:ser>
          <c:idx val="0"/>
          <c:order val="0"/>
          <c:tx>
            <c:strRef>
              <c:f>Sheet1!$B$1</c:f>
              <c:strCache>
                <c:ptCount val="1"/>
                <c:pt idx="0">
                  <c:v>MaxDIv40</c:v>
                </c:pt>
              </c:strCache>
            </c:strRef>
          </c:tx>
          <c:spPr>
            <a:ln w="21959">
              <a:solidFill>
                <a:schemeClr val="accent1"/>
              </a:solidFill>
              <a:prstDash val="solid"/>
            </a:ln>
          </c:spPr>
          <c:marker>
            <c:symbol val="none"/>
          </c:marker>
          <c:cat>
            <c:numRef>
              <c:f>Sheet1!$A$2:$A$3173</c:f>
              <c:numCache>
                <c:formatCode>m/d/yyyy</c:formatCode>
                <c:ptCount val="3172"/>
                <c:pt idx="0">
                  <c:v>36605</c:v>
                </c:pt>
                <c:pt idx="1">
                  <c:v>36606</c:v>
                </c:pt>
                <c:pt idx="2">
                  <c:v>36607</c:v>
                </c:pt>
                <c:pt idx="3">
                  <c:v>36608</c:v>
                </c:pt>
                <c:pt idx="4">
                  <c:v>36609</c:v>
                </c:pt>
                <c:pt idx="5">
                  <c:v>36612</c:v>
                </c:pt>
                <c:pt idx="6">
                  <c:v>36613</c:v>
                </c:pt>
                <c:pt idx="7">
                  <c:v>36614</c:v>
                </c:pt>
                <c:pt idx="8">
                  <c:v>36615</c:v>
                </c:pt>
                <c:pt idx="9">
                  <c:v>36616</c:v>
                </c:pt>
                <c:pt idx="10">
                  <c:v>36619</c:v>
                </c:pt>
                <c:pt idx="11">
                  <c:v>36620</c:v>
                </c:pt>
                <c:pt idx="12">
                  <c:v>36621</c:v>
                </c:pt>
                <c:pt idx="13">
                  <c:v>36622</c:v>
                </c:pt>
                <c:pt idx="14">
                  <c:v>36623</c:v>
                </c:pt>
                <c:pt idx="15">
                  <c:v>36626</c:v>
                </c:pt>
                <c:pt idx="16">
                  <c:v>36627</c:v>
                </c:pt>
                <c:pt idx="17">
                  <c:v>36628</c:v>
                </c:pt>
                <c:pt idx="18">
                  <c:v>36629</c:v>
                </c:pt>
                <c:pt idx="19">
                  <c:v>36630</c:v>
                </c:pt>
                <c:pt idx="20">
                  <c:v>36633</c:v>
                </c:pt>
                <c:pt idx="21">
                  <c:v>36634</c:v>
                </c:pt>
                <c:pt idx="22">
                  <c:v>36635</c:v>
                </c:pt>
                <c:pt idx="23">
                  <c:v>36636</c:v>
                </c:pt>
                <c:pt idx="24">
                  <c:v>36637</c:v>
                </c:pt>
                <c:pt idx="25">
                  <c:v>36640</c:v>
                </c:pt>
                <c:pt idx="26">
                  <c:v>36641</c:v>
                </c:pt>
                <c:pt idx="27">
                  <c:v>36642</c:v>
                </c:pt>
                <c:pt idx="28">
                  <c:v>36643</c:v>
                </c:pt>
                <c:pt idx="29">
                  <c:v>36644</c:v>
                </c:pt>
                <c:pt idx="30">
                  <c:v>36647</c:v>
                </c:pt>
                <c:pt idx="31">
                  <c:v>36648</c:v>
                </c:pt>
                <c:pt idx="32">
                  <c:v>36649</c:v>
                </c:pt>
                <c:pt idx="33">
                  <c:v>36650</c:v>
                </c:pt>
                <c:pt idx="34">
                  <c:v>36651</c:v>
                </c:pt>
                <c:pt idx="35">
                  <c:v>36654</c:v>
                </c:pt>
                <c:pt idx="36">
                  <c:v>36655</c:v>
                </c:pt>
                <c:pt idx="37">
                  <c:v>36656</c:v>
                </c:pt>
                <c:pt idx="38">
                  <c:v>36657</c:v>
                </c:pt>
                <c:pt idx="39">
                  <c:v>36658</c:v>
                </c:pt>
                <c:pt idx="40">
                  <c:v>36661</c:v>
                </c:pt>
                <c:pt idx="41">
                  <c:v>36662</c:v>
                </c:pt>
                <c:pt idx="42">
                  <c:v>36663</c:v>
                </c:pt>
                <c:pt idx="43">
                  <c:v>36664</c:v>
                </c:pt>
                <c:pt idx="44">
                  <c:v>36665</c:v>
                </c:pt>
                <c:pt idx="45">
                  <c:v>36668</c:v>
                </c:pt>
                <c:pt idx="46">
                  <c:v>36669</c:v>
                </c:pt>
                <c:pt idx="47">
                  <c:v>36670</c:v>
                </c:pt>
                <c:pt idx="48">
                  <c:v>36671</c:v>
                </c:pt>
                <c:pt idx="49">
                  <c:v>36672</c:v>
                </c:pt>
                <c:pt idx="50">
                  <c:v>36675</c:v>
                </c:pt>
                <c:pt idx="51">
                  <c:v>36676</c:v>
                </c:pt>
                <c:pt idx="52">
                  <c:v>36677</c:v>
                </c:pt>
                <c:pt idx="53">
                  <c:v>36678</c:v>
                </c:pt>
                <c:pt idx="54">
                  <c:v>36679</c:v>
                </c:pt>
                <c:pt idx="55">
                  <c:v>36682</c:v>
                </c:pt>
                <c:pt idx="56">
                  <c:v>36683</c:v>
                </c:pt>
                <c:pt idx="57">
                  <c:v>36684</c:v>
                </c:pt>
                <c:pt idx="58">
                  <c:v>36685</c:v>
                </c:pt>
                <c:pt idx="59">
                  <c:v>36686</c:v>
                </c:pt>
                <c:pt idx="60">
                  <c:v>36689</c:v>
                </c:pt>
                <c:pt idx="61">
                  <c:v>36690</c:v>
                </c:pt>
                <c:pt idx="62">
                  <c:v>36691</c:v>
                </c:pt>
                <c:pt idx="63">
                  <c:v>36692</c:v>
                </c:pt>
                <c:pt idx="64">
                  <c:v>36693</c:v>
                </c:pt>
                <c:pt idx="65">
                  <c:v>36696</c:v>
                </c:pt>
                <c:pt idx="66">
                  <c:v>36697</c:v>
                </c:pt>
                <c:pt idx="67">
                  <c:v>36698</c:v>
                </c:pt>
                <c:pt idx="68">
                  <c:v>36699</c:v>
                </c:pt>
                <c:pt idx="69">
                  <c:v>36700</c:v>
                </c:pt>
                <c:pt idx="70">
                  <c:v>36703</c:v>
                </c:pt>
                <c:pt idx="71">
                  <c:v>36704</c:v>
                </c:pt>
                <c:pt idx="72">
                  <c:v>36705</c:v>
                </c:pt>
                <c:pt idx="73">
                  <c:v>36706</c:v>
                </c:pt>
                <c:pt idx="74">
                  <c:v>36707</c:v>
                </c:pt>
                <c:pt idx="75">
                  <c:v>36710</c:v>
                </c:pt>
                <c:pt idx="76">
                  <c:v>36711</c:v>
                </c:pt>
                <c:pt idx="77">
                  <c:v>36712</c:v>
                </c:pt>
                <c:pt idx="78">
                  <c:v>36713</c:v>
                </c:pt>
                <c:pt idx="79">
                  <c:v>36714</c:v>
                </c:pt>
                <c:pt idx="80">
                  <c:v>36717</c:v>
                </c:pt>
                <c:pt idx="81">
                  <c:v>36718</c:v>
                </c:pt>
                <c:pt idx="82">
                  <c:v>36719</c:v>
                </c:pt>
                <c:pt idx="83">
                  <c:v>36720</c:v>
                </c:pt>
                <c:pt idx="84">
                  <c:v>36721</c:v>
                </c:pt>
                <c:pt idx="85">
                  <c:v>36724</c:v>
                </c:pt>
                <c:pt idx="86">
                  <c:v>36725</c:v>
                </c:pt>
                <c:pt idx="87">
                  <c:v>36726</c:v>
                </c:pt>
                <c:pt idx="88">
                  <c:v>36727</c:v>
                </c:pt>
                <c:pt idx="89">
                  <c:v>36728</c:v>
                </c:pt>
                <c:pt idx="90">
                  <c:v>36731</c:v>
                </c:pt>
                <c:pt idx="91">
                  <c:v>36732</c:v>
                </c:pt>
                <c:pt idx="92">
                  <c:v>36733</c:v>
                </c:pt>
                <c:pt idx="93">
                  <c:v>36734</c:v>
                </c:pt>
                <c:pt idx="94">
                  <c:v>36735</c:v>
                </c:pt>
                <c:pt idx="95">
                  <c:v>36738</c:v>
                </c:pt>
                <c:pt idx="96">
                  <c:v>36739</c:v>
                </c:pt>
                <c:pt idx="97">
                  <c:v>36740</c:v>
                </c:pt>
                <c:pt idx="98">
                  <c:v>36741</c:v>
                </c:pt>
                <c:pt idx="99">
                  <c:v>36742</c:v>
                </c:pt>
                <c:pt idx="100">
                  <c:v>36745</c:v>
                </c:pt>
                <c:pt idx="101">
                  <c:v>36746</c:v>
                </c:pt>
                <c:pt idx="102">
                  <c:v>36747</c:v>
                </c:pt>
                <c:pt idx="103">
                  <c:v>36748</c:v>
                </c:pt>
                <c:pt idx="104">
                  <c:v>36749</c:v>
                </c:pt>
                <c:pt idx="105">
                  <c:v>36752</c:v>
                </c:pt>
                <c:pt idx="106">
                  <c:v>36753</c:v>
                </c:pt>
                <c:pt idx="107">
                  <c:v>36754</c:v>
                </c:pt>
                <c:pt idx="108">
                  <c:v>36755</c:v>
                </c:pt>
                <c:pt idx="109">
                  <c:v>36756</c:v>
                </c:pt>
                <c:pt idx="110">
                  <c:v>36759</c:v>
                </c:pt>
                <c:pt idx="111">
                  <c:v>36760</c:v>
                </c:pt>
                <c:pt idx="112">
                  <c:v>36761</c:v>
                </c:pt>
                <c:pt idx="113">
                  <c:v>36762</c:v>
                </c:pt>
                <c:pt idx="114">
                  <c:v>36763</c:v>
                </c:pt>
                <c:pt idx="115">
                  <c:v>36766</c:v>
                </c:pt>
                <c:pt idx="116">
                  <c:v>36767</c:v>
                </c:pt>
                <c:pt idx="117">
                  <c:v>36768</c:v>
                </c:pt>
                <c:pt idx="118">
                  <c:v>36769</c:v>
                </c:pt>
                <c:pt idx="119">
                  <c:v>36770</c:v>
                </c:pt>
                <c:pt idx="120">
                  <c:v>36773</c:v>
                </c:pt>
                <c:pt idx="121">
                  <c:v>36774</c:v>
                </c:pt>
                <c:pt idx="122">
                  <c:v>36775</c:v>
                </c:pt>
                <c:pt idx="123">
                  <c:v>36776</c:v>
                </c:pt>
                <c:pt idx="124">
                  <c:v>36777</c:v>
                </c:pt>
                <c:pt idx="125">
                  <c:v>36780</c:v>
                </c:pt>
                <c:pt idx="126">
                  <c:v>36781</c:v>
                </c:pt>
                <c:pt idx="127">
                  <c:v>36782</c:v>
                </c:pt>
                <c:pt idx="128">
                  <c:v>36783</c:v>
                </c:pt>
                <c:pt idx="129">
                  <c:v>36784</c:v>
                </c:pt>
                <c:pt idx="130">
                  <c:v>36787</c:v>
                </c:pt>
                <c:pt idx="131">
                  <c:v>36788</c:v>
                </c:pt>
                <c:pt idx="132">
                  <c:v>36789</c:v>
                </c:pt>
                <c:pt idx="133">
                  <c:v>36790</c:v>
                </c:pt>
                <c:pt idx="134">
                  <c:v>36791</c:v>
                </c:pt>
                <c:pt idx="135">
                  <c:v>36794</c:v>
                </c:pt>
                <c:pt idx="136">
                  <c:v>36795</c:v>
                </c:pt>
                <c:pt idx="137">
                  <c:v>36796</c:v>
                </c:pt>
                <c:pt idx="138">
                  <c:v>36797</c:v>
                </c:pt>
                <c:pt idx="139">
                  <c:v>36798</c:v>
                </c:pt>
                <c:pt idx="140">
                  <c:v>36801</c:v>
                </c:pt>
                <c:pt idx="141">
                  <c:v>36802</c:v>
                </c:pt>
                <c:pt idx="142">
                  <c:v>36803</c:v>
                </c:pt>
                <c:pt idx="143">
                  <c:v>36804</c:v>
                </c:pt>
                <c:pt idx="144">
                  <c:v>36805</c:v>
                </c:pt>
                <c:pt idx="145">
                  <c:v>36808</c:v>
                </c:pt>
                <c:pt idx="146">
                  <c:v>36809</c:v>
                </c:pt>
                <c:pt idx="147">
                  <c:v>36810</c:v>
                </c:pt>
                <c:pt idx="148">
                  <c:v>36811</c:v>
                </c:pt>
                <c:pt idx="149">
                  <c:v>36812</c:v>
                </c:pt>
                <c:pt idx="150">
                  <c:v>36815</c:v>
                </c:pt>
                <c:pt idx="151">
                  <c:v>36816</c:v>
                </c:pt>
                <c:pt idx="152">
                  <c:v>36817</c:v>
                </c:pt>
                <c:pt idx="153">
                  <c:v>36818</c:v>
                </c:pt>
                <c:pt idx="154">
                  <c:v>36819</c:v>
                </c:pt>
                <c:pt idx="155">
                  <c:v>36822</c:v>
                </c:pt>
                <c:pt idx="156">
                  <c:v>36823</c:v>
                </c:pt>
                <c:pt idx="157">
                  <c:v>36824</c:v>
                </c:pt>
                <c:pt idx="158">
                  <c:v>36825</c:v>
                </c:pt>
                <c:pt idx="159">
                  <c:v>36826</c:v>
                </c:pt>
                <c:pt idx="160">
                  <c:v>36829</c:v>
                </c:pt>
                <c:pt idx="161">
                  <c:v>36830</c:v>
                </c:pt>
                <c:pt idx="162">
                  <c:v>36831</c:v>
                </c:pt>
                <c:pt idx="163">
                  <c:v>36832</c:v>
                </c:pt>
                <c:pt idx="164">
                  <c:v>36833</c:v>
                </c:pt>
                <c:pt idx="165">
                  <c:v>36836</c:v>
                </c:pt>
                <c:pt idx="166">
                  <c:v>36837</c:v>
                </c:pt>
                <c:pt idx="167">
                  <c:v>36838</c:v>
                </c:pt>
                <c:pt idx="168">
                  <c:v>36839</c:v>
                </c:pt>
                <c:pt idx="169">
                  <c:v>36840</c:v>
                </c:pt>
                <c:pt idx="170">
                  <c:v>36843</c:v>
                </c:pt>
                <c:pt idx="171">
                  <c:v>36844</c:v>
                </c:pt>
                <c:pt idx="172">
                  <c:v>36845</c:v>
                </c:pt>
                <c:pt idx="173">
                  <c:v>36846</c:v>
                </c:pt>
                <c:pt idx="174">
                  <c:v>36847</c:v>
                </c:pt>
                <c:pt idx="175">
                  <c:v>36850</c:v>
                </c:pt>
                <c:pt idx="176">
                  <c:v>36851</c:v>
                </c:pt>
                <c:pt idx="177">
                  <c:v>36852</c:v>
                </c:pt>
                <c:pt idx="178">
                  <c:v>36853</c:v>
                </c:pt>
                <c:pt idx="179">
                  <c:v>36854</c:v>
                </c:pt>
                <c:pt idx="180">
                  <c:v>36857</c:v>
                </c:pt>
                <c:pt idx="181">
                  <c:v>36858</c:v>
                </c:pt>
                <c:pt idx="182">
                  <c:v>36859</c:v>
                </c:pt>
                <c:pt idx="183">
                  <c:v>36860</c:v>
                </c:pt>
                <c:pt idx="184">
                  <c:v>36861</c:v>
                </c:pt>
                <c:pt idx="185">
                  <c:v>36864</c:v>
                </c:pt>
                <c:pt idx="186">
                  <c:v>36865</c:v>
                </c:pt>
                <c:pt idx="187">
                  <c:v>36866</c:v>
                </c:pt>
                <c:pt idx="188">
                  <c:v>36867</c:v>
                </c:pt>
                <c:pt idx="189">
                  <c:v>36868</c:v>
                </c:pt>
                <c:pt idx="190">
                  <c:v>36871</c:v>
                </c:pt>
                <c:pt idx="191">
                  <c:v>36872</c:v>
                </c:pt>
                <c:pt idx="192">
                  <c:v>36873</c:v>
                </c:pt>
                <c:pt idx="193">
                  <c:v>36874</c:v>
                </c:pt>
                <c:pt idx="194">
                  <c:v>36875</c:v>
                </c:pt>
                <c:pt idx="195">
                  <c:v>36878</c:v>
                </c:pt>
                <c:pt idx="196">
                  <c:v>36879</c:v>
                </c:pt>
                <c:pt idx="197">
                  <c:v>36880</c:v>
                </c:pt>
                <c:pt idx="198">
                  <c:v>36881</c:v>
                </c:pt>
                <c:pt idx="199">
                  <c:v>36882</c:v>
                </c:pt>
                <c:pt idx="200">
                  <c:v>36885</c:v>
                </c:pt>
                <c:pt idx="201">
                  <c:v>36886</c:v>
                </c:pt>
                <c:pt idx="202">
                  <c:v>36887</c:v>
                </c:pt>
                <c:pt idx="203">
                  <c:v>36888</c:v>
                </c:pt>
                <c:pt idx="204">
                  <c:v>36889</c:v>
                </c:pt>
                <c:pt idx="205">
                  <c:v>36892</c:v>
                </c:pt>
                <c:pt idx="206">
                  <c:v>36893</c:v>
                </c:pt>
                <c:pt idx="207">
                  <c:v>36894</c:v>
                </c:pt>
                <c:pt idx="208">
                  <c:v>36895</c:v>
                </c:pt>
                <c:pt idx="209">
                  <c:v>36896</c:v>
                </c:pt>
                <c:pt idx="210">
                  <c:v>36899</c:v>
                </c:pt>
                <c:pt idx="211">
                  <c:v>36900</c:v>
                </c:pt>
                <c:pt idx="212">
                  <c:v>36901</c:v>
                </c:pt>
                <c:pt idx="213">
                  <c:v>36902</c:v>
                </c:pt>
                <c:pt idx="214">
                  <c:v>36903</c:v>
                </c:pt>
                <c:pt idx="215">
                  <c:v>36906</c:v>
                </c:pt>
                <c:pt idx="216">
                  <c:v>36907</c:v>
                </c:pt>
                <c:pt idx="217">
                  <c:v>36908</c:v>
                </c:pt>
                <c:pt idx="218">
                  <c:v>36909</c:v>
                </c:pt>
                <c:pt idx="219">
                  <c:v>36910</c:v>
                </c:pt>
                <c:pt idx="220">
                  <c:v>36913</c:v>
                </c:pt>
                <c:pt idx="221">
                  <c:v>36914</c:v>
                </c:pt>
                <c:pt idx="222">
                  <c:v>36915</c:v>
                </c:pt>
                <c:pt idx="223">
                  <c:v>36916</c:v>
                </c:pt>
                <c:pt idx="224">
                  <c:v>36917</c:v>
                </c:pt>
                <c:pt idx="225">
                  <c:v>36920</c:v>
                </c:pt>
                <c:pt idx="226">
                  <c:v>36921</c:v>
                </c:pt>
                <c:pt idx="227">
                  <c:v>36922</c:v>
                </c:pt>
                <c:pt idx="228">
                  <c:v>36923</c:v>
                </c:pt>
                <c:pt idx="229">
                  <c:v>36924</c:v>
                </c:pt>
                <c:pt idx="230">
                  <c:v>36927</c:v>
                </c:pt>
                <c:pt idx="231">
                  <c:v>36928</c:v>
                </c:pt>
                <c:pt idx="232">
                  <c:v>36929</c:v>
                </c:pt>
                <c:pt idx="233">
                  <c:v>36930</c:v>
                </c:pt>
                <c:pt idx="234">
                  <c:v>36931</c:v>
                </c:pt>
                <c:pt idx="235">
                  <c:v>36934</c:v>
                </c:pt>
                <c:pt idx="236">
                  <c:v>36935</c:v>
                </c:pt>
                <c:pt idx="237">
                  <c:v>36936</c:v>
                </c:pt>
                <c:pt idx="238">
                  <c:v>36937</c:v>
                </c:pt>
                <c:pt idx="239">
                  <c:v>36938</c:v>
                </c:pt>
                <c:pt idx="240">
                  <c:v>36941</c:v>
                </c:pt>
                <c:pt idx="241">
                  <c:v>36942</c:v>
                </c:pt>
                <c:pt idx="242">
                  <c:v>36943</c:v>
                </c:pt>
                <c:pt idx="243">
                  <c:v>36944</c:v>
                </c:pt>
                <c:pt idx="244">
                  <c:v>36945</c:v>
                </c:pt>
                <c:pt idx="245">
                  <c:v>36948</c:v>
                </c:pt>
                <c:pt idx="246">
                  <c:v>36949</c:v>
                </c:pt>
                <c:pt idx="247">
                  <c:v>36950</c:v>
                </c:pt>
                <c:pt idx="248">
                  <c:v>36951</c:v>
                </c:pt>
                <c:pt idx="249">
                  <c:v>36952</c:v>
                </c:pt>
                <c:pt idx="250">
                  <c:v>36955</c:v>
                </c:pt>
                <c:pt idx="251">
                  <c:v>36956</c:v>
                </c:pt>
                <c:pt idx="252">
                  <c:v>36957</c:v>
                </c:pt>
                <c:pt idx="253">
                  <c:v>36958</c:v>
                </c:pt>
                <c:pt idx="254">
                  <c:v>36959</c:v>
                </c:pt>
                <c:pt idx="255">
                  <c:v>36962</c:v>
                </c:pt>
                <c:pt idx="256">
                  <c:v>36963</c:v>
                </c:pt>
                <c:pt idx="257">
                  <c:v>36964</c:v>
                </c:pt>
                <c:pt idx="258">
                  <c:v>36965</c:v>
                </c:pt>
                <c:pt idx="259">
                  <c:v>36966</c:v>
                </c:pt>
                <c:pt idx="260">
                  <c:v>36969</c:v>
                </c:pt>
                <c:pt idx="261">
                  <c:v>36970</c:v>
                </c:pt>
                <c:pt idx="262">
                  <c:v>36971</c:v>
                </c:pt>
                <c:pt idx="263">
                  <c:v>36972</c:v>
                </c:pt>
                <c:pt idx="264">
                  <c:v>36973</c:v>
                </c:pt>
                <c:pt idx="265">
                  <c:v>36976</c:v>
                </c:pt>
                <c:pt idx="266">
                  <c:v>36977</c:v>
                </c:pt>
                <c:pt idx="267">
                  <c:v>36978</c:v>
                </c:pt>
                <c:pt idx="268">
                  <c:v>36979</c:v>
                </c:pt>
                <c:pt idx="269">
                  <c:v>36980</c:v>
                </c:pt>
                <c:pt idx="270">
                  <c:v>36983</c:v>
                </c:pt>
                <c:pt idx="271">
                  <c:v>36984</c:v>
                </c:pt>
                <c:pt idx="272">
                  <c:v>36985</c:v>
                </c:pt>
                <c:pt idx="273">
                  <c:v>36986</c:v>
                </c:pt>
                <c:pt idx="274">
                  <c:v>36987</c:v>
                </c:pt>
                <c:pt idx="275">
                  <c:v>36990</c:v>
                </c:pt>
                <c:pt idx="276">
                  <c:v>36991</c:v>
                </c:pt>
                <c:pt idx="277">
                  <c:v>36992</c:v>
                </c:pt>
                <c:pt idx="278">
                  <c:v>36993</c:v>
                </c:pt>
                <c:pt idx="279">
                  <c:v>36994</c:v>
                </c:pt>
                <c:pt idx="280">
                  <c:v>36997</c:v>
                </c:pt>
                <c:pt idx="281">
                  <c:v>36998</c:v>
                </c:pt>
                <c:pt idx="282">
                  <c:v>36999</c:v>
                </c:pt>
                <c:pt idx="283">
                  <c:v>37000</c:v>
                </c:pt>
                <c:pt idx="284">
                  <c:v>37001</c:v>
                </c:pt>
                <c:pt idx="285">
                  <c:v>37004</c:v>
                </c:pt>
                <c:pt idx="286">
                  <c:v>37005</c:v>
                </c:pt>
                <c:pt idx="287">
                  <c:v>37006</c:v>
                </c:pt>
                <c:pt idx="288">
                  <c:v>37007</c:v>
                </c:pt>
                <c:pt idx="289">
                  <c:v>37008</c:v>
                </c:pt>
                <c:pt idx="290">
                  <c:v>37011</c:v>
                </c:pt>
                <c:pt idx="291">
                  <c:v>37012</c:v>
                </c:pt>
                <c:pt idx="292">
                  <c:v>37013</c:v>
                </c:pt>
                <c:pt idx="293">
                  <c:v>37014</c:v>
                </c:pt>
                <c:pt idx="294">
                  <c:v>37015</c:v>
                </c:pt>
                <c:pt idx="295">
                  <c:v>37018</c:v>
                </c:pt>
                <c:pt idx="296">
                  <c:v>37019</c:v>
                </c:pt>
                <c:pt idx="297">
                  <c:v>37020</c:v>
                </c:pt>
                <c:pt idx="298">
                  <c:v>37021</c:v>
                </c:pt>
                <c:pt idx="299">
                  <c:v>37022</c:v>
                </c:pt>
                <c:pt idx="300">
                  <c:v>37025</c:v>
                </c:pt>
                <c:pt idx="301">
                  <c:v>37026</c:v>
                </c:pt>
                <c:pt idx="302">
                  <c:v>37027</c:v>
                </c:pt>
                <c:pt idx="303">
                  <c:v>37028</c:v>
                </c:pt>
                <c:pt idx="304">
                  <c:v>37029</c:v>
                </c:pt>
                <c:pt idx="305">
                  <c:v>37032</c:v>
                </c:pt>
                <c:pt idx="306">
                  <c:v>37033</c:v>
                </c:pt>
                <c:pt idx="307">
                  <c:v>37034</c:v>
                </c:pt>
                <c:pt idx="308">
                  <c:v>37035</c:v>
                </c:pt>
                <c:pt idx="309">
                  <c:v>37036</c:v>
                </c:pt>
                <c:pt idx="310">
                  <c:v>37039</c:v>
                </c:pt>
                <c:pt idx="311">
                  <c:v>37040</c:v>
                </c:pt>
                <c:pt idx="312">
                  <c:v>37041</c:v>
                </c:pt>
                <c:pt idx="313">
                  <c:v>37042</c:v>
                </c:pt>
                <c:pt idx="314">
                  <c:v>37043</c:v>
                </c:pt>
                <c:pt idx="315">
                  <c:v>37046</c:v>
                </c:pt>
                <c:pt idx="316">
                  <c:v>37047</c:v>
                </c:pt>
                <c:pt idx="317">
                  <c:v>37048</c:v>
                </c:pt>
                <c:pt idx="318">
                  <c:v>37049</c:v>
                </c:pt>
                <c:pt idx="319">
                  <c:v>37050</c:v>
                </c:pt>
                <c:pt idx="320">
                  <c:v>37053</c:v>
                </c:pt>
                <c:pt idx="321">
                  <c:v>37054</c:v>
                </c:pt>
                <c:pt idx="322">
                  <c:v>37055</c:v>
                </c:pt>
                <c:pt idx="323">
                  <c:v>37056</c:v>
                </c:pt>
                <c:pt idx="324">
                  <c:v>37057</c:v>
                </c:pt>
                <c:pt idx="325">
                  <c:v>37060</c:v>
                </c:pt>
                <c:pt idx="326">
                  <c:v>37061</c:v>
                </c:pt>
                <c:pt idx="327">
                  <c:v>37062</c:v>
                </c:pt>
                <c:pt idx="328">
                  <c:v>37063</c:v>
                </c:pt>
                <c:pt idx="329">
                  <c:v>37064</c:v>
                </c:pt>
                <c:pt idx="330">
                  <c:v>37067</c:v>
                </c:pt>
                <c:pt idx="331">
                  <c:v>37068</c:v>
                </c:pt>
                <c:pt idx="332">
                  <c:v>37069</c:v>
                </c:pt>
                <c:pt idx="333">
                  <c:v>37070</c:v>
                </c:pt>
                <c:pt idx="334">
                  <c:v>37071</c:v>
                </c:pt>
                <c:pt idx="335">
                  <c:v>37074</c:v>
                </c:pt>
                <c:pt idx="336">
                  <c:v>37075</c:v>
                </c:pt>
                <c:pt idx="337">
                  <c:v>37076</c:v>
                </c:pt>
                <c:pt idx="338">
                  <c:v>37077</c:v>
                </c:pt>
                <c:pt idx="339">
                  <c:v>37078</c:v>
                </c:pt>
                <c:pt idx="340">
                  <c:v>37081</c:v>
                </c:pt>
                <c:pt idx="341">
                  <c:v>37082</c:v>
                </c:pt>
                <c:pt idx="342">
                  <c:v>37083</c:v>
                </c:pt>
                <c:pt idx="343">
                  <c:v>37084</c:v>
                </c:pt>
                <c:pt idx="344">
                  <c:v>37085</c:v>
                </c:pt>
                <c:pt idx="345">
                  <c:v>37088</c:v>
                </c:pt>
                <c:pt idx="346">
                  <c:v>37089</c:v>
                </c:pt>
                <c:pt idx="347">
                  <c:v>37090</c:v>
                </c:pt>
                <c:pt idx="348">
                  <c:v>37091</c:v>
                </c:pt>
                <c:pt idx="349">
                  <c:v>37092</c:v>
                </c:pt>
                <c:pt idx="350">
                  <c:v>37095</c:v>
                </c:pt>
                <c:pt idx="351">
                  <c:v>37096</c:v>
                </c:pt>
                <c:pt idx="352">
                  <c:v>37097</c:v>
                </c:pt>
                <c:pt idx="353">
                  <c:v>37098</c:v>
                </c:pt>
                <c:pt idx="354">
                  <c:v>37099</c:v>
                </c:pt>
                <c:pt idx="355">
                  <c:v>37102</c:v>
                </c:pt>
                <c:pt idx="356">
                  <c:v>37103</c:v>
                </c:pt>
                <c:pt idx="357">
                  <c:v>37104</c:v>
                </c:pt>
                <c:pt idx="358">
                  <c:v>37105</c:v>
                </c:pt>
                <c:pt idx="359">
                  <c:v>37106</c:v>
                </c:pt>
                <c:pt idx="360">
                  <c:v>37109</c:v>
                </c:pt>
                <c:pt idx="361">
                  <c:v>37110</c:v>
                </c:pt>
                <c:pt idx="362">
                  <c:v>37111</c:v>
                </c:pt>
                <c:pt idx="363">
                  <c:v>37112</c:v>
                </c:pt>
                <c:pt idx="364">
                  <c:v>37113</c:v>
                </c:pt>
                <c:pt idx="365">
                  <c:v>37116</c:v>
                </c:pt>
                <c:pt idx="366">
                  <c:v>37117</c:v>
                </c:pt>
                <c:pt idx="367">
                  <c:v>37118</c:v>
                </c:pt>
                <c:pt idx="368">
                  <c:v>37119</c:v>
                </c:pt>
                <c:pt idx="369">
                  <c:v>37120</c:v>
                </c:pt>
                <c:pt idx="370">
                  <c:v>37123</c:v>
                </c:pt>
                <c:pt idx="371">
                  <c:v>37124</c:v>
                </c:pt>
                <c:pt idx="372">
                  <c:v>37125</c:v>
                </c:pt>
                <c:pt idx="373">
                  <c:v>37126</c:v>
                </c:pt>
                <c:pt idx="374">
                  <c:v>37127</c:v>
                </c:pt>
                <c:pt idx="375">
                  <c:v>37130</c:v>
                </c:pt>
                <c:pt idx="376">
                  <c:v>37131</c:v>
                </c:pt>
                <c:pt idx="377">
                  <c:v>37132</c:v>
                </c:pt>
                <c:pt idx="378">
                  <c:v>37133</c:v>
                </c:pt>
                <c:pt idx="379">
                  <c:v>37134</c:v>
                </c:pt>
                <c:pt idx="380">
                  <c:v>37137</c:v>
                </c:pt>
                <c:pt idx="381">
                  <c:v>37138</c:v>
                </c:pt>
                <c:pt idx="382">
                  <c:v>37139</c:v>
                </c:pt>
                <c:pt idx="383">
                  <c:v>37140</c:v>
                </c:pt>
                <c:pt idx="384">
                  <c:v>37141</c:v>
                </c:pt>
                <c:pt idx="385">
                  <c:v>37144</c:v>
                </c:pt>
                <c:pt idx="386">
                  <c:v>37145</c:v>
                </c:pt>
                <c:pt idx="387">
                  <c:v>37146</c:v>
                </c:pt>
                <c:pt idx="388">
                  <c:v>37147</c:v>
                </c:pt>
                <c:pt idx="389">
                  <c:v>37148</c:v>
                </c:pt>
                <c:pt idx="390">
                  <c:v>37151</c:v>
                </c:pt>
                <c:pt idx="391">
                  <c:v>37152</c:v>
                </c:pt>
                <c:pt idx="392">
                  <c:v>37153</c:v>
                </c:pt>
                <c:pt idx="393">
                  <c:v>37154</c:v>
                </c:pt>
                <c:pt idx="394">
                  <c:v>37155</c:v>
                </c:pt>
                <c:pt idx="395">
                  <c:v>37158</c:v>
                </c:pt>
                <c:pt idx="396">
                  <c:v>37159</c:v>
                </c:pt>
                <c:pt idx="397">
                  <c:v>37160</c:v>
                </c:pt>
                <c:pt idx="398">
                  <c:v>37161</c:v>
                </c:pt>
                <c:pt idx="399">
                  <c:v>37162</c:v>
                </c:pt>
                <c:pt idx="400">
                  <c:v>37165</c:v>
                </c:pt>
                <c:pt idx="401">
                  <c:v>37166</c:v>
                </c:pt>
                <c:pt idx="402">
                  <c:v>37167</c:v>
                </c:pt>
                <c:pt idx="403">
                  <c:v>37168</c:v>
                </c:pt>
                <c:pt idx="404">
                  <c:v>37169</c:v>
                </c:pt>
                <c:pt idx="405">
                  <c:v>37172</c:v>
                </c:pt>
                <c:pt idx="406">
                  <c:v>37173</c:v>
                </c:pt>
                <c:pt idx="407">
                  <c:v>37174</c:v>
                </c:pt>
                <c:pt idx="408">
                  <c:v>37175</c:v>
                </c:pt>
                <c:pt idx="409">
                  <c:v>37176</c:v>
                </c:pt>
                <c:pt idx="410">
                  <c:v>37179</c:v>
                </c:pt>
                <c:pt idx="411">
                  <c:v>37180</c:v>
                </c:pt>
                <c:pt idx="412">
                  <c:v>37181</c:v>
                </c:pt>
                <c:pt idx="413">
                  <c:v>37182</c:v>
                </c:pt>
                <c:pt idx="414">
                  <c:v>37183</c:v>
                </c:pt>
                <c:pt idx="415">
                  <c:v>37186</c:v>
                </c:pt>
                <c:pt idx="416">
                  <c:v>37187</c:v>
                </c:pt>
                <c:pt idx="417">
                  <c:v>37188</c:v>
                </c:pt>
                <c:pt idx="418">
                  <c:v>37189</c:v>
                </c:pt>
                <c:pt idx="419">
                  <c:v>37190</c:v>
                </c:pt>
                <c:pt idx="420">
                  <c:v>37193</c:v>
                </c:pt>
                <c:pt idx="421">
                  <c:v>37194</c:v>
                </c:pt>
                <c:pt idx="422">
                  <c:v>37195</c:v>
                </c:pt>
                <c:pt idx="423">
                  <c:v>37196</c:v>
                </c:pt>
                <c:pt idx="424">
                  <c:v>37197</c:v>
                </c:pt>
                <c:pt idx="425">
                  <c:v>37200</c:v>
                </c:pt>
                <c:pt idx="426">
                  <c:v>37201</c:v>
                </c:pt>
                <c:pt idx="427">
                  <c:v>37202</c:v>
                </c:pt>
                <c:pt idx="428">
                  <c:v>37203</c:v>
                </c:pt>
                <c:pt idx="429">
                  <c:v>37204</c:v>
                </c:pt>
                <c:pt idx="430">
                  <c:v>37207</c:v>
                </c:pt>
                <c:pt idx="431">
                  <c:v>37208</c:v>
                </c:pt>
                <c:pt idx="432">
                  <c:v>37209</c:v>
                </c:pt>
                <c:pt idx="433">
                  <c:v>37210</c:v>
                </c:pt>
                <c:pt idx="434">
                  <c:v>37211</c:v>
                </c:pt>
                <c:pt idx="435">
                  <c:v>37214</c:v>
                </c:pt>
                <c:pt idx="436">
                  <c:v>37215</c:v>
                </c:pt>
                <c:pt idx="437">
                  <c:v>37216</c:v>
                </c:pt>
                <c:pt idx="438">
                  <c:v>37217</c:v>
                </c:pt>
                <c:pt idx="439">
                  <c:v>37218</c:v>
                </c:pt>
                <c:pt idx="440">
                  <c:v>37221</c:v>
                </c:pt>
                <c:pt idx="441">
                  <c:v>37222</c:v>
                </c:pt>
                <c:pt idx="442">
                  <c:v>37223</c:v>
                </c:pt>
                <c:pt idx="443">
                  <c:v>37224</c:v>
                </c:pt>
                <c:pt idx="444">
                  <c:v>37225</c:v>
                </c:pt>
                <c:pt idx="445">
                  <c:v>37228</c:v>
                </c:pt>
                <c:pt idx="446">
                  <c:v>37229</c:v>
                </c:pt>
                <c:pt idx="447">
                  <c:v>37230</c:v>
                </c:pt>
                <c:pt idx="448">
                  <c:v>37231</c:v>
                </c:pt>
                <c:pt idx="449">
                  <c:v>37232</c:v>
                </c:pt>
                <c:pt idx="450">
                  <c:v>37235</c:v>
                </c:pt>
                <c:pt idx="451">
                  <c:v>37236</c:v>
                </c:pt>
                <c:pt idx="452">
                  <c:v>37237</c:v>
                </c:pt>
                <c:pt idx="453">
                  <c:v>37238</c:v>
                </c:pt>
                <c:pt idx="454">
                  <c:v>37239</c:v>
                </c:pt>
                <c:pt idx="455">
                  <c:v>37242</c:v>
                </c:pt>
                <c:pt idx="456">
                  <c:v>37243</c:v>
                </c:pt>
                <c:pt idx="457">
                  <c:v>37244</c:v>
                </c:pt>
                <c:pt idx="458">
                  <c:v>37245</c:v>
                </c:pt>
                <c:pt idx="459">
                  <c:v>37246</c:v>
                </c:pt>
                <c:pt idx="460">
                  <c:v>37252</c:v>
                </c:pt>
                <c:pt idx="461">
                  <c:v>37253</c:v>
                </c:pt>
                <c:pt idx="462">
                  <c:v>37256</c:v>
                </c:pt>
                <c:pt idx="463">
                  <c:v>37257</c:v>
                </c:pt>
                <c:pt idx="464">
                  <c:v>37258</c:v>
                </c:pt>
                <c:pt idx="465">
                  <c:v>37259</c:v>
                </c:pt>
                <c:pt idx="466">
                  <c:v>37260</c:v>
                </c:pt>
                <c:pt idx="467">
                  <c:v>37263</c:v>
                </c:pt>
                <c:pt idx="468">
                  <c:v>37264</c:v>
                </c:pt>
                <c:pt idx="469">
                  <c:v>37265</c:v>
                </c:pt>
                <c:pt idx="470">
                  <c:v>37266</c:v>
                </c:pt>
                <c:pt idx="471">
                  <c:v>37267</c:v>
                </c:pt>
                <c:pt idx="472">
                  <c:v>37270</c:v>
                </c:pt>
                <c:pt idx="473">
                  <c:v>37271</c:v>
                </c:pt>
                <c:pt idx="474">
                  <c:v>37272</c:v>
                </c:pt>
                <c:pt idx="475">
                  <c:v>37273</c:v>
                </c:pt>
                <c:pt idx="476">
                  <c:v>37274</c:v>
                </c:pt>
                <c:pt idx="477">
                  <c:v>37277</c:v>
                </c:pt>
                <c:pt idx="478">
                  <c:v>37278</c:v>
                </c:pt>
                <c:pt idx="479">
                  <c:v>37279</c:v>
                </c:pt>
                <c:pt idx="480">
                  <c:v>37280</c:v>
                </c:pt>
                <c:pt idx="481">
                  <c:v>37281</c:v>
                </c:pt>
                <c:pt idx="482">
                  <c:v>37284</c:v>
                </c:pt>
                <c:pt idx="483">
                  <c:v>37285</c:v>
                </c:pt>
                <c:pt idx="484">
                  <c:v>37286</c:v>
                </c:pt>
                <c:pt idx="485">
                  <c:v>37287</c:v>
                </c:pt>
                <c:pt idx="486">
                  <c:v>37288</c:v>
                </c:pt>
                <c:pt idx="487">
                  <c:v>37291</c:v>
                </c:pt>
                <c:pt idx="488">
                  <c:v>37292</c:v>
                </c:pt>
                <c:pt idx="489">
                  <c:v>37293</c:v>
                </c:pt>
                <c:pt idx="490">
                  <c:v>37294</c:v>
                </c:pt>
                <c:pt idx="491">
                  <c:v>37295</c:v>
                </c:pt>
                <c:pt idx="492">
                  <c:v>37298</c:v>
                </c:pt>
                <c:pt idx="493">
                  <c:v>37299</c:v>
                </c:pt>
                <c:pt idx="494">
                  <c:v>37300</c:v>
                </c:pt>
                <c:pt idx="495">
                  <c:v>37301</c:v>
                </c:pt>
                <c:pt idx="496">
                  <c:v>37302</c:v>
                </c:pt>
                <c:pt idx="497">
                  <c:v>37305</c:v>
                </c:pt>
                <c:pt idx="498">
                  <c:v>37306</c:v>
                </c:pt>
                <c:pt idx="499">
                  <c:v>37307</c:v>
                </c:pt>
                <c:pt idx="500">
                  <c:v>37308</c:v>
                </c:pt>
                <c:pt idx="501">
                  <c:v>37309</c:v>
                </c:pt>
                <c:pt idx="502">
                  <c:v>37312</c:v>
                </c:pt>
                <c:pt idx="503">
                  <c:v>37313</c:v>
                </c:pt>
                <c:pt idx="504">
                  <c:v>37314</c:v>
                </c:pt>
                <c:pt idx="505">
                  <c:v>37315</c:v>
                </c:pt>
                <c:pt idx="506">
                  <c:v>37316</c:v>
                </c:pt>
                <c:pt idx="507">
                  <c:v>37319</c:v>
                </c:pt>
                <c:pt idx="508">
                  <c:v>37320</c:v>
                </c:pt>
                <c:pt idx="509">
                  <c:v>37321</c:v>
                </c:pt>
                <c:pt idx="510">
                  <c:v>37322</c:v>
                </c:pt>
                <c:pt idx="511">
                  <c:v>37323</c:v>
                </c:pt>
                <c:pt idx="512">
                  <c:v>37326</c:v>
                </c:pt>
                <c:pt idx="513">
                  <c:v>37327</c:v>
                </c:pt>
                <c:pt idx="514">
                  <c:v>37328</c:v>
                </c:pt>
                <c:pt idx="515">
                  <c:v>37329</c:v>
                </c:pt>
                <c:pt idx="516">
                  <c:v>37330</c:v>
                </c:pt>
                <c:pt idx="517">
                  <c:v>37333</c:v>
                </c:pt>
                <c:pt idx="518">
                  <c:v>37334</c:v>
                </c:pt>
                <c:pt idx="519">
                  <c:v>37335</c:v>
                </c:pt>
                <c:pt idx="520">
                  <c:v>37336</c:v>
                </c:pt>
                <c:pt idx="521">
                  <c:v>37337</c:v>
                </c:pt>
                <c:pt idx="522">
                  <c:v>37340</c:v>
                </c:pt>
                <c:pt idx="523">
                  <c:v>37341</c:v>
                </c:pt>
                <c:pt idx="524">
                  <c:v>37342</c:v>
                </c:pt>
                <c:pt idx="525">
                  <c:v>37343</c:v>
                </c:pt>
                <c:pt idx="526">
                  <c:v>37344</c:v>
                </c:pt>
                <c:pt idx="527">
                  <c:v>37347</c:v>
                </c:pt>
                <c:pt idx="528">
                  <c:v>37348</c:v>
                </c:pt>
                <c:pt idx="529">
                  <c:v>37349</c:v>
                </c:pt>
                <c:pt idx="530">
                  <c:v>37350</c:v>
                </c:pt>
                <c:pt idx="531">
                  <c:v>37351</c:v>
                </c:pt>
                <c:pt idx="532">
                  <c:v>37354</c:v>
                </c:pt>
                <c:pt idx="533">
                  <c:v>37355</c:v>
                </c:pt>
                <c:pt idx="534">
                  <c:v>37356</c:v>
                </c:pt>
                <c:pt idx="535">
                  <c:v>37357</c:v>
                </c:pt>
                <c:pt idx="536">
                  <c:v>37358</c:v>
                </c:pt>
                <c:pt idx="537">
                  <c:v>37361</c:v>
                </c:pt>
                <c:pt idx="538">
                  <c:v>37362</c:v>
                </c:pt>
                <c:pt idx="539">
                  <c:v>37363</c:v>
                </c:pt>
                <c:pt idx="540">
                  <c:v>37364</c:v>
                </c:pt>
                <c:pt idx="541">
                  <c:v>37365</c:v>
                </c:pt>
                <c:pt idx="542">
                  <c:v>37368</c:v>
                </c:pt>
                <c:pt idx="543">
                  <c:v>37369</c:v>
                </c:pt>
                <c:pt idx="544">
                  <c:v>37370</c:v>
                </c:pt>
                <c:pt idx="545">
                  <c:v>37371</c:v>
                </c:pt>
                <c:pt idx="546">
                  <c:v>37372</c:v>
                </c:pt>
                <c:pt idx="547">
                  <c:v>37375</c:v>
                </c:pt>
                <c:pt idx="548">
                  <c:v>37376</c:v>
                </c:pt>
                <c:pt idx="549">
                  <c:v>37377</c:v>
                </c:pt>
                <c:pt idx="550">
                  <c:v>37378</c:v>
                </c:pt>
                <c:pt idx="551">
                  <c:v>37379</c:v>
                </c:pt>
                <c:pt idx="552">
                  <c:v>37382</c:v>
                </c:pt>
                <c:pt idx="553">
                  <c:v>37383</c:v>
                </c:pt>
                <c:pt idx="554">
                  <c:v>37384</c:v>
                </c:pt>
                <c:pt idx="555">
                  <c:v>37385</c:v>
                </c:pt>
                <c:pt idx="556">
                  <c:v>37386</c:v>
                </c:pt>
                <c:pt idx="557">
                  <c:v>37389</c:v>
                </c:pt>
                <c:pt idx="558">
                  <c:v>37390</c:v>
                </c:pt>
                <c:pt idx="559">
                  <c:v>37391</c:v>
                </c:pt>
                <c:pt idx="560">
                  <c:v>37392</c:v>
                </c:pt>
                <c:pt idx="561">
                  <c:v>37393</c:v>
                </c:pt>
                <c:pt idx="562">
                  <c:v>37396</c:v>
                </c:pt>
                <c:pt idx="563">
                  <c:v>37397</c:v>
                </c:pt>
                <c:pt idx="564">
                  <c:v>37398</c:v>
                </c:pt>
                <c:pt idx="565">
                  <c:v>37399</c:v>
                </c:pt>
                <c:pt idx="566">
                  <c:v>37400</c:v>
                </c:pt>
                <c:pt idx="567">
                  <c:v>37403</c:v>
                </c:pt>
                <c:pt idx="568">
                  <c:v>37404</c:v>
                </c:pt>
                <c:pt idx="569">
                  <c:v>37405</c:v>
                </c:pt>
                <c:pt idx="570">
                  <c:v>37406</c:v>
                </c:pt>
                <c:pt idx="571">
                  <c:v>37407</c:v>
                </c:pt>
                <c:pt idx="572">
                  <c:v>37410</c:v>
                </c:pt>
                <c:pt idx="573">
                  <c:v>37411</c:v>
                </c:pt>
                <c:pt idx="574">
                  <c:v>37412</c:v>
                </c:pt>
                <c:pt idx="575">
                  <c:v>37413</c:v>
                </c:pt>
                <c:pt idx="576">
                  <c:v>37414</c:v>
                </c:pt>
                <c:pt idx="577">
                  <c:v>37417</c:v>
                </c:pt>
                <c:pt idx="578">
                  <c:v>37418</c:v>
                </c:pt>
                <c:pt idx="579">
                  <c:v>37419</c:v>
                </c:pt>
                <c:pt idx="580">
                  <c:v>37420</c:v>
                </c:pt>
                <c:pt idx="581">
                  <c:v>37421</c:v>
                </c:pt>
                <c:pt idx="582">
                  <c:v>37424</c:v>
                </c:pt>
                <c:pt idx="583">
                  <c:v>37425</c:v>
                </c:pt>
                <c:pt idx="584">
                  <c:v>37426</c:v>
                </c:pt>
                <c:pt idx="585">
                  <c:v>37427</c:v>
                </c:pt>
                <c:pt idx="586">
                  <c:v>37428</c:v>
                </c:pt>
                <c:pt idx="587">
                  <c:v>37431</c:v>
                </c:pt>
                <c:pt idx="588">
                  <c:v>37432</c:v>
                </c:pt>
                <c:pt idx="589">
                  <c:v>37433</c:v>
                </c:pt>
                <c:pt idx="590">
                  <c:v>37434</c:v>
                </c:pt>
                <c:pt idx="591">
                  <c:v>37435</c:v>
                </c:pt>
                <c:pt idx="592">
                  <c:v>37438</c:v>
                </c:pt>
                <c:pt idx="593">
                  <c:v>37439</c:v>
                </c:pt>
                <c:pt idx="594">
                  <c:v>37440</c:v>
                </c:pt>
                <c:pt idx="595">
                  <c:v>37441</c:v>
                </c:pt>
                <c:pt idx="596">
                  <c:v>37442</c:v>
                </c:pt>
                <c:pt idx="597">
                  <c:v>37445</c:v>
                </c:pt>
                <c:pt idx="598">
                  <c:v>37446</c:v>
                </c:pt>
                <c:pt idx="599">
                  <c:v>37447</c:v>
                </c:pt>
                <c:pt idx="600">
                  <c:v>37448</c:v>
                </c:pt>
                <c:pt idx="601">
                  <c:v>37449</c:v>
                </c:pt>
                <c:pt idx="602">
                  <c:v>37452</c:v>
                </c:pt>
                <c:pt idx="603">
                  <c:v>37453</c:v>
                </c:pt>
                <c:pt idx="604">
                  <c:v>37454</c:v>
                </c:pt>
                <c:pt idx="605">
                  <c:v>37455</c:v>
                </c:pt>
                <c:pt idx="606">
                  <c:v>37456</c:v>
                </c:pt>
                <c:pt idx="607">
                  <c:v>37459</c:v>
                </c:pt>
                <c:pt idx="608">
                  <c:v>37460</c:v>
                </c:pt>
                <c:pt idx="609">
                  <c:v>37461</c:v>
                </c:pt>
                <c:pt idx="610">
                  <c:v>37462</c:v>
                </c:pt>
                <c:pt idx="611">
                  <c:v>37463</c:v>
                </c:pt>
                <c:pt idx="612">
                  <c:v>37466</c:v>
                </c:pt>
                <c:pt idx="613">
                  <c:v>37467</c:v>
                </c:pt>
                <c:pt idx="614">
                  <c:v>37468</c:v>
                </c:pt>
                <c:pt idx="615">
                  <c:v>37469</c:v>
                </c:pt>
                <c:pt idx="616">
                  <c:v>37470</c:v>
                </c:pt>
                <c:pt idx="617">
                  <c:v>37473</c:v>
                </c:pt>
                <c:pt idx="618">
                  <c:v>37474</c:v>
                </c:pt>
                <c:pt idx="619">
                  <c:v>37475</c:v>
                </c:pt>
                <c:pt idx="620">
                  <c:v>37476</c:v>
                </c:pt>
                <c:pt idx="621">
                  <c:v>37477</c:v>
                </c:pt>
                <c:pt idx="622">
                  <c:v>37480</c:v>
                </c:pt>
                <c:pt idx="623">
                  <c:v>37481</c:v>
                </c:pt>
                <c:pt idx="624">
                  <c:v>37482</c:v>
                </c:pt>
                <c:pt idx="625">
                  <c:v>37483</c:v>
                </c:pt>
                <c:pt idx="626">
                  <c:v>37484</c:v>
                </c:pt>
                <c:pt idx="627">
                  <c:v>37487</c:v>
                </c:pt>
                <c:pt idx="628">
                  <c:v>37488</c:v>
                </c:pt>
                <c:pt idx="629">
                  <c:v>37489</c:v>
                </c:pt>
                <c:pt idx="630">
                  <c:v>37490</c:v>
                </c:pt>
                <c:pt idx="631">
                  <c:v>37491</c:v>
                </c:pt>
                <c:pt idx="632">
                  <c:v>37494</c:v>
                </c:pt>
                <c:pt idx="633">
                  <c:v>37495</c:v>
                </c:pt>
                <c:pt idx="634">
                  <c:v>37496</c:v>
                </c:pt>
                <c:pt idx="635">
                  <c:v>37497</c:v>
                </c:pt>
                <c:pt idx="636">
                  <c:v>37498</c:v>
                </c:pt>
                <c:pt idx="637">
                  <c:v>37501</c:v>
                </c:pt>
                <c:pt idx="638">
                  <c:v>37502</c:v>
                </c:pt>
                <c:pt idx="639">
                  <c:v>37503</c:v>
                </c:pt>
                <c:pt idx="640">
                  <c:v>37504</c:v>
                </c:pt>
                <c:pt idx="641">
                  <c:v>37505</c:v>
                </c:pt>
                <c:pt idx="642">
                  <c:v>37508</c:v>
                </c:pt>
                <c:pt idx="643">
                  <c:v>37509</c:v>
                </c:pt>
                <c:pt idx="644">
                  <c:v>37510</c:v>
                </c:pt>
                <c:pt idx="645">
                  <c:v>37511</c:v>
                </c:pt>
                <c:pt idx="646">
                  <c:v>37512</c:v>
                </c:pt>
                <c:pt idx="647">
                  <c:v>37515</c:v>
                </c:pt>
                <c:pt idx="648">
                  <c:v>37516</c:v>
                </c:pt>
                <c:pt idx="649">
                  <c:v>37517</c:v>
                </c:pt>
                <c:pt idx="650">
                  <c:v>37518</c:v>
                </c:pt>
                <c:pt idx="651">
                  <c:v>37519</c:v>
                </c:pt>
                <c:pt idx="652">
                  <c:v>37522</c:v>
                </c:pt>
                <c:pt idx="653">
                  <c:v>37523</c:v>
                </c:pt>
                <c:pt idx="654">
                  <c:v>37524</c:v>
                </c:pt>
                <c:pt idx="655">
                  <c:v>37525</c:v>
                </c:pt>
                <c:pt idx="656">
                  <c:v>37526</c:v>
                </c:pt>
                <c:pt idx="657">
                  <c:v>37529</c:v>
                </c:pt>
                <c:pt idx="658">
                  <c:v>37530</c:v>
                </c:pt>
                <c:pt idx="659">
                  <c:v>37531</c:v>
                </c:pt>
                <c:pt idx="660">
                  <c:v>37532</c:v>
                </c:pt>
                <c:pt idx="661">
                  <c:v>37533</c:v>
                </c:pt>
                <c:pt idx="662">
                  <c:v>37536</c:v>
                </c:pt>
                <c:pt idx="663">
                  <c:v>37537</c:v>
                </c:pt>
                <c:pt idx="664">
                  <c:v>37538</c:v>
                </c:pt>
                <c:pt idx="665">
                  <c:v>37539</c:v>
                </c:pt>
                <c:pt idx="666">
                  <c:v>37540</c:v>
                </c:pt>
                <c:pt idx="667">
                  <c:v>37543</c:v>
                </c:pt>
                <c:pt idx="668">
                  <c:v>37544</c:v>
                </c:pt>
                <c:pt idx="669">
                  <c:v>37545</c:v>
                </c:pt>
                <c:pt idx="670">
                  <c:v>37546</c:v>
                </c:pt>
                <c:pt idx="671">
                  <c:v>37547</c:v>
                </c:pt>
                <c:pt idx="672">
                  <c:v>37550</c:v>
                </c:pt>
                <c:pt idx="673">
                  <c:v>37551</c:v>
                </c:pt>
                <c:pt idx="674">
                  <c:v>37552</c:v>
                </c:pt>
                <c:pt idx="675">
                  <c:v>37553</c:v>
                </c:pt>
                <c:pt idx="676">
                  <c:v>37554</c:v>
                </c:pt>
                <c:pt idx="677">
                  <c:v>37557</c:v>
                </c:pt>
                <c:pt idx="678">
                  <c:v>37558</c:v>
                </c:pt>
                <c:pt idx="679">
                  <c:v>37559</c:v>
                </c:pt>
                <c:pt idx="680">
                  <c:v>37560</c:v>
                </c:pt>
                <c:pt idx="681">
                  <c:v>37561</c:v>
                </c:pt>
                <c:pt idx="682">
                  <c:v>37564</c:v>
                </c:pt>
                <c:pt idx="683">
                  <c:v>37565</c:v>
                </c:pt>
                <c:pt idx="684">
                  <c:v>37566</c:v>
                </c:pt>
                <c:pt idx="685">
                  <c:v>37567</c:v>
                </c:pt>
                <c:pt idx="686">
                  <c:v>37568</c:v>
                </c:pt>
                <c:pt idx="687">
                  <c:v>37571</c:v>
                </c:pt>
                <c:pt idx="688">
                  <c:v>37572</c:v>
                </c:pt>
                <c:pt idx="689">
                  <c:v>37573</c:v>
                </c:pt>
                <c:pt idx="690">
                  <c:v>37574</c:v>
                </c:pt>
                <c:pt idx="691">
                  <c:v>37575</c:v>
                </c:pt>
                <c:pt idx="692">
                  <c:v>37578</c:v>
                </c:pt>
                <c:pt idx="693">
                  <c:v>37579</c:v>
                </c:pt>
                <c:pt idx="694">
                  <c:v>37580</c:v>
                </c:pt>
                <c:pt idx="695">
                  <c:v>37581</c:v>
                </c:pt>
                <c:pt idx="696">
                  <c:v>37582</c:v>
                </c:pt>
                <c:pt idx="697">
                  <c:v>37585</c:v>
                </c:pt>
                <c:pt idx="698">
                  <c:v>37586</c:v>
                </c:pt>
                <c:pt idx="699">
                  <c:v>37587</c:v>
                </c:pt>
                <c:pt idx="700">
                  <c:v>37588</c:v>
                </c:pt>
                <c:pt idx="701">
                  <c:v>37589</c:v>
                </c:pt>
                <c:pt idx="702">
                  <c:v>37592</c:v>
                </c:pt>
                <c:pt idx="703">
                  <c:v>37593</c:v>
                </c:pt>
                <c:pt idx="704">
                  <c:v>37594</c:v>
                </c:pt>
                <c:pt idx="705">
                  <c:v>37595</c:v>
                </c:pt>
                <c:pt idx="706">
                  <c:v>37596</c:v>
                </c:pt>
                <c:pt idx="707">
                  <c:v>37599</c:v>
                </c:pt>
                <c:pt idx="708">
                  <c:v>37600</c:v>
                </c:pt>
                <c:pt idx="709">
                  <c:v>37601</c:v>
                </c:pt>
                <c:pt idx="710">
                  <c:v>37602</c:v>
                </c:pt>
                <c:pt idx="711">
                  <c:v>37603</c:v>
                </c:pt>
                <c:pt idx="712">
                  <c:v>37606</c:v>
                </c:pt>
                <c:pt idx="713">
                  <c:v>37607</c:v>
                </c:pt>
                <c:pt idx="714">
                  <c:v>37608</c:v>
                </c:pt>
                <c:pt idx="715">
                  <c:v>37609</c:v>
                </c:pt>
                <c:pt idx="716">
                  <c:v>37610</c:v>
                </c:pt>
                <c:pt idx="717">
                  <c:v>37613</c:v>
                </c:pt>
                <c:pt idx="718">
                  <c:v>37614</c:v>
                </c:pt>
                <c:pt idx="719">
                  <c:v>37615</c:v>
                </c:pt>
                <c:pt idx="720">
                  <c:v>37616</c:v>
                </c:pt>
                <c:pt idx="721">
                  <c:v>37617</c:v>
                </c:pt>
                <c:pt idx="722">
                  <c:v>37620</c:v>
                </c:pt>
                <c:pt idx="723">
                  <c:v>37621</c:v>
                </c:pt>
                <c:pt idx="724">
                  <c:v>37622</c:v>
                </c:pt>
                <c:pt idx="725">
                  <c:v>37623</c:v>
                </c:pt>
                <c:pt idx="726">
                  <c:v>37624</c:v>
                </c:pt>
                <c:pt idx="727">
                  <c:v>37627</c:v>
                </c:pt>
                <c:pt idx="728">
                  <c:v>37628</c:v>
                </c:pt>
                <c:pt idx="729">
                  <c:v>37629</c:v>
                </c:pt>
                <c:pt idx="730">
                  <c:v>37630</c:v>
                </c:pt>
                <c:pt idx="731">
                  <c:v>37631</c:v>
                </c:pt>
                <c:pt idx="732">
                  <c:v>37634</c:v>
                </c:pt>
                <c:pt idx="733">
                  <c:v>37635</c:v>
                </c:pt>
                <c:pt idx="734">
                  <c:v>37636</c:v>
                </c:pt>
                <c:pt idx="735">
                  <c:v>37637</c:v>
                </c:pt>
                <c:pt idx="736">
                  <c:v>37638</c:v>
                </c:pt>
                <c:pt idx="737">
                  <c:v>37641</c:v>
                </c:pt>
                <c:pt idx="738">
                  <c:v>37642</c:v>
                </c:pt>
                <c:pt idx="739">
                  <c:v>37643</c:v>
                </c:pt>
                <c:pt idx="740">
                  <c:v>37644</c:v>
                </c:pt>
                <c:pt idx="741">
                  <c:v>37645</c:v>
                </c:pt>
                <c:pt idx="742">
                  <c:v>37648</c:v>
                </c:pt>
                <c:pt idx="743">
                  <c:v>37649</c:v>
                </c:pt>
                <c:pt idx="744">
                  <c:v>37650</c:v>
                </c:pt>
                <c:pt idx="745">
                  <c:v>37651</c:v>
                </c:pt>
                <c:pt idx="746">
                  <c:v>37652</c:v>
                </c:pt>
                <c:pt idx="747">
                  <c:v>37655</c:v>
                </c:pt>
                <c:pt idx="748">
                  <c:v>37656</c:v>
                </c:pt>
                <c:pt idx="749">
                  <c:v>37657</c:v>
                </c:pt>
                <c:pt idx="750">
                  <c:v>37658</c:v>
                </c:pt>
                <c:pt idx="751">
                  <c:v>37659</c:v>
                </c:pt>
                <c:pt idx="752">
                  <c:v>37662</c:v>
                </c:pt>
                <c:pt idx="753">
                  <c:v>37663</c:v>
                </c:pt>
                <c:pt idx="754">
                  <c:v>37664</c:v>
                </c:pt>
                <c:pt idx="755">
                  <c:v>37665</c:v>
                </c:pt>
                <c:pt idx="756">
                  <c:v>37666</c:v>
                </c:pt>
                <c:pt idx="757">
                  <c:v>37669</c:v>
                </c:pt>
                <c:pt idx="758">
                  <c:v>37670</c:v>
                </c:pt>
                <c:pt idx="759">
                  <c:v>37671</c:v>
                </c:pt>
                <c:pt idx="760">
                  <c:v>37672</c:v>
                </c:pt>
                <c:pt idx="761">
                  <c:v>37673</c:v>
                </c:pt>
                <c:pt idx="762">
                  <c:v>37676</c:v>
                </c:pt>
                <c:pt idx="763">
                  <c:v>37677</c:v>
                </c:pt>
                <c:pt idx="764">
                  <c:v>37678</c:v>
                </c:pt>
                <c:pt idx="765">
                  <c:v>37679</c:v>
                </c:pt>
                <c:pt idx="766">
                  <c:v>37680</c:v>
                </c:pt>
                <c:pt idx="767">
                  <c:v>37683</c:v>
                </c:pt>
                <c:pt idx="768">
                  <c:v>37684</c:v>
                </c:pt>
                <c:pt idx="769">
                  <c:v>37685</c:v>
                </c:pt>
                <c:pt idx="770">
                  <c:v>37686</c:v>
                </c:pt>
                <c:pt idx="771">
                  <c:v>37687</c:v>
                </c:pt>
                <c:pt idx="772">
                  <c:v>37690</c:v>
                </c:pt>
                <c:pt idx="773">
                  <c:v>37691</c:v>
                </c:pt>
                <c:pt idx="774">
                  <c:v>37692</c:v>
                </c:pt>
                <c:pt idx="775">
                  <c:v>37693</c:v>
                </c:pt>
                <c:pt idx="776">
                  <c:v>37694</c:v>
                </c:pt>
                <c:pt idx="777">
                  <c:v>37697</c:v>
                </c:pt>
                <c:pt idx="778">
                  <c:v>37698</c:v>
                </c:pt>
                <c:pt idx="779">
                  <c:v>37699</c:v>
                </c:pt>
                <c:pt idx="780">
                  <c:v>37700</c:v>
                </c:pt>
                <c:pt idx="781">
                  <c:v>37701</c:v>
                </c:pt>
                <c:pt idx="782">
                  <c:v>37704</c:v>
                </c:pt>
                <c:pt idx="783">
                  <c:v>37705</c:v>
                </c:pt>
                <c:pt idx="784">
                  <c:v>37706</c:v>
                </c:pt>
                <c:pt idx="785">
                  <c:v>37707</c:v>
                </c:pt>
                <c:pt idx="786">
                  <c:v>37708</c:v>
                </c:pt>
                <c:pt idx="787">
                  <c:v>37711</c:v>
                </c:pt>
                <c:pt idx="788">
                  <c:v>37712</c:v>
                </c:pt>
                <c:pt idx="789">
                  <c:v>37713</c:v>
                </c:pt>
                <c:pt idx="790">
                  <c:v>37714</c:v>
                </c:pt>
                <c:pt idx="791">
                  <c:v>37715</c:v>
                </c:pt>
                <c:pt idx="792">
                  <c:v>37718</c:v>
                </c:pt>
                <c:pt idx="793">
                  <c:v>37719</c:v>
                </c:pt>
                <c:pt idx="794">
                  <c:v>37720</c:v>
                </c:pt>
                <c:pt idx="795">
                  <c:v>37721</c:v>
                </c:pt>
                <c:pt idx="796">
                  <c:v>37722</c:v>
                </c:pt>
                <c:pt idx="797">
                  <c:v>37725</c:v>
                </c:pt>
                <c:pt idx="798">
                  <c:v>37726</c:v>
                </c:pt>
                <c:pt idx="799">
                  <c:v>37727</c:v>
                </c:pt>
                <c:pt idx="800">
                  <c:v>37728</c:v>
                </c:pt>
                <c:pt idx="801">
                  <c:v>37729</c:v>
                </c:pt>
                <c:pt idx="802">
                  <c:v>37732</c:v>
                </c:pt>
                <c:pt idx="803">
                  <c:v>37733</c:v>
                </c:pt>
                <c:pt idx="804">
                  <c:v>37734</c:v>
                </c:pt>
                <c:pt idx="805">
                  <c:v>37735</c:v>
                </c:pt>
                <c:pt idx="806">
                  <c:v>37736</c:v>
                </c:pt>
                <c:pt idx="807">
                  <c:v>37739</c:v>
                </c:pt>
                <c:pt idx="808">
                  <c:v>37740</c:v>
                </c:pt>
                <c:pt idx="809">
                  <c:v>37741</c:v>
                </c:pt>
                <c:pt idx="810">
                  <c:v>37742</c:v>
                </c:pt>
                <c:pt idx="811">
                  <c:v>37743</c:v>
                </c:pt>
                <c:pt idx="812">
                  <c:v>37746</c:v>
                </c:pt>
                <c:pt idx="813">
                  <c:v>37747</c:v>
                </c:pt>
                <c:pt idx="814">
                  <c:v>37748</c:v>
                </c:pt>
                <c:pt idx="815">
                  <c:v>37749</c:v>
                </c:pt>
                <c:pt idx="816">
                  <c:v>37750</c:v>
                </c:pt>
                <c:pt idx="817">
                  <c:v>37753</c:v>
                </c:pt>
                <c:pt idx="818">
                  <c:v>37754</c:v>
                </c:pt>
                <c:pt idx="819">
                  <c:v>37755</c:v>
                </c:pt>
                <c:pt idx="820">
                  <c:v>37756</c:v>
                </c:pt>
                <c:pt idx="821">
                  <c:v>37757</c:v>
                </c:pt>
                <c:pt idx="822">
                  <c:v>37760</c:v>
                </c:pt>
                <c:pt idx="823">
                  <c:v>37761</c:v>
                </c:pt>
                <c:pt idx="824">
                  <c:v>37762</c:v>
                </c:pt>
                <c:pt idx="825">
                  <c:v>37763</c:v>
                </c:pt>
                <c:pt idx="826">
                  <c:v>37764</c:v>
                </c:pt>
                <c:pt idx="827">
                  <c:v>37767</c:v>
                </c:pt>
                <c:pt idx="828">
                  <c:v>37768</c:v>
                </c:pt>
                <c:pt idx="829">
                  <c:v>37769</c:v>
                </c:pt>
                <c:pt idx="830">
                  <c:v>37770</c:v>
                </c:pt>
                <c:pt idx="831">
                  <c:v>37771</c:v>
                </c:pt>
                <c:pt idx="832">
                  <c:v>37774</c:v>
                </c:pt>
                <c:pt idx="833">
                  <c:v>37775</c:v>
                </c:pt>
                <c:pt idx="834">
                  <c:v>37776</c:v>
                </c:pt>
                <c:pt idx="835">
                  <c:v>37777</c:v>
                </c:pt>
                <c:pt idx="836">
                  <c:v>37778</c:v>
                </c:pt>
                <c:pt idx="837">
                  <c:v>37781</c:v>
                </c:pt>
                <c:pt idx="838">
                  <c:v>37782</c:v>
                </c:pt>
                <c:pt idx="839">
                  <c:v>37783</c:v>
                </c:pt>
                <c:pt idx="840">
                  <c:v>37784</c:v>
                </c:pt>
                <c:pt idx="841">
                  <c:v>37785</c:v>
                </c:pt>
                <c:pt idx="842">
                  <c:v>37788</c:v>
                </c:pt>
                <c:pt idx="843">
                  <c:v>37789</c:v>
                </c:pt>
                <c:pt idx="844">
                  <c:v>37790</c:v>
                </c:pt>
                <c:pt idx="845">
                  <c:v>37791</c:v>
                </c:pt>
                <c:pt idx="846">
                  <c:v>37792</c:v>
                </c:pt>
                <c:pt idx="847">
                  <c:v>37795</c:v>
                </c:pt>
                <c:pt idx="848">
                  <c:v>37796</c:v>
                </c:pt>
                <c:pt idx="849">
                  <c:v>37797</c:v>
                </c:pt>
                <c:pt idx="850">
                  <c:v>37798</c:v>
                </c:pt>
                <c:pt idx="851">
                  <c:v>37799</c:v>
                </c:pt>
                <c:pt idx="852">
                  <c:v>37802</c:v>
                </c:pt>
                <c:pt idx="853">
                  <c:v>37803</c:v>
                </c:pt>
                <c:pt idx="854">
                  <c:v>37804</c:v>
                </c:pt>
                <c:pt idx="855">
                  <c:v>37805</c:v>
                </c:pt>
                <c:pt idx="856">
                  <c:v>37806</c:v>
                </c:pt>
                <c:pt idx="857">
                  <c:v>37809</c:v>
                </c:pt>
                <c:pt idx="858">
                  <c:v>37810</c:v>
                </c:pt>
                <c:pt idx="859">
                  <c:v>37811</c:v>
                </c:pt>
                <c:pt idx="860">
                  <c:v>37812</c:v>
                </c:pt>
                <c:pt idx="861">
                  <c:v>37813</c:v>
                </c:pt>
                <c:pt idx="862">
                  <c:v>37816</c:v>
                </c:pt>
                <c:pt idx="863">
                  <c:v>37817</c:v>
                </c:pt>
                <c:pt idx="864">
                  <c:v>37818</c:v>
                </c:pt>
                <c:pt idx="865">
                  <c:v>37819</c:v>
                </c:pt>
                <c:pt idx="866">
                  <c:v>37820</c:v>
                </c:pt>
                <c:pt idx="867">
                  <c:v>37823</c:v>
                </c:pt>
                <c:pt idx="868">
                  <c:v>37824</c:v>
                </c:pt>
                <c:pt idx="869">
                  <c:v>37825</c:v>
                </c:pt>
                <c:pt idx="870">
                  <c:v>37826</c:v>
                </c:pt>
                <c:pt idx="871">
                  <c:v>37827</c:v>
                </c:pt>
                <c:pt idx="872">
                  <c:v>37830</c:v>
                </c:pt>
                <c:pt idx="873">
                  <c:v>37831</c:v>
                </c:pt>
                <c:pt idx="874">
                  <c:v>37832</c:v>
                </c:pt>
                <c:pt idx="875">
                  <c:v>37833</c:v>
                </c:pt>
                <c:pt idx="876">
                  <c:v>37834</c:v>
                </c:pt>
                <c:pt idx="877">
                  <c:v>37837</c:v>
                </c:pt>
                <c:pt idx="878">
                  <c:v>37838</c:v>
                </c:pt>
                <c:pt idx="879">
                  <c:v>37839</c:v>
                </c:pt>
                <c:pt idx="880">
                  <c:v>37840</c:v>
                </c:pt>
                <c:pt idx="881">
                  <c:v>37841</c:v>
                </c:pt>
                <c:pt idx="882">
                  <c:v>37844</c:v>
                </c:pt>
                <c:pt idx="883">
                  <c:v>37845</c:v>
                </c:pt>
                <c:pt idx="884">
                  <c:v>37846</c:v>
                </c:pt>
                <c:pt idx="885">
                  <c:v>37847</c:v>
                </c:pt>
                <c:pt idx="886">
                  <c:v>37848</c:v>
                </c:pt>
                <c:pt idx="887">
                  <c:v>37851</c:v>
                </c:pt>
                <c:pt idx="888">
                  <c:v>37852</c:v>
                </c:pt>
                <c:pt idx="889">
                  <c:v>37853</c:v>
                </c:pt>
                <c:pt idx="890">
                  <c:v>37854</c:v>
                </c:pt>
                <c:pt idx="891">
                  <c:v>37855</c:v>
                </c:pt>
                <c:pt idx="892">
                  <c:v>37858</c:v>
                </c:pt>
                <c:pt idx="893">
                  <c:v>37859</c:v>
                </c:pt>
                <c:pt idx="894">
                  <c:v>37860</c:v>
                </c:pt>
                <c:pt idx="895">
                  <c:v>37861</c:v>
                </c:pt>
                <c:pt idx="896">
                  <c:v>37862</c:v>
                </c:pt>
                <c:pt idx="897">
                  <c:v>37865</c:v>
                </c:pt>
                <c:pt idx="898">
                  <c:v>37866</c:v>
                </c:pt>
                <c:pt idx="899">
                  <c:v>37867</c:v>
                </c:pt>
                <c:pt idx="900">
                  <c:v>37868</c:v>
                </c:pt>
                <c:pt idx="901">
                  <c:v>37869</c:v>
                </c:pt>
                <c:pt idx="902">
                  <c:v>37872</c:v>
                </c:pt>
                <c:pt idx="903">
                  <c:v>37873</c:v>
                </c:pt>
                <c:pt idx="904">
                  <c:v>37874</c:v>
                </c:pt>
                <c:pt idx="905">
                  <c:v>37875</c:v>
                </c:pt>
                <c:pt idx="906">
                  <c:v>37876</c:v>
                </c:pt>
                <c:pt idx="907">
                  <c:v>37879</c:v>
                </c:pt>
                <c:pt idx="908">
                  <c:v>37880</c:v>
                </c:pt>
                <c:pt idx="909">
                  <c:v>37881</c:v>
                </c:pt>
                <c:pt idx="910">
                  <c:v>37882</c:v>
                </c:pt>
                <c:pt idx="911">
                  <c:v>37883</c:v>
                </c:pt>
                <c:pt idx="912">
                  <c:v>37886</c:v>
                </c:pt>
                <c:pt idx="913">
                  <c:v>37887</c:v>
                </c:pt>
                <c:pt idx="914">
                  <c:v>37888</c:v>
                </c:pt>
                <c:pt idx="915">
                  <c:v>37889</c:v>
                </c:pt>
                <c:pt idx="916">
                  <c:v>37890</c:v>
                </c:pt>
                <c:pt idx="917">
                  <c:v>37893</c:v>
                </c:pt>
                <c:pt idx="918">
                  <c:v>37894</c:v>
                </c:pt>
                <c:pt idx="919">
                  <c:v>37895</c:v>
                </c:pt>
                <c:pt idx="920">
                  <c:v>37896</c:v>
                </c:pt>
                <c:pt idx="921">
                  <c:v>37897</c:v>
                </c:pt>
                <c:pt idx="922">
                  <c:v>37900</c:v>
                </c:pt>
                <c:pt idx="923">
                  <c:v>37901</c:v>
                </c:pt>
                <c:pt idx="924">
                  <c:v>37902</c:v>
                </c:pt>
                <c:pt idx="925">
                  <c:v>37903</c:v>
                </c:pt>
                <c:pt idx="926">
                  <c:v>37904</c:v>
                </c:pt>
                <c:pt idx="927">
                  <c:v>37907</c:v>
                </c:pt>
                <c:pt idx="928">
                  <c:v>37908</c:v>
                </c:pt>
                <c:pt idx="929">
                  <c:v>37909</c:v>
                </c:pt>
                <c:pt idx="930">
                  <c:v>37910</c:v>
                </c:pt>
                <c:pt idx="931">
                  <c:v>37911</c:v>
                </c:pt>
                <c:pt idx="932">
                  <c:v>37914</c:v>
                </c:pt>
                <c:pt idx="933">
                  <c:v>37915</c:v>
                </c:pt>
                <c:pt idx="934">
                  <c:v>37916</c:v>
                </c:pt>
                <c:pt idx="935">
                  <c:v>37917</c:v>
                </c:pt>
                <c:pt idx="936">
                  <c:v>37918</c:v>
                </c:pt>
                <c:pt idx="937">
                  <c:v>37921</c:v>
                </c:pt>
                <c:pt idx="938">
                  <c:v>37922</c:v>
                </c:pt>
                <c:pt idx="939">
                  <c:v>37923</c:v>
                </c:pt>
                <c:pt idx="940">
                  <c:v>37924</c:v>
                </c:pt>
                <c:pt idx="941">
                  <c:v>37925</c:v>
                </c:pt>
                <c:pt idx="942">
                  <c:v>37928</c:v>
                </c:pt>
                <c:pt idx="943">
                  <c:v>37929</c:v>
                </c:pt>
                <c:pt idx="944">
                  <c:v>37930</c:v>
                </c:pt>
                <c:pt idx="945">
                  <c:v>37931</c:v>
                </c:pt>
                <c:pt idx="946">
                  <c:v>37932</c:v>
                </c:pt>
                <c:pt idx="947">
                  <c:v>37935</c:v>
                </c:pt>
                <c:pt idx="948">
                  <c:v>37936</c:v>
                </c:pt>
                <c:pt idx="949">
                  <c:v>37937</c:v>
                </c:pt>
                <c:pt idx="950">
                  <c:v>37938</c:v>
                </c:pt>
                <c:pt idx="951">
                  <c:v>37939</c:v>
                </c:pt>
                <c:pt idx="952">
                  <c:v>37942</c:v>
                </c:pt>
                <c:pt idx="953">
                  <c:v>37943</c:v>
                </c:pt>
                <c:pt idx="954">
                  <c:v>37944</c:v>
                </c:pt>
                <c:pt idx="955">
                  <c:v>37945</c:v>
                </c:pt>
                <c:pt idx="956">
                  <c:v>37946</c:v>
                </c:pt>
                <c:pt idx="957">
                  <c:v>37949</c:v>
                </c:pt>
                <c:pt idx="958">
                  <c:v>37950</c:v>
                </c:pt>
                <c:pt idx="959">
                  <c:v>37951</c:v>
                </c:pt>
                <c:pt idx="960">
                  <c:v>37952</c:v>
                </c:pt>
                <c:pt idx="961">
                  <c:v>37953</c:v>
                </c:pt>
                <c:pt idx="962">
                  <c:v>37956</c:v>
                </c:pt>
                <c:pt idx="963">
                  <c:v>37957</c:v>
                </c:pt>
                <c:pt idx="964">
                  <c:v>37958</c:v>
                </c:pt>
                <c:pt idx="965">
                  <c:v>37959</c:v>
                </c:pt>
                <c:pt idx="966">
                  <c:v>37960</c:v>
                </c:pt>
                <c:pt idx="967">
                  <c:v>37963</c:v>
                </c:pt>
                <c:pt idx="968">
                  <c:v>37964</c:v>
                </c:pt>
                <c:pt idx="969">
                  <c:v>37965</c:v>
                </c:pt>
                <c:pt idx="970">
                  <c:v>37966</c:v>
                </c:pt>
                <c:pt idx="971">
                  <c:v>37967</c:v>
                </c:pt>
                <c:pt idx="972">
                  <c:v>37970</c:v>
                </c:pt>
                <c:pt idx="973">
                  <c:v>37971</c:v>
                </c:pt>
                <c:pt idx="974">
                  <c:v>37972</c:v>
                </c:pt>
                <c:pt idx="975">
                  <c:v>37973</c:v>
                </c:pt>
                <c:pt idx="976">
                  <c:v>37974</c:v>
                </c:pt>
                <c:pt idx="977">
                  <c:v>37977</c:v>
                </c:pt>
                <c:pt idx="978">
                  <c:v>37978</c:v>
                </c:pt>
                <c:pt idx="979">
                  <c:v>37979</c:v>
                </c:pt>
                <c:pt idx="980">
                  <c:v>37984</c:v>
                </c:pt>
                <c:pt idx="981">
                  <c:v>37985</c:v>
                </c:pt>
                <c:pt idx="982">
                  <c:v>37986</c:v>
                </c:pt>
                <c:pt idx="983">
                  <c:v>37987</c:v>
                </c:pt>
                <c:pt idx="984">
                  <c:v>37988</c:v>
                </c:pt>
                <c:pt idx="985">
                  <c:v>37991</c:v>
                </c:pt>
                <c:pt idx="986">
                  <c:v>37992</c:v>
                </c:pt>
                <c:pt idx="987">
                  <c:v>37993</c:v>
                </c:pt>
                <c:pt idx="988">
                  <c:v>37994</c:v>
                </c:pt>
                <c:pt idx="989">
                  <c:v>37995</c:v>
                </c:pt>
                <c:pt idx="990">
                  <c:v>37998</c:v>
                </c:pt>
                <c:pt idx="991">
                  <c:v>37999</c:v>
                </c:pt>
                <c:pt idx="992">
                  <c:v>38000</c:v>
                </c:pt>
                <c:pt idx="993">
                  <c:v>38001</c:v>
                </c:pt>
                <c:pt idx="994">
                  <c:v>38002</c:v>
                </c:pt>
                <c:pt idx="995">
                  <c:v>38005</c:v>
                </c:pt>
                <c:pt idx="996">
                  <c:v>38006</c:v>
                </c:pt>
                <c:pt idx="997">
                  <c:v>38007</c:v>
                </c:pt>
                <c:pt idx="998">
                  <c:v>38008</c:v>
                </c:pt>
                <c:pt idx="999">
                  <c:v>38009</c:v>
                </c:pt>
                <c:pt idx="1000">
                  <c:v>38012</c:v>
                </c:pt>
                <c:pt idx="1001">
                  <c:v>38013</c:v>
                </c:pt>
                <c:pt idx="1002">
                  <c:v>38014</c:v>
                </c:pt>
                <c:pt idx="1003">
                  <c:v>38015</c:v>
                </c:pt>
                <c:pt idx="1004">
                  <c:v>38016</c:v>
                </c:pt>
                <c:pt idx="1005">
                  <c:v>38019</c:v>
                </c:pt>
                <c:pt idx="1006">
                  <c:v>38020</c:v>
                </c:pt>
                <c:pt idx="1007">
                  <c:v>38021</c:v>
                </c:pt>
                <c:pt idx="1008">
                  <c:v>38022</c:v>
                </c:pt>
                <c:pt idx="1009">
                  <c:v>38023</c:v>
                </c:pt>
                <c:pt idx="1010">
                  <c:v>38026</c:v>
                </c:pt>
                <c:pt idx="1011">
                  <c:v>38027</c:v>
                </c:pt>
                <c:pt idx="1012">
                  <c:v>38028</c:v>
                </c:pt>
                <c:pt idx="1013">
                  <c:v>38029</c:v>
                </c:pt>
                <c:pt idx="1014">
                  <c:v>38030</c:v>
                </c:pt>
                <c:pt idx="1015">
                  <c:v>38033</c:v>
                </c:pt>
                <c:pt idx="1016">
                  <c:v>38034</c:v>
                </c:pt>
                <c:pt idx="1017">
                  <c:v>38035</c:v>
                </c:pt>
                <c:pt idx="1018">
                  <c:v>38036</c:v>
                </c:pt>
                <c:pt idx="1019">
                  <c:v>38037</c:v>
                </c:pt>
                <c:pt idx="1020">
                  <c:v>38040</c:v>
                </c:pt>
                <c:pt idx="1021">
                  <c:v>38041</c:v>
                </c:pt>
                <c:pt idx="1022">
                  <c:v>38042</c:v>
                </c:pt>
                <c:pt idx="1023">
                  <c:v>38043</c:v>
                </c:pt>
                <c:pt idx="1024">
                  <c:v>38044</c:v>
                </c:pt>
                <c:pt idx="1025">
                  <c:v>38047</c:v>
                </c:pt>
                <c:pt idx="1026">
                  <c:v>38048</c:v>
                </c:pt>
                <c:pt idx="1027">
                  <c:v>38049</c:v>
                </c:pt>
                <c:pt idx="1028">
                  <c:v>38050</c:v>
                </c:pt>
                <c:pt idx="1029">
                  <c:v>38051</c:v>
                </c:pt>
                <c:pt idx="1030">
                  <c:v>38054</c:v>
                </c:pt>
                <c:pt idx="1031">
                  <c:v>38055</c:v>
                </c:pt>
                <c:pt idx="1032">
                  <c:v>38056</c:v>
                </c:pt>
                <c:pt idx="1033">
                  <c:v>38057</c:v>
                </c:pt>
                <c:pt idx="1034">
                  <c:v>38058</c:v>
                </c:pt>
                <c:pt idx="1035">
                  <c:v>38061</c:v>
                </c:pt>
                <c:pt idx="1036">
                  <c:v>38062</c:v>
                </c:pt>
                <c:pt idx="1037">
                  <c:v>38063</c:v>
                </c:pt>
                <c:pt idx="1038">
                  <c:v>38064</c:v>
                </c:pt>
                <c:pt idx="1039">
                  <c:v>38065</c:v>
                </c:pt>
                <c:pt idx="1040">
                  <c:v>38068</c:v>
                </c:pt>
                <c:pt idx="1041">
                  <c:v>38069</c:v>
                </c:pt>
                <c:pt idx="1042">
                  <c:v>38070</c:v>
                </c:pt>
                <c:pt idx="1043">
                  <c:v>38071</c:v>
                </c:pt>
                <c:pt idx="1044">
                  <c:v>38072</c:v>
                </c:pt>
                <c:pt idx="1045">
                  <c:v>38075</c:v>
                </c:pt>
                <c:pt idx="1046">
                  <c:v>38076</c:v>
                </c:pt>
                <c:pt idx="1047">
                  <c:v>38077</c:v>
                </c:pt>
                <c:pt idx="1048">
                  <c:v>38078</c:v>
                </c:pt>
                <c:pt idx="1049">
                  <c:v>38079</c:v>
                </c:pt>
                <c:pt idx="1050">
                  <c:v>38082</c:v>
                </c:pt>
                <c:pt idx="1051">
                  <c:v>38083</c:v>
                </c:pt>
                <c:pt idx="1052">
                  <c:v>38084</c:v>
                </c:pt>
                <c:pt idx="1053">
                  <c:v>38085</c:v>
                </c:pt>
                <c:pt idx="1054">
                  <c:v>38090</c:v>
                </c:pt>
                <c:pt idx="1055">
                  <c:v>38091</c:v>
                </c:pt>
                <c:pt idx="1056">
                  <c:v>38092</c:v>
                </c:pt>
                <c:pt idx="1057">
                  <c:v>38093</c:v>
                </c:pt>
                <c:pt idx="1058">
                  <c:v>38096</c:v>
                </c:pt>
                <c:pt idx="1059">
                  <c:v>38097</c:v>
                </c:pt>
                <c:pt idx="1060">
                  <c:v>38098</c:v>
                </c:pt>
                <c:pt idx="1061">
                  <c:v>38099</c:v>
                </c:pt>
                <c:pt idx="1062">
                  <c:v>38100</c:v>
                </c:pt>
                <c:pt idx="1063">
                  <c:v>38103</c:v>
                </c:pt>
                <c:pt idx="1064">
                  <c:v>38104</c:v>
                </c:pt>
                <c:pt idx="1065">
                  <c:v>38105</c:v>
                </c:pt>
                <c:pt idx="1066">
                  <c:v>38106</c:v>
                </c:pt>
                <c:pt idx="1067">
                  <c:v>38107</c:v>
                </c:pt>
                <c:pt idx="1068">
                  <c:v>38110</c:v>
                </c:pt>
                <c:pt idx="1069">
                  <c:v>38111</c:v>
                </c:pt>
                <c:pt idx="1070">
                  <c:v>38112</c:v>
                </c:pt>
                <c:pt idx="1071">
                  <c:v>38113</c:v>
                </c:pt>
                <c:pt idx="1072">
                  <c:v>38114</c:v>
                </c:pt>
                <c:pt idx="1073">
                  <c:v>38117</c:v>
                </c:pt>
                <c:pt idx="1074">
                  <c:v>38118</c:v>
                </c:pt>
                <c:pt idx="1075">
                  <c:v>38119</c:v>
                </c:pt>
                <c:pt idx="1076">
                  <c:v>38120</c:v>
                </c:pt>
                <c:pt idx="1077">
                  <c:v>38121</c:v>
                </c:pt>
                <c:pt idx="1078">
                  <c:v>38124</c:v>
                </c:pt>
                <c:pt idx="1079">
                  <c:v>38125</c:v>
                </c:pt>
                <c:pt idx="1080">
                  <c:v>38126</c:v>
                </c:pt>
                <c:pt idx="1081">
                  <c:v>38127</c:v>
                </c:pt>
                <c:pt idx="1082">
                  <c:v>38128</c:v>
                </c:pt>
                <c:pt idx="1083">
                  <c:v>38131</c:v>
                </c:pt>
                <c:pt idx="1084">
                  <c:v>38132</c:v>
                </c:pt>
                <c:pt idx="1085">
                  <c:v>38133</c:v>
                </c:pt>
                <c:pt idx="1086">
                  <c:v>38134</c:v>
                </c:pt>
                <c:pt idx="1087">
                  <c:v>38135</c:v>
                </c:pt>
                <c:pt idx="1088">
                  <c:v>38138</c:v>
                </c:pt>
                <c:pt idx="1089">
                  <c:v>38139</c:v>
                </c:pt>
                <c:pt idx="1090">
                  <c:v>38140</c:v>
                </c:pt>
                <c:pt idx="1091">
                  <c:v>38141</c:v>
                </c:pt>
                <c:pt idx="1092">
                  <c:v>38142</c:v>
                </c:pt>
                <c:pt idx="1093">
                  <c:v>38145</c:v>
                </c:pt>
                <c:pt idx="1094">
                  <c:v>38146</c:v>
                </c:pt>
                <c:pt idx="1095">
                  <c:v>38147</c:v>
                </c:pt>
                <c:pt idx="1096">
                  <c:v>38148</c:v>
                </c:pt>
                <c:pt idx="1097">
                  <c:v>38149</c:v>
                </c:pt>
                <c:pt idx="1098">
                  <c:v>38152</c:v>
                </c:pt>
                <c:pt idx="1099">
                  <c:v>38153</c:v>
                </c:pt>
                <c:pt idx="1100">
                  <c:v>38154</c:v>
                </c:pt>
                <c:pt idx="1101">
                  <c:v>38155</c:v>
                </c:pt>
                <c:pt idx="1102">
                  <c:v>38156</c:v>
                </c:pt>
                <c:pt idx="1103">
                  <c:v>38159</c:v>
                </c:pt>
                <c:pt idx="1104">
                  <c:v>38160</c:v>
                </c:pt>
                <c:pt idx="1105">
                  <c:v>38161</c:v>
                </c:pt>
                <c:pt idx="1106">
                  <c:v>38162</c:v>
                </c:pt>
                <c:pt idx="1107">
                  <c:v>38163</c:v>
                </c:pt>
                <c:pt idx="1108">
                  <c:v>38166</c:v>
                </c:pt>
                <c:pt idx="1109">
                  <c:v>38167</c:v>
                </c:pt>
                <c:pt idx="1110">
                  <c:v>38168</c:v>
                </c:pt>
                <c:pt idx="1111">
                  <c:v>38169</c:v>
                </c:pt>
                <c:pt idx="1112">
                  <c:v>38170</c:v>
                </c:pt>
                <c:pt idx="1113">
                  <c:v>38173</c:v>
                </c:pt>
                <c:pt idx="1114">
                  <c:v>38174</c:v>
                </c:pt>
                <c:pt idx="1115">
                  <c:v>38175</c:v>
                </c:pt>
                <c:pt idx="1116">
                  <c:v>38176</c:v>
                </c:pt>
                <c:pt idx="1117">
                  <c:v>38177</c:v>
                </c:pt>
                <c:pt idx="1118">
                  <c:v>38180</c:v>
                </c:pt>
                <c:pt idx="1119">
                  <c:v>38181</c:v>
                </c:pt>
                <c:pt idx="1120">
                  <c:v>38182</c:v>
                </c:pt>
                <c:pt idx="1121">
                  <c:v>38183</c:v>
                </c:pt>
                <c:pt idx="1122">
                  <c:v>38184</c:v>
                </c:pt>
                <c:pt idx="1123">
                  <c:v>38187</c:v>
                </c:pt>
                <c:pt idx="1124">
                  <c:v>38188</c:v>
                </c:pt>
                <c:pt idx="1125">
                  <c:v>38189</c:v>
                </c:pt>
                <c:pt idx="1126">
                  <c:v>38190</c:v>
                </c:pt>
                <c:pt idx="1127">
                  <c:v>38191</c:v>
                </c:pt>
                <c:pt idx="1128">
                  <c:v>38194</c:v>
                </c:pt>
                <c:pt idx="1129">
                  <c:v>38195</c:v>
                </c:pt>
                <c:pt idx="1130">
                  <c:v>38196</c:v>
                </c:pt>
                <c:pt idx="1131">
                  <c:v>38197</c:v>
                </c:pt>
                <c:pt idx="1132">
                  <c:v>38198</c:v>
                </c:pt>
                <c:pt idx="1133">
                  <c:v>38201</c:v>
                </c:pt>
                <c:pt idx="1134">
                  <c:v>38202</c:v>
                </c:pt>
                <c:pt idx="1135">
                  <c:v>38203</c:v>
                </c:pt>
                <c:pt idx="1136">
                  <c:v>38204</c:v>
                </c:pt>
                <c:pt idx="1137">
                  <c:v>38205</c:v>
                </c:pt>
                <c:pt idx="1138">
                  <c:v>38208</c:v>
                </c:pt>
                <c:pt idx="1139">
                  <c:v>38209</c:v>
                </c:pt>
                <c:pt idx="1140">
                  <c:v>38210</c:v>
                </c:pt>
                <c:pt idx="1141">
                  <c:v>38211</c:v>
                </c:pt>
                <c:pt idx="1142">
                  <c:v>38212</c:v>
                </c:pt>
                <c:pt idx="1143">
                  <c:v>38215</c:v>
                </c:pt>
                <c:pt idx="1144">
                  <c:v>38216</c:v>
                </c:pt>
                <c:pt idx="1145">
                  <c:v>38217</c:v>
                </c:pt>
                <c:pt idx="1146">
                  <c:v>38218</c:v>
                </c:pt>
                <c:pt idx="1147">
                  <c:v>38219</c:v>
                </c:pt>
                <c:pt idx="1148">
                  <c:v>38222</c:v>
                </c:pt>
                <c:pt idx="1149">
                  <c:v>38223</c:v>
                </c:pt>
                <c:pt idx="1150">
                  <c:v>38224</c:v>
                </c:pt>
                <c:pt idx="1151">
                  <c:v>38225</c:v>
                </c:pt>
                <c:pt idx="1152">
                  <c:v>38226</c:v>
                </c:pt>
                <c:pt idx="1153">
                  <c:v>38229</c:v>
                </c:pt>
                <c:pt idx="1154">
                  <c:v>38230</c:v>
                </c:pt>
                <c:pt idx="1155">
                  <c:v>38231</c:v>
                </c:pt>
                <c:pt idx="1156">
                  <c:v>38232</c:v>
                </c:pt>
                <c:pt idx="1157">
                  <c:v>38233</c:v>
                </c:pt>
                <c:pt idx="1158">
                  <c:v>38236</c:v>
                </c:pt>
                <c:pt idx="1159">
                  <c:v>38237</c:v>
                </c:pt>
                <c:pt idx="1160">
                  <c:v>38238</c:v>
                </c:pt>
                <c:pt idx="1161">
                  <c:v>38239</c:v>
                </c:pt>
                <c:pt idx="1162">
                  <c:v>38240</c:v>
                </c:pt>
                <c:pt idx="1163">
                  <c:v>38243</c:v>
                </c:pt>
                <c:pt idx="1164">
                  <c:v>38244</c:v>
                </c:pt>
                <c:pt idx="1165">
                  <c:v>38245</c:v>
                </c:pt>
                <c:pt idx="1166">
                  <c:v>38246</c:v>
                </c:pt>
                <c:pt idx="1167">
                  <c:v>38247</c:v>
                </c:pt>
                <c:pt idx="1168">
                  <c:v>38250</c:v>
                </c:pt>
                <c:pt idx="1169">
                  <c:v>38251</c:v>
                </c:pt>
                <c:pt idx="1170">
                  <c:v>38252</c:v>
                </c:pt>
                <c:pt idx="1171">
                  <c:v>38253</c:v>
                </c:pt>
                <c:pt idx="1172">
                  <c:v>38254</c:v>
                </c:pt>
                <c:pt idx="1173">
                  <c:v>38257</c:v>
                </c:pt>
                <c:pt idx="1174">
                  <c:v>38258</c:v>
                </c:pt>
                <c:pt idx="1175">
                  <c:v>38259</c:v>
                </c:pt>
                <c:pt idx="1176">
                  <c:v>38260</c:v>
                </c:pt>
                <c:pt idx="1177">
                  <c:v>38261</c:v>
                </c:pt>
                <c:pt idx="1178">
                  <c:v>38264</c:v>
                </c:pt>
                <c:pt idx="1179">
                  <c:v>38265</c:v>
                </c:pt>
                <c:pt idx="1180">
                  <c:v>38266</c:v>
                </c:pt>
                <c:pt idx="1181">
                  <c:v>38267</c:v>
                </c:pt>
                <c:pt idx="1182">
                  <c:v>38268</c:v>
                </c:pt>
                <c:pt idx="1183">
                  <c:v>38271</c:v>
                </c:pt>
                <c:pt idx="1184">
                  <c:v>38272</c:v>
                </c:pt>
                <c:pt idx="1185">
                  <c:v>38273</c:v>
                </c:pt>
                <c:pt idx="1186">
                  <c:v>38274</c:v>
                </c:pt>
                <c:pt idx="1187">
                  <c:v>38275</c:v>
                </c:pt>
                <c:pt idx="1188">
                  <c:v>38278</c:v>
                </c:pt>
                <c:pt idx="1189">
                  <c:v>38279</c:v>
                </c:pt>
                <c:pt idx="1190">
                  <c:v>38280</c:v>
                </c:pt>
                <c:pt idx="1191">
                  <c:v>38281</c:v>
                </c:pt>
                <c:pt idx="1192">
                  <c:v>38282</c:v>
                </c:pt>
                <c:pt idx="1193">
                  <c:v>38285</c:v>
                </c:pt>
                <c:pt idx="1194">
                  <c:v>38286</c:v>
                </c:pt>
                <c:pt idx="1195">
                  <c:v>38287</c:v>
                </c:pt>
                <c:pt idx="1196">
                  <c:v>38288</c:v>
                </c:pt>
                <c:pt idx="1197">
                  <c:v>38289</c:v>
                </c:pt>
                <c:pt idx="1198">
                  <c:v>38292</c:v>
                </c:pt>
                <c:pt idx="1199">
                  <c:v>38293</c:v>
                </c:pt>
                <c:pt idx="1200">
                  <c:v>38294</c:v>
                </c:pt>
                <c:pt idx="1201">
                  <c:v>38295</c:v>
                </c:pt>
                <c:pt idx="1202">
                  <c:v>38296</c:v>
                </c:pt>
                <c:pt idx="1203">
                  <c:v>38299</c:v>
                </c:pt>
                <c:pt idx="1204">
                  <c:v>38300</c:v>
                </c:pt>
                <c:pt idx="1205">
                  <c:v>38301</c:v>
                </c:pt>
                <c:pt idx="1206">
                  <c:v>38302</c:v>
                </c:pt>
                <c:pt idx="1207">
                  <c:v>38303</c:v>
                </c:pt>
                <c:pt idx="1208">
                  <c:v>38306</c:v>
                </c:pt>
                <c:pt idx="1209">
                  <c:v>38307</c:v>
                </c:pt>
                <c:pt idx="1210">
                  <c:v>38308</c:v>
                </c:pt>
                <c:pt idx="1211">
                  <c:v>38309</c:v>
                </c:pt>
                <c:pt idx="1212">
                  <c:v>38310</c:v>
                </c:pt>
                <c:pt idx="1213">
                  <c:v>38313</c:v>
                </c:pt>
                <c:pt idx="1214">
                  <c:v>38314</c:v>
                </c:pt>
                <c:pt idx="1215">
                  <c:v>38315</c:v>
                </c:pt>
                <c:pt idx="1216">
                  <c:v>38316</c:v>
                </c:pt>
                <c:pt idx="1217">
                  <c:v>38317</c:v>
                </c:pt>
                <c:pt idx="1218">
                  <c:v>38320</c:v>
                </c:pt>
                <c:pt idx="1219">
                  <c:v>38321</c:v>
                </c:pt>
                <c:pt idx="1220">
                  <c:v>38322</c:v>
                </c:pt>
                <c:pt idx="1221">
                  <c:v>38323</c:v>
                </c:pt>
                <c:pt idx="1222">
                  <c:v>38324</c:v>
                </c:pt>
                <c:pt idx="1223">
                  <c:v>38327</c:v>
                </c:pt>
                <c:pt idx="1224">
                  <c:v>38328</c:v>
                </c:pt>
                <c:pt idx="1225">
                  <c:v>38329</c:v>
                </c:pt>
                <c:pt idx="1226">
                  <c:v>38330</c:v>
                </c:pt>
                <c:pt idx="1227">
                  <c:v>38331</c:v>
                </c:pt>
                <c:pt idx="1228">
                  <c:v>38334</c:v>
                </c:pt>
                <c:pt idx="1229">
                  <c:v>38335</c:v>
                </c:pt>
                <c:pt idx="1230">
                  <c:v>38336</c:v>
                </c:pt>
                <c:pt idx="1231">
                  <c:v>38337</c:v>
                </c:pt>
                <c:pt idx="1232">
                  <c:v>38338</c:v>
                </c:pt>
                <c:pt idx="1233">
                  <c:v>38341</c:v>
                </c:pt>
                <c:pt idx="1234">
                  <c:v>38342</c:v>
                </c:pt>
                <c:pt idx="1235">
                  <c:v>38343</c:v>
                </c:pt>
                <c:pt idx="1236">
                  <c:v>38344</c:v>
                </c:pt>
                <c:pt idx="1237">
                  <c:v>38345</c:v>
                </c:pt>
                <c:pt idx="1238">
                  <c:v>38348</c:v>
                </c:pt>
                <c:pt idx="1239">
                  <c:v>38349</c:v>
                </c:pt>
                <c:pt idx="1240">
                  <c:v>38350</c:v>
                </c:pt>
                <c:pt idx="1241">
                  <c:v>38351</c:v>
                </c:pt>
                <c:pt idx="1242">
                  <c:v>38352</c:v>
                </c:pt>
                <c:pt idx="1243">
                  <c:v>38355</c:v>
                </c:pt>
                <c:pt idx="1244">
                  <c:v>38356</c:v>
                </c:pt>
                <c:pt idx="1245">
                  <c:v>38357</c:v>
                </c:pt>
                <c:pt idx="1246">
                  <c:v>38358</c:v>
                </c:pt>
                <c:pt idx="1247">
                  <c:v>38359</c:v>
                </c:pt>
                <c:pt idx="1248">
                  <c:v>38362</c:v>
                </c:pt>
                <c:pt idx="1249">
                  <c:v>38363</c:v>
                </c:pt>
                <c:pt idx="1250">
                  <c:v>38364</c:v>
                </c:pt>
                <c:pt idx="1251">
                  <c:v>38365</c:v>
                </c:pt>
                <c:pt idx="1252">
                  <c:v>38366</c:v>
                </c:pt>
                <c:pt idx="1253">
                  <c:v>38369</c:v>
                </c:pt>
                <c:pt idx="1254">
                  <c:v>38370</c:v>
                </c:pt>
                <c:pt idx="1255">
                  <c:v>38371</c:v>
                </c:pt>
                <c:pt idx="1256">
                  <c:v>38372</c:v>
                </c:pt>
                <c:pt idx="1257">
                  <c:v>38373</c:v>
                </c:pt>
                <c:pt idx="1258">
                  <c:v>38376</c:v>
                </c:pt>
                <c:pt idx="1259">
                  <c:v>38377</c:v>
                </c:pt>
                <c:pt idx="1260">
                  <c:v>38378</c:v>
                </c:pt>
                <c:pt idx="1261">
                  <c:v>38379</c:v>
                </c:pt>
                <c:pt idx="1262">
                  <c:v>38380</c:v>
                </c:pt>
                <c:pt idx="1263">
                  <c:v>38383</c:v>
                </c:pt>
                <c:pt idx="1264">
                  <c:v>38384</c:v>
                </c:pt>
                <c:pt idx="1265">
                  <c:v>38385</c:v>
                </c:pt>
                <c:pt idx="1266">
                  <c:v>38386</c:v>
                </c:pt>
                <c:pt idx="1267">
                  <c:v>38387</c:v>
                </c:pt>
                <c:pt idx="1268">
                  <c:v>38390</c:v>
                </c:pt>
                <c:pt idx="1269">
                  <c:v>38391</c:v>
                </c:pt>
                <c:pt idx="1270">
                  <c:v>38392</c:v>
                </c:pt>
                <c:pt idx="1271">
                  <c:v>38393</c:v>
                </c:pt>
                <c:pt idx="1272">
                  <c:v>38394</c:v>
                </c:pt>
                <c:pt idx="1273">
                  <c:v>38397</c:v>
                </c:pt>
                <c:pt idx="1274">
                  <c:v>38398</c:v>
                </c:pt>
                <c:pt idx="1275">
                  <c:v>38399</c:v>
                </c:pt>
                <c:pt idx="1276">
                  <c:v>38400</c:v>
                </c:pt>
                <c:pt idx="1277">
                  <c:v>38401</c:v>
                </c:pt>
                <c:pt idx="1278">
                  <c:v>38404</c:v>
                </c:pt>
                <c:pt idx="1279">
                  <c:v>38405</c:v>
                </c:pt>
                <c:pt idx="1280">
                  <c:v>38406</c:v>
                </c:pt>
                <c:pt idx="1281">
                  <c:v>38407</c:v>
                </c:pt>
                <c:pt idx="1282">
                  <c:v>38408</c:v>
                </c:pt>
                <c:pt idx="1283">
                  <c:v>38411</c:v>
                </c:pt>
                <c:pt idx="1284">
                  <c:v>38412</c:v>
                </c:pt>
                <c:pt idx="1285">
                  <c:v>38413</c:v>
                </c:pt>
                <c:pt idx="1286">
                  <c:v>38414</c:v>
                </c:pt>
                <c:pt idx="1287">
                  <c:v>38415</c:v>
                </c:pt>
                <c:pt idx="1288">
                  <c:v>38418</c:v>
                </c:pt>
                <c:pt idx="1289">
                  <c:v>38419</c:v>
                </c:pt>
                <c:pt idx="1290">
                  <c:v>38420</c:v>
                </c:pt>
                <c:pt idx="1291">
                  <c:v>38421</c:v>
                </c:pt>
                <c:pt idx="1292">
                  <c:v>38422</c:v>
                </c:pt>
                <c:pt idx="1293">
                  <c:v>38425</c:v>
                </c:pt>
                <c:pt idx="1294">
                  <c:v>38426</c:v>
                </c:pt>
                <c:pt idx="1295">
                  <c:v>38427</c:v>
                </c:pt>
                <c:pt idx="1296">
                  <c:v>38428</c:v>
                </c:pt>
                <c:pt idx="1297">
                  <c:v>38429</c:v>
                </c:pt>
                <c:pt idx="1298">
                  <c:v>38432</c:v>
                </c:pt>
                <c:pt idx="1299">
                  <c:v>38433</c:v>
                </c:pt>
                <c:pt idx="1300">
                  <c:v>38434</c:v>
                </c:pt>
                <c:pt idx="1301">
                  <c:v>38435</c:v>
                </c:pt>
                <c:pt idx="1302">
                  <c:v>38436</c:v>
                </c:pt>
                <c:pt idx="1303">
                  <c:v>38439</c:v>
                </c:pt>
                <c:pt idx="1304">
                  <c:v>38440</c:v>
                </c:pt>
                <c:pt idx="1305">
                  <c:v>38441</c:v>
                </c:pt>
                <c:pt idx="1306">
                  <c:v>38442</c:v>
                </c:pt>
                <c:pt idx="1307">
                  <c:v>38443</c:v>
                </c:pt>
                <c:pt idx="1308">
                  <c:v>38446</c:v>
                </c:pt>
                <c:pt idx="1309">
                  <c:v>38447</c:v>
                </c:pt>
                <c:pt idx="1310">
                  <c:v>38448</c:v>
                </c:pt>
                <c:pt idx="1311">
                  <c:v>38449</c:v>
                </c:pt>
                <c:pt idx="1312">
                  <c:v>38450</c:v>
                </c:pt>
                <c:pt idx="1313">
                  <c:v>38453</c:v>
                </c:pt>
                <c:pt idx="1314">
                  <c:v>38454</c:v>
                </c:pt>
                <c:pt idx="1315">
                  <c:v>38455</c:v>
                </c:pt>
                <c:pt idx="1316">
                  <c:v>38456</c:v>
                </c:pt>
                <c:pt idx="1317">
                  <c:v>38457</c:v>
                </c:pt>
                <c:pt idx="1318">
                  <c:v>38460</c:v>
                </c:pt>
                <c:pt idx="1319">
                  <c:v>38461</c:v>
                </c:pt>
                <c:pt idx="1320">
                  <c:v>38462</c:v>
                </c:pt>
                <c:pt idx="1321">
                  <c:v>38463</c:v>
                </c:pt>
                <c:pt idx="1322">
                  <c:v>38464</c:v>
                </c:pt>
                <c:pt idx="1323">
                  <c:v>38467</c:v>
                </c:pt>
                <c:pt idx="1324">
                  <c:v>38468</c:v>
                </c:pt>
                <c:pt idx="1325">
                  <c:v>38469</c:v>
                </c:pt>
                <c:pt idx="1326">
                  <c:v>38470</c:v>
                </c:pt>
                <c:pt idx="1327">
                  <c:v>38471</c:v>
                </c:pt>
                <c:pt idx="1328">
                  <c:v>38474</c:v>
                </c:pt>
                <c:pt idx="1329">
                  <c:v>38475</c:v>
                </c:pt>
                <c:pt idx="1330">
                  <c:v>38476</c:v>
                </c:pt>
                <c:pt idx="1331">
                  <c:v>38477</c:v>
                </c:pt>
                <c:pt idx="1332">
                  <c:v>38478</c:v>
                </c:pt>
                <c:pt idx="1333">
                  <c:v>38481</c:v>
                </c:pt>
                <c:pt idx="1334">
                  <c:v>38482</c:v>
                </c:pt>
                <c:pt idx="1335">
                  <c:v>38483</c:v>
                </c:pt>
                <c:pt idx="1336">
                  <c:v>38484</c:v>
                </c:pt>
                <c:pt idx="1337">
                  <c:v>38485</c:v>
                </c:pt>
                <c:pt idx="1338">
                  <c:v>38488</c:v>
                </c:pt>
                <c:pt idx="1339">
                  <c:v>38489</c:v>
                </c:pt>
                <c:pt idx="1340">
                  <c:v>38490</c:v>
                </c:pt>
                <c:pt idx="1341">
                  <c:v>38491</c:v>
                </c:pt>
                <c:pt idx="1342">
                  <c:v>38492</c:v>
                </c:pt>
                <c:pt idx="1343">
                  <c:v>38495</c:v>
                </c:pt>
                <c:pt idx="1344">
                  <c:v>38496</c:v>
                </c:pt>
                <c:pt idx="1345">
                  <c:v>38497</c:v>
                </c:pt>
                <c:pt idx="1346">
                  <c:v>38498</c:v>
                </c:pt>
                <c:pt idx="1347">
                  <c:v>38499</c:v>
                </c:pt>
                <c:pt idx="1348">
                  <c:v>38502</c:v>
                </c:pt>
                <c:pt idx="1349">
                  <c:v>38503</c:v>
                </c:pt>
                <c:pt idx="1350">
                  <c:v>38504</c:v>
                </c:pt>
                <c:pt idx="1351">
                  <c:v>38505</c:v>
                </c:pt>
                <c:pt idx="1352">
                  <c:v>38506</c:v>
                </c:pt>
                <c:pt idx="1353">
                  <c:v>38509</c:v>
                </c:pt>
                <c:pt idx="1354">
                  <c:v>38510</c:v>
                </c:pt>
                <c:pt idx="1355">
                  <c:v>38511</c:v>
                </c:pt>
                <c:pt idx="1356">
                  <c:v>38512</c:v>
                </c:pt>
                <c:pt idx="1357">
                  <c:v>38513</c:v>
                </c:pt>
                <c:pt idx="1358">
                  <c:v>38516</c:v>
                </c:pt>
                <c:pt idx="1359">
                  <c:v>38517</c:v>
                </c:pt>
                <c:pt idx="1360">
                  <c:v>38518</c:v>
                </c:pt>
                <c:pt idx="1361">
                  <c:v>38519</c:v>
                </c:pt>
                <c:pt idx="1362">
                  <c:v>38520</c:v>
                </c:pt>
                <c:pt idx="1363">
                  <c:v>38523</c:v>
                </c:pt>
                <c:pt idx="1364">
                  <c:v>38524</c:v>
                </c:pt>
                <c:pt idx="1365">
                  <c:v>38525</c:v>
                </c:pt>
                <c:pt idx="1366">
                  <c:v>38526</c:v>
                </c:pt>
                <c:pt idx="1367">
                  <c:v>38527</c:v>
                </c:pt>
                <c:pt idx="1368">
                  <c:v>38530</c:v>
                </c:pt>
                <c:pt idx="1369">
                  <c:v>38531</c:v>
                </c:pt>
                <c:pt idx="1370">
                  <c:v>38532</c:v>
                </c:pt>
                <c:pt idx="1371">
                  <c:v>38533</c:v>
                </c:pt>
                <c:pt idx="1372">
                  <c:v>38534</c:v>
                </c:pt>
                <c:pt idx="1373">
                  <c:v>38537</c:v>
                </c:pt>
                <c:pt idx="1374">
                  <c:v>38538</c:v>
                </c:pt>
                <c:pt idx="1375">
                  <c:v>38539</c:v>
                </c:pt>
                <c:pt idx="1376">
                  <c:v>38540</c:v>
                </c:pt>
                <c:pt idx="1377">
                  <c:v>38541</c:v>
                </c:pt>
                <c:pt idx="1378">
                  <c:v>38544</c:v>
                </c:pt>
                <c:pt idx="1379">
                  <c:v>38545</c:v>
                </c:pt>
                <c:pt idx="1380">
                  <c:v>38546</c:v>
                </c:pt>
                <c:pt idx="1381">
                  <c:v>38547</c:v>
                </c:pt>
                <c:pt idx="1382">
                  <c:v>38548</c:v>
                </c:pt>
                <c:pt idx="1383">
                  <c:v>38551</c:v>
                </c:pt>
                <c:pt idx="1384">
                  <c:v>38552</c:v>
                </c:pt>
                <c:pt idx="1385">
                  <c:v>38553</c:v>
                </c:pt>
                <c:pt idx="1386">
                  <c:v>38554</c:v>
                </c:pt>
                <c:pt idx="1387">
                  <c:v>38555</c:v>
                </c:pt>
                <c:pt idx="1388">
                  <c:v>38558</c:v>
                </c:pt>
                <c:pt idx="1389">
                  <c:v>38559</c:v>
                </c:pt>
                <c:pt idx="1390">
                  <c:v>38560</c:v>
                </c:pt>
                <c:pt idx="1391">
                  <c:v>38561</c:v>
                </c:pt>
                <c:pt idx="1392">
                  <c:v>38562</c:v>
                </c:pt>
                <c:pt idx="1393">
                  <c:v>38565</c:v>
                </c:pt>
                <c:pt idx="1394">
                  <c:v>38566</c:v>
                </c:pt>
                <c:pt idx="1395">
                  <c:v>38567</c:v>
                </c:pt>
                <c:pt idx="1396">
                  <c:v>38568</c:v>
                </c:pt>
                <c:pt idx="1397">
                  <c:v>38569</c:v>
                </c:pt>
                <c:pt idx="1398">
                  <c:v>38572</c:v>
                </c:pt>
                <c:pt idx="1399">
                  <c:v>38573</c:v>
                </c:pt>
                <c:pt idx="1400">
                  <c:v>38574</c:v>
                </c:pt>
                <c:pt idx="1401">
                  <c:v>38575</c:v>
                </c:pt>
                <c:pt idx="1402">
                  <c:v>38576</c:v>
                </c:pt>
                <c:pt idx="1403">
                  <c:v>38579</c:v>
                </c:pt>
                <c:pt idx="1404">
                  <c:v>38580</c:v>
                </c:pt>
                <c:pt idx="1405">
                  <c:v>38581</c:v>
                </c:pt>
                <c:pt idx="1406">
                  <c:v>38582</c:v>
                </c:pt>
                <c:pt idx="1407">
                  <c:v>38583</c:v>
                </c:pt>
                <c:pt idx="1408">
                  <c:v>38586</c:v>
                </c:pt>
                <c:pt idx="1409">
                  <c:v>38587</c:v>
                </c:pt>
                <c:pt idx="1410">
                  <c:v>38588</c:v>
                </c:pt>
                <c:pt idx="1411">
                  <c:v>38589</c:v>
                </c:pt>
                <c:pt idx="1412">
                  <c:v>38590</c:v>
                </c:pt>
                <c:pt idx="1413">
                  <c:v>38593</c:v>
                </c:pt>
                <c:pt idx="1414">
                  <c:v>38594</c:v>
                </c:pt>
                <c:pt idx="1415">
                  <c:v>38595</c:v>
                </c:pt>
                <c:pt idx="1416">
                  <c:v>38596</c:v>
                </c:pt>
                <c:pt idx="1417">
                  <c:v>38597</c:v>
                </c:pt>
                <c:pt idx="1418">
                  <c:v>38600</c:v>
                </c:pt>
                <c:pt idx="1419">
                  <c:v>38601</c:v>
                </c:pt>
                <c:pt idx="1420">
                  <c:v>38602</c:v>
                </c:pt>
                <c:pt idx="1421">
                  <c:v>38603</c:v>
                </c:pt>
                <c:pt idx="1422">
                  <c:v>38604</c:v>
                </c:pt>
                <c:pt idx="1423">
                  <c:v>38607</c:v>
                </c:pt>
                <c:pt idx="1424">
                  <c:v>38608</c:v>
                </c:pt>
                <c:pt idx="1425">
                  <c:v>38609</c:v>
                </c:pt>
                <c:pt idx="1426">
                  <c:v>38610</c:v>
                </c:pt>
                <c:pt idx="1427">
                  <c:v>38611</c:v>
                </c:pt>
                <c:pt idx="1428">
                  <c:v>38614</c:v>
                </c:pt>
                <c:pt idx="1429">
                  <c:v>38615</c:v>
                </c:pt>
                <c:pt idx="1430">
                  <c:v>38616</c:v>
                </c:pt>
                <c:pt idx="1431">
                  <c:v>38617</c:v>
                </c:pt>
                <c:pt idx="1432">
                  <c:v>38618</c:v>
                </c:pt>
                <c:pt idx="1433">
                  <c:v>38621</c:v>
                </c:pt>
                <c:pt idx="1434">
                  <c:v>38622</c:v>
                </c:pt>
                <c:pt idx="1435">
                  <c:v>38623</c:v>
                </c:pt>
                <c:pt idx="1436">
                  <c:v>38624</c:v>
                </c:pt>
                <c:pt idx="1437">
                  <c:v>38625</c:v>
                </c:pt>
                <c:pt idx="1438">
                  <c:v>38628</c:v>
                </c:pt>
                <c:pt idx="1439">
                  <c:v>38629</c:v>
                </c:pt>
                <c:pt idx="1440">
                  <c:v>38630</c:v>
                </c:pt>
                <c:pt idx="1441">
                  <c:v>38631</c:v>
                </c:pt>
                <c:pt idx="1442">
                  <c:v>38632</c:v>
                </c:pt>
                <c:pt idx="1443">
                  <c:v>38635</c:v>
                </c:pt>
                <c:pt idx="1444">
                  <c:v>38636</c:v>
                </c:pt>
                <c:pt idx="1445">
                  <c:v>38637</c:v>
                </c:pt>
                <c:pt idx="1446">
                  <c:v>38638</c:v>
                </c:pt>
                <c:pt idx="1447">
                  <c:v>38639</c:v>
                </c:pt>
                <c:pt idx="1448">
                  <c:v>38642</c:v>
                </c:pt>
                <c:pt idx="1449">
                  <c:v>38643</c:v>
                </c:pt>
                <c:pt idx="1450">
                  <c:v>38644</c:v>
                </c:pt>
                <c:pt idx="1451">
                  <c:v>38645</c:v>
                </c:pt>
                <c:pt idx="1452">
                  <c:v>38646</c:v>
                </c:pt>
                <c:pt idx="1453">
                  <c:v>38649</c:v>
                </c:pt>
                <c:pt idx="1454">
                  <c:v>38650</c:v>
                </c:pt>
                <c:pt idx="1455">
                  <c:v>38651</c:v>
                </c:pt>
                <c:pt idx="1456">
                  <c:v>38652</c:v>
                </c:pt>
                <c:pt idx="1457">
                  <c:v>38653</c:v>
                </c:pt>
                <c:pt idx="1458">
                  <c:v>38656</c:v>
                </c:pt>
                <c:pt idx="1459">
                  <c:v>38657</c:v>
                </c:pt>
                <c:pt idx="1460">
                  <c:v>38658</c:v>
                </c:pt>
                <c:pt idx="1461">
                  <c:v>38659</c:v>
                </c:pt>
                <c:pt idx="1462">
                  <c:v>38660</c:v>
                </c:pt>
                <c:pt idx="1463">
                  <c:v>38663</c:v>
                </c:pt>
                <c:pt idx="1464">
                  <c:v>38664</c:v>
                </c:pt>
                <c:pt idx="1465">
                  <c:v>38665</c:v>
                </c:pt>
                <c:pt idx="1466">
                  <c:v>38666</c:v>
                </c:pt>
                <c:pt idx="1467">
                  <c:v>38667</c:v>
                </c:pt>
                <c:pt idx="1468">
                  <c:v>38670</c:v>
                </c:pt>
                <c:pt idx="1469">
                  <c:v>38671</c:v>
                </c:pt>
                <c:pt idx="1470">
                  <c:v>38672</c:v>
                </c:pt>
                <c:pt idx="1471">
                  <c:v>38673</c:v>
                </c:pt>
                <c:pt idx="1472">
                  <c:v>38674</c:v>
                </c:pt>
                <c:pt idx="1473">
                  <c:v>38677</c:v>
                </c:pt>
                <c:pt idx="1474">
                  <c:v>38678</c:v>
                </c:pt>
                <c:pt idx="1475">
                  <c:v>38679</c:v>
                </c:pt>
                <c:pt idx="1476">
                  <c:v>38680</c:v>
                </c:pt>
                <c:pt idx="1477">
                  <c:v>38681</c:v>
                </c:pt>
                <c:pt idx="1478">
                  <c:v>38684</c:v>
                </c:pt>
                <c:pt idx="1479">
                  <c:v>38685</c:v>
                </c:pt>
                <c:pt idx="1480">
                  <c:v>38686</c:v>
                </c:pt>
                <c:pt idx="1481">
                  <c:v>38687</c:v>
                </c:pt>
                <c:pt idx="1482">
                  <c:v>38688</c:v>
                </c:pt>
                <c:pt idx="1483">
                  <c:v>38691</c:v>
                </c:pt>
                <c:pt idx="1484">
                  <c:v>38692</c:v>
                </c:pt>
                <c:pt idx="1485">
                  <c:v>38693</c:v>
                </c:pt>
                <c:pt idx="1486">
                  <c:v>38694</c:v>
                </c:pt>
                <c:pt idx="1487">
                  <c:v>38695</c:v>
                </c:pt>
                <c:pt idx="1488">
                  <c:v>38698</c:v>
                </c:pt>
                <c:pt idx="1489">
                  <c:v>38699</c:v>
                </c:pt>
                <c:pt idx="1490">
                  <c:v>38700</c:v>
                </c:pt>
                <c:pt idx="1491">
                  <c:v>38701</c:v>
                </c:pt>
                <c:pt idx="1492">
                  <c:v>38702</c:v>
                </c:pt>
                <c:pt idx="1493">
                  <c:v>38705</c:v>
                </c:pt>
                <c:pt idx="1494">
                  <c:v>38706</c:v>
                </c:pt>
                <c:pt idx="1495">
                  <c:v>38707</c:v>
                </c:pt>
                <c:pt idx="1496">
                  <c:v>38708</c:v>
                </c:pt>
                <c:pt idx="1497">
                  <c:v>38709</c:v>
                </c:pt>
                <c:pt idx="1498">
                  <c:v>38712</c:v>
                </c:pt>
                <c:pt idx="1499">
                  <c:v>38713</c:v>
                </c:pt>
                <c:pt idx="1500">
                  <c:v>38714</c:v>
                </c:pt>
                <c:pt idx="1501">
                  <c:v>38715</c:v>
                </c:pt>
                <c:pt idx="1502">
                  <c:v>38716</c:v>
                </c:pt>
                <c:pt idx="1503">
                  <c:v>38719</c:v>
                </c:pt>
                <c:pt idx="1504">
                  <c:v>38720</c:v>
                </c:pt>
                <c:pt idx="1505">
                  <c:v>38721</c:v>
                </c:pt>
                <c:pt idx="1506">
                  <c:v>38722</c:v>
                </c:pt>
                <c:pt idx="1507">
                  <c:v>38723</c:v>
                </c:pt>
                <c:pt idx="1508">
                  <c:v>38726</c:v>
                </c:pt>
                <c:pt idx="1509">
                  <c:v>38727</c:v>
                </c:pt>
                <c:pt idx="1510">
                  <c:v>38728</c:v>
                </c:pt>
                <c:pt idx="1511">
                  <c:v>38729</c:v>
                </c:pt>
                <c:pt idx="1512">
                  <c:v>38730</c:v>
                </c:pt>
                <c:pt idx="1513">
                  <c:v>38733</c:v>
                </c:pt>
                <c:pt idx="1514">
                  <c:v>38734</c:v>
                </c:pt>
                <c:pt idx="1515">
                  <c:v>38735</c:v>
                </c:pt>
                <c:pt idx="1516">
                  <c:v>38736</c:v>
                </c:pt>
                <c:pt idx="1517">
                  <c:v>38737</c:v>
                </c:pt>
                <c:pt idx="1518">
                  <c:v>38740</c:v>
                </c:pt>
                <c:pt idx="1519">
                  <c:v>38741</c:v>
                </c:pt>
                <c:pt idx="1520">
                  <c:v>38742</c:v>
                </c:pt>
                <c:pt idx="1521">
                  <c:v>38743</c:v>
                </c:pt>
                <c:pt idx="1522">
                  <c:v>38744</c:v>
                </c:pt>
                <c:pt idx="1523">
                  <c:v>38747</c:v>
                </c:pt>
                <c:pt idx="1524">
                  <c:v>38748</c:v>
                </c:pt>
                <c:pt idx="1525">
                  <c:v>38749</c:v>
                </c:pt>
                <c:pt idx="1526">
                  <c:v>38750</c:v>
                </c:pt>
                <c:pt idx="1527">
                  <c:v>38751</c:v>
                </c:pt>
                <c:pt idx="1528">
                  <c:v>38754</c:v>
                </c:pt>
                <c:pt idx="1529">
                  <c:v>38755</c:v>
                </c:pt>
                <c:pt idx="1530">
                  <c:v>38756</c:v>
                </c:pt>
                <c:pt idx="1531">
                  <c:v>38757</c:v>
                </c:pt>
                <c:pt idx="1532">
                  <c:v>38758</c:v>
                </c:pt>
                <c:pt idx="1533">
                  <c:v>38761</c:v>
                </c:pt>
                <c:pt idx="1534">
                  <c:v>38762</c:v>
                </c:pt>
                <c:pt idx="1535">
                  <c:v>38763</c:v>
                </c:pt>
                <c:pt idx="1536">
                  <c:v>38764</c:v>
                </c:pt>
                <c:pt idx="1537">
                  <c:v>38765</c:v>
                </c:pt>
                <c:pt idx="1538">
                  <c:v>38768</c:v>
                </c:pt>
                <c:pt idx="1539">
                  <c:v>38769</c:v>
                </c:pt>
                <c:pt idx="1540">
                  <c:v>38770</c:v>
                </c:pt>
                <c:pt idx="1541">
                  <c:v>38771</c:v>
                </c:pt>
                <c:pt idx="1542">
                  <c:v>38772</c:v>
                </c:pt>
                <c:pt idx="1543">
                  <c:v>38775</c:v>
                </c:pt>
                <c:pt idx="1544">
                  <c:v>38776</c:v>
                </c:pt>
                <c:pt idx="1545">
                  <c:v>38777</c:v>
                </c:pt>
                <c:pt idx="1546">
                  <c:v>38778</c:v>
                </c:pt>
                <c:pt idx="1547">
                  <c:v>38779</c:v>
                </c:pt>
                <c:pt idx="1548">
                  <c:v>38782</c:v>
                </c:pt>
                <c:pt idx="1549">
                  <c:v>38783</c:v>
                </c:pt>
                <c:pt idx="1550">
                  <c:v>38784</c:v>
                </c:pt>
                <c:pt idx="1551">
                  <c:v>38785</c:v>
                </c:pt>
                <c:pt idx="1552">
                  <c:v>38786</c:v>
                </c:pt>
                <c:pt idx="1553">
                  <c:v>38789</c:v>
                </c:pt>
                <c:pt idx="1554">
                  <c:v>38790</c:v>
                </c:pt>
                <c:pt idx="1555">
                  <c:v>38791</c:v>
                </c:pt>
                <c:pt idx="1556">
                  <c:v>38792</c:v>
                </c:pt>
                <c:pt idx="1557">
                  <c:v>38793</c:v>
                </c:pt>
                <c:pt idx="1558">
                  <c:v>38796</c:v>
                </c:pt>
                <c:pt idx="1559">
                  <c:v>38797</c:v>
                </c:pt>
                <c:pt idx="1560">
                  <c:v>38798</c:v>
                </c:pt>
                <c:pt idx="1561">
                  <c:v>38799</c:v>
                </c:pt>
                <c:pt idx="1562">
                  <c:v>38800</c:v>
                </c:pt>
                <c:pt idx="1563">
                  <c:v>38803</c:v>
                </c:pt>
                <c:pt idx="1564">
                  <c:v>38804</c:v>
                </c:pt>
                <c:pt idx="1565">
                  <c:v>38805</c:v>
                </c:pt>
                <c:pt idx="1566">
                  <c:v>38806</c:v>
                </c:pt>
                <c:pt idx="1567">
                  <c:v>38807</c:v>
                </c:pt>
                <c:pt idx="1568">
                  <c:v>38810</c:v>
                </c:pt>
                <c:pt idx="1569">
                  <c:v>38811</c:v>
                </c:pt>
                <c:pt idx="1570">
                  <c:v>38812</c:v>
                </c:pt>
                <c:pt idx="1571">
                  <c:v>38813</c:v>
                </c:pt>
                <c:pt idx="1572">
                  <c:v>38814</c:v>
                </c:pt>
                <c:pt idx="1573">
                  <c:v>38817</c:v>
                </c:pt>
                <c:pt idx="1574">
                  <c:v>38818</c:v>
                </c:pt>
                <c:pt idx="1575">
                  <c:v>38819</c:v>
                </c:pt>
                <c:pt idx="1576">
                  <c:v>38820</c:v>
                </c:pt>
                <c:pt idx="1577">
                  <c:v>38821</c:v>
                </c:pt>
                <c:pt idx="1578">
                  <c:v>38824</c:v>
                </c:pt>
                <c:pt idx="1579">
                  <c:v>38825</c:v>
                </c:pt>
                <c:pt idx="1580">
                  <c:v>38826</c:v>
                </c:pt>
                <c:pt idx="1581">
                  <c:v>38827</c:v>
                </c:pt>
                <c:pt idx="1582">
                  <c:v>38828</c:v>
                </c:pt>
                <c:pt idx="1583">
                  <c:v>38831</c:v>
                </c:pt>
                <c:pt idx="1584">
                  <c:v>38832</c:v>
                </c:pt>
                <c:pt idx="1585">
                  <c:v>38833</c:v>
                </c:pt>
                <c:pt idx="1586">
                  <c:v>38834</c:v>
                </c:pt>
                <c:pt idx="1587">
                  <c:v>38835</c:v>
                </c:pt>
                <c:pt idx="1588">
                  <c:v>38838</c:v>
                </c:pt>
                <c:pt idx="1589">
                  <c:v>38839</c:v>
                </c:pt>
                <c:pt idx="1590">
                  <c:v>38840</c:v>
                </c:pt>
                <c:pt idx="1591">
                  <c:v>38841</c:v>
                </c:pt>
                <c:pt idx="1592">
                  <c:v>38842</c:v>
                </c:pt>
                <c:pt idx="1593">
                  <c:v>38845</c:v>
                </c:pt>
                <c:pt idx="1594">
                  <c:v>38846</c:v>
                </c:pt>
                <c:pt idx="1595">
                  <c:v>38847</c:v>
                </c:pt>
                <c:pt idx="1596">
                  <c:v>38848</c:v>
                </c:pt>
                <c:pt idx="1597">
                  <c:v>38849</c:v>
                </c:pt>
                <c:pt idx="1598">
                  <c:v>38852</c:v>
                </c:pt>
                <c:pt idx="1599">
                  <c:v>38853</c:v>
                </c:pt>
                <c:pt idx="1600">
                  <c:v>38854</c:v>
                </c:pt>
                <c:pt idx="1601">
                  <c:v>38855</c:v>
                </c:pt>
                <c:pt idx="1602">
                  <c:v>38856</c:v>
                </c:pt>
                <c:pt idx="1603">
                  <c:v>38859</c:v>
                </c:pt>
                <c:pt idx="1604">
                  <c:v>38860</c:v>
                </c:pt>
                <c:pt idx="1605">
                  <c:v>38861</c:v>
                </c:pt>
                <c:pt idx="1606">
                  <c:v>38862</c:v>
                </c:pt>
                <c:pt idx="1607">
                  <c:v>38863</c:v>
                </c:pt>
                <c:pt idx="1608">
                  <c:v>38866</c:v>
                </c:pt>
                <c:pt idx="1609">
                  <c:v>38867</c:v>
                </c:pt>
                <c:pt idx="1610">
                  <c:v>38868</c:v>
                </c:pt>
                <c:pt idx="1611">
                  <c:v>38869</c:v>
                </c:pt>
                <c:pt idx="1612">
                  <c:v>38870</c:v>
                </c:pt>
                <c:pt idx="1613">
                  <c:v>38873</c:v>
                </c:pt>
                <c:pt idx="1614">
                  <c:v>38874</c:v>
                </c:pt>
                <c:pt idx="1615">
                  <c:v>38875</c:v>
                </c:pt>
                <c:pt idx="1616">
                  <c:v>38876</c:v>
                </c:pt>
                <c:pt idx="1617">
                  <c:v>38877</c:v>
                </c:pt>
                <c:pt idx="1618">
                  <c:v>38880</c:v>
                </c:pt>
                <c:pt idx="1619">
                  <c:v>38881</c:v>
                </c:pt>
                <c:pt idx="1620">
                  <c:v>38882</c:v>
                </c:pt>
                <c:pt idx="1621">
                  <c:v>38883</c:v>
                </c:pt>
                <c:pt idx="1622">
                  <c:v>38884</c:v>
                </c:pt>
                <c:pt idx="1623">
                  <c:v>38887</c:v>
                </c:pt>
                <c:pt idx="1624">
                  <c:v>38888</c:v>
                </c:pt>
                <c:pt idx="1625">
                  <c:v>38889</c:v>
                </c:pt>
                <c:pt idx="1626">
                  <c:v>38890</c:v>
                </c:pt>
                <c:pt idx="1627">
                  <c:v>38891</c:v>
                </c:pt>
                <c:pt idx="1628">
                  <c:v>38894</c:v>
                </c:pt>
                <c:pt idx="1629">
                  <c:v>38895</c:v>
                </c:pt>
                <c:pt idx="1630">
                  <c:v>38896</c:v>
                </c:pt>
                <c:pt idx="1631">
                  <c:v>38897</c:v>
                </c:pt>
                <c:pt idx="1632">
                  <c:v>38898</c:v>
                </c:pt>
                <c:pt idx="1633">
                  <c:v>38901</c:v>
                </c:pt>
                <c:pt idx="1634">
                  <c:v>38902</c:v>
                </c:pt>
                <c:pt idx="1635">
                  <c:v>38903</c:v>
                </c:pt>
                <c:pt idx="1636">
                  <c:v>38904</c:v>
                </c:pt>
                <c:pt idx="1637">
                  <c:v>38905</c:v>
                </c:pt>
                <c:pt idx="1638">
                  <c:v>38908</c:v>
                </c:pt>
                <c:pt idx="1639">
                  <c:v>38909</c:v>
                </c:pt>
                <c:pt idx="1640">
                  <c:v>38910</c:v>
                </c:pt>
                <c:pt idx="1641">
                  <c:v>38911</c:v>
                </c:pt>
                <c:pt idx="1642">
                  <c:v>38912</c:v>
                </c:pt>
                <c:pt idx="1643">
                  <c:v>38915</c:v>
                </c:pt>
                <c:pt idx="1644">
                  <c:v>38916</c:v>
                </c:pt>
                <c:pt idx="1645">
                  <c:v>38917</c:v>
                </c:pt>
                <c:pt idx="1646">
                  <c:v>38918</c:v>
                </c:pt>
                <c:pt idx="1647">
                  <c:v>38919</c:v>
                </c:pt>
                <c:pt idx="1648">
                  <c:v>38922</c:v>
                </c:pt>
                <c:pt idx="1649">
                  <c:v>38923</c:v>
                </c:pt>
                <c:pt idx="1650">
                  <c:v>38924</c:v>
                </c:pt>
                <c:pt idx="1651">
                  <c:v>38925</c:v>
                </c:pt>
                <c:pt idx="1652">
                  <c:v>38926</c:v>
                </c:pt>
                <c:pt idx="1653">
                  <c:v>38929</c:v>
                </c:pt>
                <c:pt idx="1654">
                  <c:v>38930</c:v>
                </c:pt>
                <c:pt idx="1655">
                  <c:v>38931</c:v>
                </c:pt>
                <c:pt idx="1656">
                  <c:v>38932</c:v>
                </c:pt>
                <c:pt idx="1657">
                  <c:v>38933</c:v>
                </c:pt>
                <c:pt idx="1658">
                  <c:v>38936</c:v>
                </c:pt>
                <c:pt idx="1659">
                  <c:v>38937</c:v>
                </c:pt>
                <c:pt idx="1660">
                  <c:v>38938</c:v>
                </c:pt>
                <c:pt idx="1661">
                  <c:v>38939</c:v>
                </c:pt>
                <c:pt idx="1662">
                  <c:v>38940</c:v>
                </c:pt>
                <c:pt idx="1663">
                  <c:v>38943</c:v>
                </c:pt>
                <c:pt idx="1664">
                  <c:v>38944</c:v>
                </c:pt>
                <c:pt idx="1665">
                  <c:v>38945</c:v>
                </c:pt>
                <c:pt idx="1666">
                  <c:v>38946</c:v>
                </c:pt>
                <c:pt idx="1667">
                  <c:v>38947</c:v>
                </c:pt>
                <c:pt idx="1668">
                  <c:v>38950</c:v>
                </c:pt>
                <c:pt idx="1669">
                  <c:v>38951</c:v>
                </c:pt>
                <c:pt idx="1670">
                  <c:v>38952</c:v>
                </c:pt>
                <c:pt idx="1671">
                  <c:v>38953</c:v>
                </c:pt>
                <c:pt idx="1672">
                  <c:v>38954</c:v>
                </c:pt>
                <c:pt idx="1673">
                  <c:v>38957</c:v>
                </c:pt>
                <c:pt idx="1674">
                  <c:v>38958</c:v>
                </c:pt>
                <c:pt idx="1675">
                  <c:v>38959</c:v>
                </c:pt>
                <c:pt idx="1676">
                  <c:v>38960</c:v>
                </c:pt>
                <c:pt idx="1677">
                  <c:v>38961</c:v>
                </c:pt>
                <c:pt idx="1678">
                  <c:v>38964</c:v>
                </c:pt>
                <c:pt idx="1679">
                  <c:v>38965</c:v>
                </c:pt>
                <c:pt idx="1680">
                  <c:v>38966</c:v>
                </c:pt>
                <c:pt idx="1681">
                  <c:v>38967</c:v>
                </c:pt>
                <c:pt idx="1682">
                  <c:v>38968</c:v>
                </c:pt>
                <c:pt idx="1683">
                  <c:v>38971</c:v>
                </c:pt>
                <c:pt idx="1684">
                  <c:v>38972</c:v>
                </c:pt>
                <c:pt idx="1685">
                  <c:v>38973</c:v>
                </c:pt>
                <c:pt idx="1686">
                  <c:v>38974</c:v>
                </c:pt>
                <c:pt idx="1687">
                  <c:v>38975</c:v>
                </c:pt>
                <c:pt idx="1688">
                  <c:v>38978</c:v>
                </c:pt>
                <c:pt idx="1689">
                  <c:v>38979</c:v>
                </c:pt>
                <c:pt idx="1690">
                  <c:v>38980</c:v>
                </c:pt>
                <c:pt idx="1691">
                  <c:v>38981</c:v>
                </c:pt>
                <c:pt idx="1692">
                  <c:v>38982</c:v>
                </c:pt>
                <c:pt idx="1693">
                  <c:v>38985</c:v>
                </c:pt>
                <c:pt idx="1694">
                  <c:v>38986</c:v>
                </c:pt>
                <c:pt idx="1695">
                  <c:v>38987</c:v>
                </c:pt>
                <c:pt idx="1696">
                  <c:v>38988</c:v>
                </c:pt>
                <c:pt idx="1697">
                  <c:v>38989</c:v>
                </c:pt>
                <c:pt idx="1698">
                  <c:v>38992</c:v>
                </c:pt>
                <c:pt idx="1699">
                  <c:v>38993</c:v>
                </c:pt>
                <c:pt idx="1700">
                  <c:v>38994</c:v>
                </c:pt>
                <c:pt idx="1701">
                  <c:v>38995</c:v>
                </c:pt>
                <c:pt idx="1702">
                  <c:v>38996</c:v>
                </c:pt>
                <c:pt idx="1703">
                  <c:v>38999</c:v>
                </c:pt>
                <c:pt idx="1704">
                  <c:v>39000</c:v>
                </c:pt>
                <c:pt idx="1705">
                  <c:v>39001</c:v>
                </c:pt>
                <c:pt idx="1706">
                  <c:v>39002</c:v>
                </c:pt>
                <c:pt idx="1707">
                  <c:v>39003</c:v>
                </c:pt>
                <c:pt idx="1708">
                  <c:v>39006</c:v>
                </c:pt>
                <c:pt idx="1709">
                  <c:v>39007</c:v>
                </c:pt>
                <c:pt idx="1710">
                  <c:v>39008</c:v>
                </c:pt>
                <c:pt idx="1711">
                  <c:v>39009</c:v>
                </c:pt>
                <c:pt idx="1712">
                  <c:v>39010</c:v>
                </c:pt>
                <c:pt idx="1713">
                  <c:v>39013</c:v>
                </c:pt>
                <c:pt idx="1714">
                  <c:v>39014</c:v>
                </c:pt>
                <c:pt idx="1715">
                  <c:v>39015</c:v>
                </c:pt>
                <c:pt idx="1716">
                  <c:v>39016</c:v>
                </c:pt>
                <c:pt idx="1717">
                  <c:v>39017</c:v>
                </c:pt>
                <c:pt idx="1718">
                  <c:v>39020</c:v>
                </c:pt>
                <c:pt idx="1719">
                  <c:v>39021</c:v>
                </c:pt>
                <c:pt idx="1720">
                  <c:v>39022</c:v>
                </c:pt>
                <c:pt idx="1721">
                  <c:v>39023</c:v>
                </c:pt>
                <c:pt idx="1722">
                  <c:v>39024</c:v>
                </c:pt>
                <c:pt idx="1723">
                  <c:v>39027</c:v>
                </c:pt>
                <c:pt idx="1724">
                  <c:v>39028</c:v>
                </c:pt>
                <c:pt idx="1725">
                  <c:v>39029</c:v>
                </c:pt>
                <c:pt idx="1726">
                  <c:v>39030</c:v>
                </c:pt>
                <c:pt idx="1727">
                  <c:v>39031</c:v>
                </c:pt>
                <c:pt idx="1728">
                  <c:v>39034</c:v>
                </c:pt>
                <c:pt idx="1729">
                  <c:v>39035</c:v>
                </c:pt>
                <c:pt idx="1730">
                  <c:v>39036</c:v>
                </c:pt>
                <c:pt idx="1731">
                  <c:v>39037</c:v>
                </c:pt>
                <c:pt idx="1732">
                  <c:v>39038</c:v>
                </c:pt>
                <c:pt idx="1733">
                  <c:v>39041</c:v>
                </c:pt>
                <c:pt idx="1734">
                  <c:v>39042</c:v>
                </c:pt>
                <c:pt idx="1735">
                  <c:v>39043</c:v>
                </c:pt>
                <c:pt idx="1736">
                  <c:v>39044</c:v>
                </c:pt>
                <c:pt idx="1737">
                  <c:v>39045</c:v>
                </c:pt>
                <c:pt idx="1738">
                  <c:v>39048</c:v>
                </c:pt>
                <c:pt idx="1739">
                  <c:v>39049</c:v>
                </c:pt>
                <c:pt idx="1740">
                  <c:v>39050</c:v>
                </c:pt>
                <c:pt idx="1741">
                  <c:v>39051</c:v>
                </c:pt>
                <c:pt idx="1742">
                  <c:v>39052</c:v>
                </c:pt>
                <c:pt idx="1743">
                  <c:v>39055</c:v>
                </c:pt>
                <c:pt idx="1744">
                  <c:v>39056</c:v>
                </c:pt>
                <c:pt idx="1745">
                  <c:v>39057</c:v>
                </c:pt>
                <c:pt idx="1746">
                  <c:v>39058</c:v>
                </c:pt>
                <c:pt idx="1747">
                  <c:v>39059</c:v>
                </c:pt>
                <c:pt idx="1748">
                  <c:v>39062</c:v>
                </c:pt>
                <c:pt idx="1749">
                  <c:v>39063</c:v>
                </c:pt>
                <c:pt idx="1750">
                  <c:v>39064</c:v>
                </c:pt>
                <c:pt idx="1751">
                  <c:v>39065</c:v>
                </c:pt>
                <c:pt idx="1752">
                  <c:v>39066</c:v>
                </c:pt>
                <c:pt idx="1753">
                  <c:v>39069</c:v>
                </c:pt>
                <c:pt idx="1754">
                  <c:v>39070</c:v>
                </c:pt>
                <c:pt idx="1755">
                  <c:v>39071</c:v>
                </c:pt>
                <c:pt idx="1756">
                  <c:v>39072</c:v>
                </c:pt>
                <c:pt idx="1757">
                  <c:v>39073</c:v>
                </c:pt>
                <c:pt idx="1758">
                  <c:v>39076</c:v>
                </c:pt>
                <c:pt idx="1759">
                  <c:v>39077</c:v>
                </c:pt>
                <c:pt idx="1760">
                  <c:v>39078</c:v>
                </c:pt>
                <c:pt idx="1761">
                  <c:v>39079</c:v>
                </c:pt>
                <c:pt idx="1762">
                  <c:v>39080</c:v>
                </c:pt>
                <c:pt idx="1763">
                  <c:v>39083</c:v>
                </c:pt>
                <c:pt idx="1764">
                  <c:v>39084</c:v>
                </c:pt>
                <c:pt idx="1765">
                  <c:v>39085</c:v>
                </c:pt>
                <c:pt idx="1766">
                  <c:v>39086</c:v>
                </c:pt>
                <c:pt idx="1767">
                  <c:v>39087</c:v>
                </c:pt>
                <c:pt idx="1768">
                  <c:v>39090</c:v>
                </c:pt>
                <c:pt idx="1769">
                  <c:v>39091</c:v>
                </c:pt>
                <c:pt idx="1770">
                  <c:v>39092</c:v>
                </c:pt>
                <c:pt idx="1771">
                  <c:v>39093</c:v>
                </c:pt>
                <c:pt idx="1772">
                  <c:v>39094</c:v>
                </c:pt>
                <c:pt idx="1773">
                  <c:v>39097</c:v>
                </c:pt>
                <c:pt idx="1774">
                  <c:v>39098</c:v>
                </c:pt>
                <c:pt idx="1775">
                  <c:v>39099</c:v>
                </c:pt>
                <c:pt idx="1776">
                  <c:v>39100</c:v>
                </c:pt>
                <c:pt idx="1777">
                  <c:v>39101</c:v>
                </c:pt>
                <c:pt idx="1778">
                  <c:v>39104</c:v>
                </c:pt>
                <c:pt idx="1779">
                  <c:v>39105</c:v>
                </c:pt>
                <c:pt idx="1780">
                  <c:v>39106</c:v>
                </c:pt>
                <c:pt idx="1781">
                  <c:v>39107</c:v>
                </c:pt>
                <c:pt idx="1782">
                  <c:v>39108</c:v>
                </c:pt>
                <c:pt idx="1783">
                  <c:v>39111</c:v>
                </c:pt>
                <c:pt idx="1784">
                  <c:v>39112</c:v>
                </c:pt>
                <c:pt idx="1785">
                  <c:v>39113</c:v>
                </c:pt>
                <c:pt idx="1786">
                  <c:v>39114</c:v>
                </c:pt>
                <c:pt idx="1787">
                  <c:v>39115</c:v>
                </c:pt>
                <c:pt idx="1788">
                  <c:v>39118</c:v>
                </c:pt>
                <c:pt idx="1789">
                  <c:v>39119</c:v>
                </c:pt>
                <c:pt idx="1790">
                  <c:v>39120</c:v>
                </c:pt>
                <c:pt idx="1791">
                  <c:v>39121</c:v>
                </c:pt>
                <c:pt idx="1792">
                  <c:v>39122</c:v>
                </c:pt>
                <c:pt idx="1793">
                  <c:v>39125</c:v>
                </c:pt>
                <c:pt idx="1794">
                  <c:v>39126</c:v>
                </c:pt>
                <c:pt idx="1795">
                  <c:v>39127</c:v>
                </c:pt>
                <c:pt idx="1796">
                  <c:v>39128</c:v>
                </c:pt>
                <c:pt idx="1797">
                  <c:v>39129</c:v>
                </c:pt>
                <c:pt idx="1798">
                  <c:v>39132</c:v>
                </c:pt>
                <c:pt idx="1799">
                  <c:v>39133</c:v>
                </c:pt>
                <c:pt idx="1800">
                  <c:v>39134</c:v>
                </c:pt>
                <c:pt idx="1801">
                  <c:v>39135</c:v>
                </c:pt>
                <c:pt idx="1802">
                  <c:v>39136</c:v>
                </c:pt>
                <c:pt idx="1803">
                  <c:v>39139</c:v>
                </c:pt>
                <c:pt idx="1804">
                  <c:v>39140</c:v>
                </c:pt>
                <c:pt idx="1805">
                  <c:v>39141</c:v>
                </c:pt>
                <c:pt idx="1806">
                  <c:v>39142</c:v>
                </c:pt>
                <c:pt idx="1807">
                  <c:v>39143</c:v>
                </c:pt>
                <c:pt idx="1808">
                  <c:v>39146</c:v>
                </c:pt>
                <c:pt idx="1809">
                  <c:v>39147</c:v>
                </c:pt>
                <c:pt idx="1810">
                  <c:v>39148</c:v>
                </c:pt>
                <c:pt idx="1811">
                  <c:v>39149</c:v>
                </c:pt>
                <c:pt idx="1812">
                  <c:v>39150</c:v>
                </c:pt>
                <c:pt idx="1813">
                  <c:v>39153</c:v>
                </c:pt>
                <c:pt idx="1814">
                  <c:v>39154</c:v>
                </c:pt>
                <c:pt idx="1815">
                  <c:v>39155</c:v>
                </c:pt>
                <c:pt idx="1816">
                  <c:v>39156</c:v>
                </c:pt>
                <c:pt idx="1817">
                  <c:v>39157</c:v>
                </c:pt>
                <c:pt idx="1818">
                  <c:v>39160</c:v>
                </c:pt>
                <c:pt idx="1819">
                  <c:v>39161</c:v>
                </c:pt>
                <c:pt idx="1820">
                  <c:v>39162</c:v>
                </c:pt>
                <c:pt idx="1821">
                  <c:v>39163</c:v>
                </c:pt>
                <c:pt idx="1822">
                  <c:v>39164</c:v>
                </c:pt>
                <c:pt idx="1823">
                  <c:v>39167</c:v>
                </c:pt>
                <c:pt idx="1824">
                  <c:v>39168</c:v>
                </c:pt>
                <c:pt idx="1825">
                  <c:v>39169</c:v>
                </c:pt>
                <c:pt idx="1826">
                  <c:v>39170</c:v>
                </c:pt>
                <c:pt idx="1827">
                  <c:v>39171</c:v>
                </c:pt>
                <c:pt idx="1828">
                  <c:v>39174</c:v>
                </c:pt>
                <c:pt idx="1829">
                  <c:v>39175</c:v>
                </c:pt>
                <c:pt idx="1830">
                  <c:v>39176</c:v>
                </c:pt>
                <c:pt idx="1831">
                  <c:v>39177</c:v>
                </c:pt>
                <c:pt idx="1832">
                  <c:v>39178</c:v>
                </c:pt>
                <c:pt idx="1833">
                  <c:v>39181</c:v>
                </c:pt>
                <c:pt idx="1834">
                  <c:v>39182</c:v>
                </c:pt>
                <c:pt idx="1835">
                  <c:v>39183</c:v>
                </c:pt>
                <c:pt idx="1836">
                  <c:v>39184</c:v>
                </c:pt>
                <c:pt idx="1837">
                  <c:v>39185</c:v>
                </c:pt>
                <c:pt idx="1838">
                  <c:v>39188</c:v>
                </c:pt>
                <c:pt idx="1839">
                  <c:v>39189</c:v>
                </c:pt>
                <c:pt idx="1840">
                  <c:v>39190</c:v>
                </c:pt>
                <c:pt idx="1841">
                  <c:v>39191</c:v>
                </c:pt>
                <c:pt idx="1842">
                  <c:v>39192</c:v>
                </c:pt>
                <c:pt idx="1843">
                  <c:v>39195</c:v>
                </c:pt>
                <c:pt idx="1844">
                  <c:v>39196</c:v>
                </c:pt>
                <c:pt idx="1845">
                  <c:v>39197</c:v>
                </c:pt>
                <c:pt idx="1846">
                  <c:v>39198</c:v>
                </c:pt>
                <c:pt idx="1847">
                  <c:v>39199</c:v>
                </c:pt>
                <c:pt idx="1848">
                  <c:v>39202</c:v>
                </c:pt>
                <c:pt idx="1849">
                  <c:v>39203</c:v>
                </c:pt>
                <c:pt idx="1850">
                  <c:v>39204</c:v>
                </c:pt>
                <c:pt idx="1851">
                  <c:v>39205</c:v>
                </c:pt>
                <c:pt idx="1852">
                  <c:v>39206</c:v>
                </c:pt>
                <c:pt idx="1853">
                  <c:v>39209</c:v>
                </c:pt>
                <c:pt idx="1854">
                  <c:v>39210</c:v>
                </c:pt>
                <c:pt idx="1855">
                  <c:v>39211</c:v>
                </c:pt>
                <c:pt idx="1856">
                  <c:v>39212</c:v>
                </c:pt>
                <c:pt idx="1857">
                  <c:v>39213</c:v>
                </c:pt>
                <c:pt idx="1858">
                  <c:v>39216</c:v>
                </c:pt>
                <c:pt idx="1859">
                  <c:v>39217</c:v>
                </c:pt>
                <c:pt idx="1860">
                  <c:v>39218</c:v>
                </c:pt>
                <c:pt idx="1861">
                  <c:v>39219</c:v>
                </c:pt>
                <c:pt idx="1862">
                  <c:v>39220</c:v>
                </c:pt>
                <c:pt idx="1863">
                  <c:v>39223</c:v>
                </c:pt>
                <c:pt idx="1864">
                  <c:v>39224</c:v>
                </c:pt>
                <c:pt idx="1865">
                  <c:v>39225</c:v>
                </c:pt>
                <c:pt idx="1866">
                  <c:v>39226</c:v>
                </c:pt>
                <c:pt idx="1867">
                  <c:v>39227</c:v>
                </c:pt>
                <c:pt idx="1868">
                  <c:v>39230</c:v>
                </c:pt>
                <c:pt idx="1869">
                  <c:v>39231</c:v>
                </c:pt>
                <c:pt idx="1870">
                  <c:v>39232</c:v>
                </c:pt>
                <c:pt idx="1871">
                  <c:v>39233</c:v>
                </c:pt>
                <c:pt idx="1872">
                  <c:v>39234</c:v>
                </c:pt>
                <c:pt idx="1873">
                  <c:v>39237</c:v>
                </c:pt>
                <c:pt idx="1874">
                  <c:v>39238</c:v>
                </c:pt>
                <c:pt idx="1875">
                  <c:v>39239</c:v>
                </c:pt>
                <c:pt idx="1876">
                  <c:v>39240</c:v>
                </c:pt>
                <c:pt idx="1877">
                  <c:v>39241</c:v>
                </c:pt>
                <c:pt idx="1878">
                  <c:v>39244</c:v>
                </c:pt>
                <c:pt idx="1879">
                  <c:v>39245</c:v>
                </c:pt>
                <c:pt idx="1880">
                  <c:v>39246</c:v>
                </c:pt>
                <c:pt idx="1881">
                  <c:v>39247</c:v>
                </c:pt>
                <c:pt idx="1882">
                  <c:v>39248</c:v>
                </c:pt>
                <c:pt idx="1883">
                  <c:v>39251</c:v>
                </c:pt>
                <c:pt idx="1884">
                  <c:v>39252</c:v>
                </c:pt>
                <c:pt idx="1885">
                  <c:v>39253</c:v>
                </c:pt>
                <c:pt idx="1886">
                  <c:v>39254</c:v>
                </c:pt>
                <c:pt idx="1887">
                  <c:v>39255</c:v>
                </c:pt>
                <c:pt idx="1888">
                  <c:v>39258</c:v>
                </c:pt>
                <c:pt idx="1889">
                  <c:v>39259</c:v>
                </c:pt>
                <c:pt idx="1890">
                  <c:v>39260</c:v>
                </c:pt>
                <c:pt idx="1891">
                  <c:v>39261</c:v>
                </c:pt>
                <c:pt idx="1892">
                  <c:v>39262</c:v>
                </c:pt>
                <c:pt idx="1893">
                  <c:v>39265</c:v>
                </c:pt>
                <c:pt idx="1894">
                  <c:v>39266</c:v>
                </c:pt>
                <c:pt idx="1895">
                  <c:v>39267</c:v>
                </c:pt>
                <c:pt idx="1896">
                  <c:v>39268</c:v>
                </c:pt>
                <c:pt idx="1897">
                  <c:v>39269</c:v>
                </c:pt>
                <c:pt idx="1898">
                  <c:v>39272</c:v>
                </c:pt>
                <c:pt idx="1899">
                  <c:v>39273</c:v>
                </c:pt>
                <c:pt idx="1900">
                  <c:v>39274</c:v>
                </c:pt>
                <c:pt idx="1901">
                  <c:v>39275</c:v>
                </c:pt>
                <c:pt idx="1902">
                  <c:v>39276</c:v>
                </c:pt>
                <c:pt idx="1903">
                  <c:v>39279</c:v>
                </c:pt>
                <c:pt idx="1904">
                  <c:v>39280</c:v>
                </c:pt>
                <c:pt idx="1905">
                  <c:v>39281</c:v>
                </c:pt>
                <c:pt idx="1906">
                  <c:v>39282</c:v>
                </c:pt>
                <c:pt idx="1907">
                  <c:v>39283</c:v>
                </c:pt>
                <c:pt idx="1908">
                  <c:v>39286</c:v>
                </c:pt>
                <c:pt idx="1909">
                  <c:v>39287</c:v>
                </c:pt>
                <c:pt idx="1910">
                  <c:v>39288</c:v>
                </c:pt>
                <c:pt idx="1911">
                  <c:v>39289</c:v>
                </c:pt>
                <c:pt idx="1912">
                  <c:v>39290</c:v>
                </c:pt>
                <c:pt idx="1913">
                  <c:v>39293</c:v>
                </c:pt>
                <c:pt idx="1914">
                  <c:v>39294</c:v>
                </c:pt>
                <c:pt idx="1915">
                  <c:v>39295</c:v>
                </c:pt>
                <c:pt idx="1916">
                  <c:v>39296</c:v>
                </c:pt>
                <c:pt idx="1917">
                  <c:v>39297</c:v>
                </c:pt>
                <c:pt idx="1918">
                  <c:v>39300</c:v>
                </c:pt>
                <c:pt idx="1919">
                  <c:v>39301</c:v>
                </c:pt>
                <c:pt idx="1920">
                  <c:v>39302</c:v>
                </c:pt>
                <c:pt idx="1921">
                  <c:v>39303</c:v>
                </c:pt>
                <c:pt idx="1922">
                  <c:v>39304</c:v>
                </c:pt>
                <c:pt idx="1923">
                  <c:v>39307</c:v>
                </c:pt>
                <c:pt idx="1924">
                  <c:v>39308</c:v>
                </c:pt>
                <c:pt idx="1925">
                  <c:v>39309</c:v>
                </c:pt>
                <c:pt idx="1926">
                  <c:v>39310</c:v>
                </c:pt>
                <c:pt idx="1927">
                  <c:v>39311</c:v>
                </c:pt>
                <c:pt idx="1928">
                  <c:v>39314</c:v>
                </c:pt>
                <c:pt idx="1929">
                  <c:v>39315</c:v>
                </c:pt>
                <c:pt idx="1930">
                  <c:v>39316</c:v>
                </c:pt>
                <c:pt idx="1931">
                  <c:v>39317</c:v>
                </c:pt>
                <c:pt idx="1932">
                  <c:v>39318</c:v>
                </c:pt>
                <c:pt idx="1933">
                  <c:v>39321</c:v>
                </c:pt>
                <c:pt idx="1934">
                  <c:v>39322</c:v>
                </c:pt>
                <c:pt idx="1935">
                  <c:v>39323</c:v>
                </c:pt>
                <c:pt idx="1936">
                  <c:v>39324</c:v>
                </c:pt>
                <c:pt idx="1937">
                  <c:v>39325</c:v>
                </c:pt>
                <c:pt idx="1938">
                  <c:v>39328</c:v>
                </c:pt>
                <c:pt idx="1939">
                  <c:v>39329</c:v>
                </c:pt>
                <c:pt idx="1940">
                  <c:v>39330</c:v>
                </c:pt>
                <c:pt idx="1941">
                  <c:v>39331</c:v>
                </c:pt>
                <c:pt idx="1942">
                  <c:v>39332</c:v>
                </c:pt>
                <c:pt idx="1943">
                  <c:v>39335</c:v>
                </c:pt>
                <c:pt idx="1944">
                  <c:v>39336</c:v>
                </c:pt>
                <c:pt idx="1945">
                  <c:v>39337</c:v>
                </c:pt>
                <c:pt idx="1946">
                  <c:v>39338</c:v>
                </c:pt>
                <c:pt idx="1947">
                  <c:v>39339</c:v>
                </c:pt>
                <c:pt idx="1948">
                  <c:v>39342</c:v>
                </c:pt>
                <c:pt idx="1949">
                  <c:v>39343</c:v>
                </c:pt>
                <c:pt idx="1950">
                  <c:v>39344</c:v>
                </c:pt>
                <c:pt idx="1951">
                  <c:v>39345</c:v>
                </c:pt>
                <c:pt idx="1952">
                  <c:v>39346</c:v>
                </c:pt>
                <c:pt idx="1953">
                  <c:v>39349</c:v>
                </c:pt>
                <c:pt idx="1954">
                  <c:v>39350</c:v>
                </c:pt>
                <c:pt idx="1955">
                  <c:v>39351</c:v>
                </c:pt>
                <c:pt idx="1956">
                  <c:v>39352</c:v>
                </c:pt>
                <c:pt idx="1957">
                  <c:v>39353</c:v>
                </c:pt>
                <c:pt idx="1958">
                  <c:v>39356</c:v>
                </c:pt>
                <c:pt idx="1959">
                  <c:v>39357</c:v>
                </c:pt>
                <c:pt idx="1960">
                  <c:v>39358</c:v>
                </c:pt>
                <c:pt idx="1961">
                  <c:v>39359</c:v>
                </c:pt>
                <c:pt idx="1962">
                  <c:v>39360</c:v>
                </c:pt>
                <c:pt idx="1963">
                  <c:v>39363</c:v>
                </c:pt>
                <c:pt idx="1964">
                  <c:v>39364</c:v>
                </c:pt>
                <c:pt idx="1965">
                  <c:v>39365</c:v>
                </c:pt>
                <c:pt idx="1966">
                  <c:v>39366</c:v>
                </c:pt>
                <c:pt idx="1967">
                  <c:v>39367</c:v>
                </c:pt>
                <c:pt idx="1968">
                  <c:v>39370</c:v>
                </c:pt>
                <c:pt idx="1969">
                  <c:v>39371</c:v>
                </c:pt>
                <c:pt idx="1970">
                  <c:v>39372</c:v>
                </c:pt>
                <c:pt idx="1971">
                  <c:v>39373</c:v>
                </c:pt>
                <c:pt idx="1972">
                  <c:v>39374</c:v>
                </c:pt>
                <c:pt idx="1973">
                  <c:v>39377</c:v>
                </c:pt>
                <c:pt idx="1974">
                  <c:v>39378</c:v>
                </c:pt>
                <c:pt idx="1975">
                  <c:v>39379</c:v>
                </c:pt>
                <c:pt idx="1976">
                  <c:v>39380</c:v>
                </c:pt>
                <c:pt idx="1977">
                  <c:v>39381</c:v>
                </c:pt>
                <c:pt idx="1978">
                  <c:v>39384</c:v>
                </c:pt>
                <c:pt idx="1979">
                  <c:v>39385</c:v>
                </c:pt>
                <c:pt idx="1980">
                  <c:v>39386</c:v>
                </c:pt>
                <c:pt idx="1981">
                  <c:v>39387</c:v>
                </c:pt>
                <c:pt idx="1982">
                  <c:v>39388</c:v>
                </c:pt>
                <c:pt idx="1983">
                  <c:v>39391</c:v>
                </c:pt>
                <c:pt idx="1984">
                  <c:v>39392</c:v>
                </c:pt>
                <c:pt idx="1985">
                  <c:v>39393</c:v>
                </c:pt>
                <c:pt idx="1986">
                  <c:v>39394</c:v>
                </c:pt>
                <c:pt idx="1987">
                  <c:v>39395</c:v>
                </c:pt>
                <c:pt idx="1988">
                  <c:v>39398</c:v>
                </c:pt>
                <c:pt idx="1989">
                  <c:v>39399</c:v>
                </c:pt>
                <c:pt idx="1990">
                  <c:v>39400</c:v>
                </c:pt>
                <c:pt idx="1991">
                  <c:v>39401</c:v>
                </c:pt>
                <c:pt idx="1992">
                  <c:v>39402</c:v>
                </c:pt>
                <c:pt idx="1993">
                  <c:v>39405</c:v>
                </c:pt>
                <c:pt idx="1994">
                  <c:v>39406</c:v>
                </c:pt>
                <c:pt idx="1995">
                  <c:v>39407</c:v>
                </c:pt>
                <c:pt idx="1996">
                  <c:v>39408</c:v>
                </c:pt>
                <c:pt idx="1997">
                  <c:v>39409</c:v>
                </c:pt>
                <c:pt idx="1998">
                  <c:v>39412</c:v>
                </c:pt>
                <c:pt idx="1999">
                  <c:v>39413</c:v>
                </c:pt>
                <c:pt idx="2000">
                  <c:v>39414</c:v>
                </c:pt>
                <c:pt idx="2001">
                  <c:v>39415</c:v>
                </c:pt>
                <c:pt idx="2002">
                  <c:v>39416</c:v>
                </c:pt>
                <c:pt idx="2003">
                  <c:v>39419</c:v>
                </c:pt>
                <c:pt idx="2004">
                  <c:v>39420</c:v>
                </c:pt>
                <c:pt idx="2005">
                  <c:v>39421</c:v>
                </c:pt>
                <c:pt idx="2006">
                  <c:v>39422</c:v>
                </c:pt>
                <c:pt idx="2007">
                  <c:v>39423</c:v>
                </c:pt>
                <c:pt idx="2008">
                  <c:v>39426</c:v>
                </c:pt>
                <c:pt idx="2009">
                  <c:v>39427</c:v>
                </c:pt>
                <c:pt idx="2010">
                  <c:v>39428</c:v>
                </c:pt>
                <c:pt idx="2011">
                  <c:v>39429</c:v>
                </c:pt>
                <c:pt idx="2012">
                  <c:v>39430</c:v>
                </c:pt>
                <c:pt idx="2013">
                  <c:v>39433</c:v>
                </c:pt>
                <c:pt idx="2014">
                  <c:v>39434</c:v>
                </c:pt>
                <c:pt idx="2015">
                  <c:v>39435</c:v>
                </c:pt>
                <c:pt idx="2016">
                  <c:v>39436</c:v>
                </c:pt>
                <c:pt idx="2017">
                  <c:v>39437</c:v>
                </c:pt>
                <c:pt idx="2018">
                  <c:v>39443</c:v>
                </c:pt>
                <c:pt idx="2019">
                  <c:v>39444</c:v>
                </c:pt>
                <c:pt idx="2020">
                  <c:v>39447</c:v>
                </c:pt>
                <c:pt idx="2021">
                  <c:v>39449</c:v>
                </c:pt>
                <c:pt idx="2022">
                  <c:v>39450</c:v>
                </c:pt>
                <c:pt idx="2023">
                  <c:v>39451</c:v>
                </c:pt>
                <c:pt idx="2024">
                  <c:v>39454</c:v>
                </c:pt>
                <c:pt idx="2025">
                  <c:v>39455</c:v>
                </c:pt>
                <c:pt idx="2026">
                  <c:v>39456</c:v>
                </c:pt>
                <c:pt idx="2027">
                  <c:v>39457</c:v>
                </c:pt>
                <c:pt idx="2028">
                  <c:v>39458</c:v>
                </c:pt>
                <c:pt idx="2029">
                  <c:v>39461</c:v>
                </c:pt>
                <c:pt idx="2030">
                  <c:v>39462</c:v>
                </c:pt>
                <c:pt idx="2031">
                  <c:v>39463</c:v>
                </c:pt>
                <c:pt idx="2032">
                  <c:v>39464</c:v>
                </c:pt>
                <c:pt idx="2033">
                  <c:v>39465</c:v>
                </c:pt>
                <c:pt idx="2034">
                  <c:v>39468</c:v>
                </c:pt>
                <c:pt idx="2035">
                  <c:v>39469</c:v>
                </c:pt>
                <c:pt idx="2036">
                  <c:v>39470</c:v>
                </c:pt>
                <c:pt idx="2037">
                  <c:v>39471</c:v>
                </c:pt>
                <c:pt idx="2038">
                  <c:v>39472</c:v>
                </c:pt>
                <c:pt idx="2039">
                  <c:v>39475</c:v>
                </c:pt>
                <c:pt idx="2040">
                  <c:v>39476</c:v>
                </c:pt>
                <c:pt idx="2041">
                  <c:v>39477</c:v>
                </c:pt>
                <c:pt idx="2042">
                  <c:v>39478</c:v>
                </c:pt>
                <c:pt idx="2043">
                  <c:v>39479</c:v>
                </c:pt>
                <c:pt idx="2044">
                  <c:v>39482</c:v>
                </c:pt>
                <c:pt idx="2045">
                  <c:v>39483</c:v>
                </c:pt>
                <c:pt idx="2046">
                  <c:v>39484</c:v>
                </c:pt>
                <c:pt idx="2047">
                  <c:v>39485</c:v>
                </c:pt>
                <c:pt idx="2048">
                  <c:v>39486</c:v>
                </c:pt>
                <c:pt idx="2049">
                  <c:v>39489</c:v>
                </c:pt>
                <c:pt idx="2050">
                  <c:v>39490</c:v>
                </c:pt>
                <c:pt idx="2051">
                  <c:v>39491</c:v>
                </c:pt>
                <c:pt idx="2052">
                  <c:v>39492</c:v>
                </c:pt>
                <c:pt idx="2053">
                  <c:v>39493</c:v>
                </c:pt>
                <c:pt idx="2054">
                  <c:v>39496</c:v>
                </c:pt>
                <c:pt idx="2055">
                  <c:v>39497</c:v>
                </c:pt>
                <c:pt idx="2056">
                  <c:v>39498</c:v>
                </c:pt>
                <c:pt idx="2057">
                  <c:v>39499</c:v>
                </c:pt>
                <c:pt idx="2058">
                  <c:v>39500</c:v>
                </c:pt>
                <c:pt idx="2059">
                  <c:v>39503</c:v>
                </c:pt>
                <c:pt idx="2060">
                  <c:v>39504</c:v>
                </c:pt>
                <c:pt idx="2061">
                  <c:v>39505</c:v>
                </c:pt>
                <c:pt idx="2062">
                  <c:v>39506</c:v>
                </c:pt>
                <c:pt idx="2063">
                  <c:v>39507</c:v>
                </c:pt>
                <c:pt idx="2064">
                  <c:v>39510</c:v>
                </c:pt>
                <c:pt idx="2065">
                  <c:v>39511</c:v>
                </c:pt>
                <c:pt idx="2066">
                  <c:v>39512</c:v>
                </c:pt>
                <c:pt idx="2067">
                  <c:v>39513</c:v>
                </c:pt>
                <c:pt idx="2068">
                  <c:v>39514</c:v>
                </c:pt>
                <c:pt idx="2069">
                  <c:v>39517</c:v>
                </c:pt>
                <c:pt idx="2070">
                  <c:v>39518</c:v>
                </c:pt>
                <c:pt idx="2071">
                  <c:v>39519</c:v>
                </c:pt>
                <c:pt idx="2072">
                  <c:v>39520</c:v>
                </c:pt>
                <c:pt idx="2073">
                  <c:v>39521</c:v>
                </c:pt>
                <c:pt idx="2074">
                  <c:v>39524</c:v>
                </c:pt>
                <c:pt idx="2075">
                  <c:v>39525</c:v>
                </c:pt>
                <c:pt idx="2076">
                  <c:v>39526</c:v>
                </c:pt>
                <c:pt idx="2077">
                  <c:v>39527</c:v>
                </c:pt>
                <c:pt idx="2078">
                  <c:v>39532</c:v>
                </c:pt>
                <c:pt idx="2079">
                  <c:v>39533</c:v>
                </c:pt>
                <c:pt idx="2080">
                  <c:v>39534</c:v>
                </c:pt>
                <c:pt idx="2081">
                  <c:v>39535</c:v>
                </c:pt>
                <c:pt idx="2082">
                  <c:v>39538</c:v>
                </c:pt>
                <c:pt idx="2083">
                  <c:v>39539</c:v>
                </c:pt>
                <c:pt idx="2084">
                  <c:v>39540</c:v>
                </c:pt>
                <c:pt idx="2085">
                  <c:v>39541</c:v>
                </c:pt>
                <c:pt idx="2086">
                  <c:v>39542</c:v>
                </c:pt>
                <c:pt idx="2087">
                  <c:v>39545</c:v>
                </c:pt>
                <c:pt idx="2088">
                  <c:v>39546</c:v>
                </c:pt>
                <c:pt idx="2089">
                  <c:v>39547</c:v>
                </c:pt>
                <c:pt idx="2090">
                  <c:v>39548</c:v>
                </c:pt>
                <c:pt idx="2091">
                  <c:v>39549</c:v>
                </c:pt>
                <c:pt idx="2092">
                  <c:v>39552</c:v>
                </c:pt>
                <c:pt idx="2093">
                  <c:v>39553</c:v>
                </c:pt>
                <c:pt idx="2094">
                  <c:v>39554</c:v>
                </c:pt>
                <c:pt idx="2095">
                  <c:v>39555</c:v>
                </c:pt>
                <c:pt idx="2096">
                  <c:v>39556</c:v>
                </c:pt>
                <c:pt idx="2097">
                  <c:v>39559</c:v>
                </c:pt>
                <c:pt idx="2098">
                  <c:v>39560</c:v>
                </c:pt>
                <c:pt idx="2099">
                  <c:v>39561</c:v>
                </c:pt>
                <c:pt idx="2100">
                  <c:v>39562</c:v>
                </c:pt>
                <c:pt idx="2101">
                  <c:v>39563</c:v>
                </c:pt>
                <c:pt idx="2102">
                  <c:v>39566</c:v>
                </c:pt>
                <c:pt idx="2103">
                  <c:v>39567</c:v>
                </c:pt>
                <c:pt idx="2104">
                  <c:v>39568</c:v>
                </c:pt>
                <c:pt idx="2105">
                  <c:v>39569</c:v>
                </c:pt>
                <c:pt idx="2106">
                  <c:v>39570</c:v>
                </c:pt>
                <c:pt idx="2107">
                  <c:v>39573</c:v>
                </c:pt>
                <c:pt idx="2108">
                  <c:v>39574</c:v>
                </c:pt>
                <c:pt idx="2109">
                  <c:v>39575</c:v>
                </c:pt>
                <c:pt idx="2110">
                  <c:v>39576</c:v>
                </c:pt>
                <c:pt idx="2111">
                  <c:v>39577</c:v>
                </c:pt>
                <c:pt idx="2112">
                  <c:v>39580</c:v>
                </c:pt>
                <c:pt idx="2113">
                  <c:v>39581</c:v>
                </c:pt>
                <c:pt idx="2114">
                  <c:v>39582</c:v>
                </c:pt>
                <c:pt idx="2115">
                  <c:v>39583</c:v>
                </c:pt>
                <c:pt idx="2116">
                  <c:v>39584</c:v>
                </c:pt>
                <c:pt idx="2117">
                  <c:v>39587</c:v>
                </c:pt>
                <c:pt idx="2118">
                  <c:v>39588</c:v>
                </c:pt>
                <c:pt idx="2119">
                  <c:v>39589</c:v>
                </c:pt>
                <c:pt idx="2120">
                  <c:v>39590</c:v>
                </c:pt>
                <c:pt idx="2121">
                  <c:v>39591</c:v>
                </c:pt>
                <c:pt idx="2122">
                  <c:v>39594</c:v>
                </c:pt>
                <c:pt idx="2123">
                  <c:v>39595</c:v>
                </c:pt>
                <c:pt idx="2124">
                  <c:v>39596</c:v>
                </c:pt>
                <c:pt idx="2125">
                  <c:v>39597</c:v>
                </c:pt>
                <c:pt idx="2126">
                  <c:v>39598</c:v>
                </c:pt>
                <c:pt idx="2127">
                  <c:v>39601</c:v>
                </c:pt>
                <c:pt idx="2128">
                  <c:v>39602</c:v>
                </c:pt>
                <c:pt idx="2129">
                  <c:v>39603</c:v>
                </c:pt>
                <c:pt idx="2130">
                  <c:v>39604</c:v>
                </c:pt>
                <c:pt idx="2131">
                  <c:v>39605</c:v>
                </c:pt>
                <c:pt idx="2132">
                  <c:v>39608</c:v>
                </c:pt>
                <c:pt idx="2133">
                  <c:v>39609</c:v>
                </c:pt>
                <c:pt idx="2134">
                  <c:v>39610</c:v>
                </c:pt>
                <c:pt idx="2135">
                  <c:v>39611</c:v>
                </c:pt>
                <c:pt idx="2136">
                  <c:v>39612</c:v>
                </c:pt>
                <c:pt idx="2137">
                  <c:v>39615</c:v>
                </c:pt>
                <c:pt idx="2138">
                  <c:v>39616</c:v>
                </c:pt>
                <c:pt idx="2139">
                  <c:v>39617</c:v>
                </c:pt>
                <c:pt idx="2140">
                  <c:v>39618</c:v>
                </c:pt>
                <c:pt idx="2141">
                  <c:v>39619</c:v>
                </c:pt>
                <c:pt idx="2142">
                  <c:v>39622</c:v>
                </c:pt>
                <c:pt idx="2143">
                  <c:v>39623</c:v>
                </c:pt>
                <c:pt idx="2144">
                  <c:v>39624</c:v>
                </c:pt>
                <c:pt idx="2145">
                  <c:v>39625</c:v>
                </c:pt>
                <c:pt idx="2146">
                  <c:v>39626</c:v>
                </c:pt>
                <c:pt idx="2147">
                  <c:v>39629</c:v>
                </c:pt>
                <c:pt idx="2148">
                  <c:v>39630</c:v>
                </c:pt>
                <c:pt idx="2149">
                  <c:v>39631</c:v>
                </c:pt>
                <c:pt idx="2150">
                  <c:v>39632</c:v>
                </c:pt>
                <c:pt idx="2151">
                  <c:v>39633</c:v>
                </c:pt>
                <c:pt idx="2152">
                  <c:v>39636</c:v>
                </c:pt>
                <c:pt idx="2153">
                  <c:v>39637</c:v>
                </c:pt>
                <c:pt idx="2154">
                  <c:v>39638</c:v>
                </c:pt>
                <c:pt idx="2155">
                  <c:v>39639</c:v>
                </c:pt>
                <c:pt idx="2156">
                  <c:v>39640</c:v>
                </c:pt>
                <c:pt idx="2157">
                  <c:v>39643</c:v>
                </c:pt>
                <c:pt idx="2158">
                  <c:v>39644</c:v>
                </c:pt>
                <c:pt idx="2159">
                  <c:v>39645</c:v>
                </c:pt>
                <c:pt idx="2160">
                  <c:v>39646</c:v>
                </c:pt>
                <c:pt idx="2161">
                  <c:v>39647</c:v>
                </c:pt>
                <c:pt idx="2162">
                  <c:v>39650</c:v>
                </c:pt>
                <c:pt idx="2163">
                  <c:v>39651</c:v>
                </c:pt>
                <c:pt idx="2164">
                  <c:v>39652</c:v>
                </c:pt>
                <c:pt idx="2165">
                  <c:v>39653</c:v>
                </c:pt>
                <c:pt idx="2166">
                  <c:v>39654</c:v>
                </c:pt>
                <c:pt idx="2167">
                  <c:v>39657</c:v>
                </c:pt>
                <c:pt idx="2168">
                  <c:v>39658</c:v>
                </c:pt>
                <c:pt idx="2169">
                  <c:v>39659</c:v>
                </c:pt>
                <c:pt idx="2170">
                  <c:v>39660</c:v>
                </c:pt>
                <c:pt idx="2171">
                  <c:v>39661</c:v>
                </c:pt>
                <c:pt idx="2172">
                  <c:v>39664</c:v>
                </c:pt>
                <c:pt idx="2173">
                  <c:v>39665</c:v>
                </c:pt>
                <c:pt idx="2174">
                  <c:v>39666</c:v>
                </c:pt>
                <c:pt idx="2175">
                  <c:v>39667</c:v>
                </c:pt>
                <c:pt idx="2176">
                  <c:v>39668</c:v>
                </c:pt>
                <c:pt idx="2177">
                  <c:v>39671</c:v>
                </c:pt>
                <c:pt idx="2178">
                  <c:v>39672</c:v>
                </c:pt>
                <c:pt idx="2179">
                  <c:v>39673</c:v>
                </c:pt>
                <c:pt idx="2180">
                  <c:v>39674</c:v>
                </c:pt>
                <c:pt idx="2181">
                  <c:v>39675</c:v>
                </c:pt>
                <c:pt idx="2182">
                  <c:v>39678</c:v>
                </c:pt>
                <c:pt idx="2183">
                  <c:v>39679</c:v>
                </c:pt>
                <c:pt idx="2184">
                  <c:v>39680</c:v>
                </c:pt>
                <c:pt idx="2185">
                  <c:v>39681</c:v>
                </c:pt>
                <c:pt idx="2186">
                  <c:v>39682</c:v>
                </c:pt>
                <c:pt idx="2187">
                  <c:v>39685</c:v>
                </c:pt>
                <c:pt idx="2188">
                  <c:v>39686</c:v>
                </c:pt>
                <c:pt idx="2189">
                  <c:v>39687</c:v>
                </c:pt>
                <c:pt idx="2190">
                  <c:v>39688</c:v>
                </c:pt>
                <c:pt idx="2191">
                  <c:v>39689</c:v>
                </c:pt>
                <c:pt idx="2192">
                  <c:v>39692</c:v>
                </c:pt>
                <c:pt idx="2193">
                  <c:v>39693</c:v>
                </c:pt>
                <c:pt idx="2194">
                  <c:v>39694</c:v>
                </c:pt>
                <c:pt idx="2195">
                  <c:v>39695</c:v>
                </c:pt>
                <c:pt idx="2196">
                  <c:v>39696</c:v>
                </c:pt>
                <c:pt idx="2197">
                  <c:v>39699</c:v>
                </c:pt>
                <c:pt idx="2198">
                  <c:v>39700</c:v>
                </c:pt>
                <c:pt idx="2199">
                  <c:v>39701</c:v>
                </c:pt>
                <c:pt idx="2200">
                  <c:v>39702</c:v>
                </c:pt>
                <c:pt idx="2201">
                  <c:v>39703</c:v>
                </c:pt>
                <c:pt idx="2202">
                  <c:v>39706</c:v>
                </c:pt>
                <c:pt idx="2203">
                  <c:v>39707</c:v>
                </c:pt>
                <c:pt idx="2204">
                  <c:v>39708</c:v>
                </c:pt>
                <c:pt idx="2205">
                  <c:v>39709</c:v>
                </c:pt>
                <c:pt idx="2206">
                  <c:v>39710</c:v>
                </c:pt>
                <c:pt idx="2207">
                  <c:v>39713</c:v>
                </c:pt>
                <c:pt idx="2208">
                  <c:v>39714</c:v>
                </c:pt>
                <c:pt idx="2209">
                  <c:v>39715</c:v>
                </c:pt>
                <c:pt idx="2210">
                  <c:v>39716</c:v>
                </c:pt>
                <c:pt idx="2211">
                  <c:v>39717</c:v>
                </c:pt>
                <c:pt idx="2212">
                  <c:v>39720</c:v>
                </c:pt>
                <c:pt idx="2213">
                  <c:v>39721</c:v>
                </c:pt>
                <c:pt idx="2214">
                  <c:v>39722</c:v>
                </c:pt>
                <c:pt idx="2215">
                  <c:v>39723</c:v>
                </c:pt>
                <c:pt idx="2216">
                  <c:v>39724</c:v>
                </c:pt>
                <c:pt idx="2217">
                  <c:v>39727</c:v>
                </c:pt>
                <c:pt idx="2218">
                  <c:v>39728</c:v>
                </c:pt>
                <c:pt idx="2219">
                  <c:v>39729</c:v>
                </c:pt>
                <c:pt idx="2220">
                  <c:v>39730</c:v>
                </c:pt>
                <c:pt idx="2221">
                  <c:v>39731</c:v>
                </c:pt>
                <c:pt idx="2222">
                  <c:v>39734</c:v>
                </c:pt>
                <c:pt idx="2223">
                  <c:v>39735</c:v>
                </c:pt>
                <c:pt idx="2224">
                  <c:v>39736</c:v>
                </c:pt>
                <c:pt idx="2225">
                  <c:v>39737</c:v>
                </c:pt>
                <c:pt idx="2226">
                  <c:v>39738</c:v>
                </c:pt>
                <c:pt idx="2227">
                  <c:v>39741</c:v>
                </c:pt>
                <c:pt idx="2228">
                  <c:v>39742</c:v>
                </c:pt>
                <c:pt idx="2229">
                  <c:v>39743</c:v>
                </c:pt>
                <c:pt idx="2230">
                  <c:v>39744</c:v>
                </c:pt>
                <c:pt idx="2231">
                  <c:v>39745</c:v>
                </c:pt>
                <c:pt idx="2232">
                  <c:v>39748</c:v>
                </c:pt>
                <c:pt idx="2233">
                  <c:v>39749</c:v>
                </c:pt>
                <c:pt idx="2234">
                  <c:v>39750</c:v>
                </c:pt>
                <c:pt idx="2235">
                  <c:v>39751</c:v>
                </c:pt>
                <c:pt idx="2236">
                  <c:v>39752</c:v>
                </c:pt>
                <c:pt idx="2237">
                  <c:v>39755</c:v>
                </c:pt>
                <c:pt idx="2238">
                  <c:v>39756</c:v>
                </c:pt>
                <c:pt idx="2239">
                  <c:v>39757</c:v>
                </c:pt>
                <c:pt idx="2240">
                  <c:v>39758</c:v>
                </c:pt>
                <c:pt idx="2241">
                  <c:v>39759</c:v>
                </c:pt>
                <c:pt idx="2242">
                  <c:v>39762</c:v>
                </c:pt>
                <c:pt idx="2243">
                  <c:v>39763</c:v>
                </c:pt>
                <c:pt idx="2244">
                  <c:v>39764</c:v>
                </c:pt>
                <c:pt idx="2245">
                  <c:v>39765</c:v>
                </c:pt>
                <c:pt idx="2246">
                  <c:v>39766</c:v>
                </c:pt>
                <c:pt idx="2247">
                  <c:v>39769</c:v>
                </c:pt>
                <c:pt idx="2248">
                  <c:v>39770</c:v>
                </c:pt>
                <c:pt idx="2249">
                  <c:v>39771</c:v>
                </c:pt>
                <c:pt idx="2250">
                  <c:v>39772</c:v>
                </c:pt>
                <c:pt idx="2251">
                  <c:v>39773</c:v>
                </c:pt>
                <c:pt idx="2252">
                  <c:v>39776</c:v>
                </c:pt>
                <c:pt idx="2253">
                  <c:v>39777</c:v>
                </c:pt>
                <c:pt idx="2254">
                  <c:v>39778</c:v>
                </c:pt>
                <c:pt idx="2255">
                  <c:v>39779</c:v>
                </c:pt>
                <c:pt idx="2256">
                  <c:v>39780</c:v>
                </c:pt>
                <c:pt idx="2257">
                  <c:v>39783</c:v>
                </c:pt>
                <c:pt idx="2258">
                  <c:v>39784</c:v>
                </c:pt>
                <c:pt idx="2259">
                  <c:v>39785</c:v>
                </c:pt>
                <c:pt idx="2260">
                  <c:v>39786</c:v>
                </c:pt>
                <c:pt idx="2261">
                  <c:v>39787</c:v>
                </c:pt>
                <c:pt idx="2262">
                  <c:v>39790</c:v>
                </c:pt>
                <c:pt idx="2263">
                  <c:v>39791</c:v>
                </c:pt>
                <c:pt idx="2264">
                  <c:v>39792</c:v>
                </c:pt>
                <c:pt idx="2265">
                  <c:v>39793</c:v>
                </c:pt>
                <c:pt idx="2266">
                  <c:v>39794</c:v>
                </c:pt>
                <c:pt idx="2267">
                  <c:v>39797</c:v>
                </c:pt>
                <c:pt idx="2268">
                  <c:v>39798</c:v>
                </c:pt>
                <c:pt idx="2269">
                  <c:v>39799</c:v>
                </c:pt>
                <c:pt idx="2270">
                  <c:v>39800</c:v>
                </c:pt>
                <c:pt idx="2271">
                  <c:v>39801</c:v>
                </c:pt>
                <c:pt idx="2272">
                  <c:v>39804</c:v>
                </c:pt>
                <c:pt idx="2273">
                  <c:v>39805</c:v>
                </c:pt>
                <c:pt idx="2274">
                  <c:v>39806</c:v>
                </c:pt>
                <c:pt idx="2275">
                  <c:v>39811</c:v>
                </c:pt>
                <c:pt idx="2276">
                  <c:v>39812</c:v>
                </c:pt>
                <c:pt idx="2277">
                  <c:v>39813</c:v>
                </c:pt>
                <c:pt idx="2278">
                  <c:v>39815</c:v>
                </c:pt>
                <c:pt idx="2279">
                  <c:v>39818</c:v>
                </c:pt>
                <c:pt idx="2280">
                  <c:v>39819</c:v>
                </c:pt>
                <c:pt idx="2281">
                  <c:v>39820</c:v>
                </c:pt>
                <c:pt idx="2282">
                  <c:v>39821</c:v>
                </c:pt>
                <c:pt idx="2283">
                  <c:v>39822</c:v>
                </c:pt>
                <c:pt idx="2284">
                  <c:v>39825</c:v>
                </c:pt>
                <c:pt idx="2285">
                  <c:v>39826</c:v>
                </c:pt>
                <c:pt idx="2286">
                  <c:v>39827</c:v>
                </c:pt>
                <c:pt idx="2287">
                  <c:v>39828</c:v>
                </c:pt>
                <c:pt idx="2288">
                  <c:v>39829</c:v>
                </c:pt>
                <c:pt idx="2289">
                  <c:v>39832</c:v>
                </c:pt>
                <c:pt idx="2290">
                  <c:v>39833</c:v>
                </c:pt>
                <c:pt idx="2291">
                  <c:v>39834</c:v>
                </c:pt>
                <c:pt idx="2292">
                  <c:v>39835</c:v>
                </c:pt>
                <c:pt idx="2293">
                  <c:v>39836</c:v>
                </c:pt>
                <c:pt idx="2294">
                  <c:v>39839</c:v>
                </c:pt>
                <c:pt idx="2295">
                  <c:v>39840</c:v>
                </c:pt>
                <c:pt idx="2296">
                  <c:v>39841</c:v>
                </c:pt>
                <c:pt idx="2297">
                  <c:v>39842</c:v>
                </c:pt>
                <c:pt idx="2298">
                  <c:v>39843</c:v>
                </c:pt>
                <c:pt idx="2299">
                  <c:v>39846</c:v>
                </c:pt>
                <c:pt idx="2300">
                  <c:v>39847</c:v>
                </c:pt>
                <c:pt idx="2301">
                  <c:v>39848</c:v>
                </c:pt>
                <c:pt idx="2302">
                  <c:v>39849</c:v>
                </c:pt>
                <c:pt idx="2303">
                  <c:v>39850</c:v>
                </c:pt>
                <c:pt idx="2304">
                  <c:v>39853</c:v>
                </c:pt>
                <c:pt idx="2305">
                  <c:v>39854</c:v>
                </c:pt>
                <c:pt idx="2306">
                  <c:v>39855</c:v>
                </c:pt>
                <c:pt idx="2307">
                  <c:v>39856</c:v>
                </c:pt>
                <c:pt idx="2308">
                  <c:v>39857</c:v>
                </c:pt>
                <c:pt idx="2309">
                  <c:v>39860</c:v>
                </c:pt>
                <c:pt idx="2310">
                  <c:v>39861</c:v>
                </c:pt>
                <c:pt idx="2311">
                  <c:v>39862</c:v>
                </c:pt>
                <c:pt idx="2312">
                  <c:v>39863</c:v>
                </c:pt>
                <c:pt idx="2313">
                  <c:v>39864</c:v>
                </c:pt>
                <c:pt idx="2314">
                  <c:v>39867</c:v>
                </c:pt>
                <c:pt idx="2315">
                  <c:v>39868</c:v>
                </c:pt>
                <c:pt idx="2316">
                  <c:v>39869</c:v>
                </c:pt>
                <c:pt idx="2317">
                  <c:v>39870</c:v>
                </c:pt>
                <c:pt idx="2318">
                  <c:v>39871</c:v>
                </c:pt>
                <c:pt idx="2319">
                  <c:v>39874</c:v>
                </c:pt>
                <c:pt idx="2320">
                  <c:v>39875</c:v>
                </c:pt>
                <c:pt idx="2321">
                  <c:v>39876</c:v>
                </c:pt>
                <c:pt idx="2322">
                  <c:v>39877</c:v>
                </c:pt>
                <c:pt idx="2323">
                  <c:v>39878</c:v>
                </c:pt>
                <c:pt idx="2324">
                  <c:v>39881</c:v>
                </c:pt>
                <c:pt idx="2325">
                  <c:v>39882</c:v>
                </c:pt>
                <c:pt idx="2326">
                  <c:v>39883</c:v>
                </c:pt>
                <c:pt idx="2327">
                  <c:v>39884</c:v>
                </c:pt>
                <c:pt idx="2328">
                  <c:v>39885</c:v>
                </c:pt>
                <c:pt idx="2329">
                  <c:v>39888</c:v>
                </c:pt>
                <c:pt idx="2330">
                  <c:v>39889</c:v>
                </c:pt>
                <c:pt idx="2331">
                  <c:v>39890</c:v>
                </c:pt>
                <c:pt idx="2332">
                  <c:v>39891</c:v>
                </c:pt>
                <c:pt idx="2333">
                  <c:v>39892</c:v>
                </c:pt>
                <c:pt idx="2334">
                  <c:v>39895</c:v>
                </c:pt>
                <c:pt idx="2335">
                  <c:v>39896</c:v>
                </c:pt>
                <c:pt idx="2336">
                  <c:v>39897</c:v>
                </c:pt>
                <c:pt idx="2337">
                  <c:v>39898</c:v>
                </c:pt>
                <c:pt idx="2338">
                  <c:v>39899</c:v>
                </c:pt>
                <c:pt idx="2339">
                  <c:v>39902</c:v>
                </c:pt>
                <c:pt idx="2340">
                  <c:v>39903</c:v>
                </c:pt>
                <c:pt idx="2341">
                  <c:v>39904</c:v>
                </c:pt>
                <c:pt idx="2342">
                  <c:v>39905</c:v>
                </c:pt>
                <c:pt idx="2343">
                  <c:v>39906</c:v>
                </c:pt>
                <c:pt idx="2344">
                  <c:v>39909</c:v>
                </c:pt>
                <c:pt idx="2345">
                  <c:v>39910</c:v>
                </c:pt>
                <c:pt idx="2346">
                  <c:v>39911</c:v>
                </c:pt>
                <c:pt idx="2347">
                  <c:v>39912</c:v>
                </c:pt>
                <c:pt idx="2348">
                  <c:v>39917</c:v>
                </c:pt>
                <c:pt idx="2349">
                  <c:v>39918</c:v>
                </c:pt>
                <c:pt idx="2350">
                  <c:v>39919</c:v>
                </c:pt>
                <c:pt idx="2351">
                  <c:v>39920</c:v>
                </c:pt>
                <c:pt idx="2352">
                  <c:v>39923</c:v>
                </c:pt>
                <c:pt idx="2353">
                  <c:v>39924</c:v>
                </c:pt>
                <c:pt idx="2354">
                  <c:v>39925</c:v>
                </c:pt>
                <c:pt idx="2355">
                  <c:v>39926</c:v>
                </c:pt>
                <c:pt idx="2356">
                  <c:v>39927</c:v>
                </c:pt>
                <c:pt idx="2357">
                  <c:v>39930</c:v>
                </c:pt>
                <c:pt idx="2358">
                  <c:v>39931</c:v>
                </c:pt>
                <c:pt idx="2359">
                  <c:v>39932</c:v>
                </c:pt>
                <c:pt idx="2360">
                  <c:v>39933</c:v>
                </c:pt>
                <c:pt idx="2361">
                  <c:v>39934</c:v>
                </c:pt>
                <c:pt idx="2362">
                  <c:v>39937</c:v>
                </c:pt>
                <c:pt idx="2363">
                  <c:v>39938</c:v>
                </c:pt>
                <c:pt idx="2364">
                  <c:v>39939</c:v>
                </c:pt>
                <c:pt idx="2365">
                  <c:v>39940</c:v>
                </c:pt>
                <c:pt idx="2366">
                  <c:v>39941</c:v>
                </c:pt>
                <c:pt idx="2367">
                  <c:v>39944</c:v>
                </c:pt>
                <c:pt idx="2368">
                  <c:v>39945</c:v>
                </c:pt>
                <c:pt idx="2369">
                  <c:v>39946</c:v>
                </c:pt>
                <c:pt idx="2370">
                  <c:v>39947</c:v>
                </c:pt>
                <c:pt idx="2371">
                  <c:v>39948</c:v>
                </c:pt>
                <c:pt idx="2372">
                  <c:v>39951</c:v>
                </c:pt>
                <c:pt idx="2373">
                  <c:v>39952</c:v>
                </c:pt>
                <c:pt idx="2374">
                  <c:v>39953</c:v>
                </c:pt>
                <c:pt idx="2375">
                  <c:v>39954</c:v>
                </c:pt>
                <c:pt idx="2376">
                  <c:v>39955</c:v>
                </c:pt>
                <c:pt idx="2377">
                  <c:v>39958</c:v>
                </c:pt>
                <c:pt idx="2378">
                  <c:v>39959</c:v>
                </c:pt>
                <c:pt idx="2379">
                  <c:v>39960</c:v>
                </c:pt>
                <c:pt idx="2380">
                  <c:v>39961</c:v>
                </c:pt>
                <c:pt idx="2381">
                  <c:v>39962</c:v>
                </c:pt>
                <c:pt idx="2382">
                  <c:v>39965</c:v>
                </c:pt>
                <c:pt idx="2383">
                  <c:v>39966</c:v>
                </c:pt>
                <c:pt idx="2384">
                  <c:v>39967</c:v>
                </c:pt>
                <c:pt idx="2385">
                  <c:v>39968</c:v>
                </c:pt>
                <c:pt idx="2386">
                  <c:v>39969</c:v>
                </c:pt>
                <c:pt idx="2387">
                  <c:v>39972</c:v>
                </c:pt>
                <c:pt idx="2388">
                  <c:v>39973</c:v>
                </c:pt>
                <c:pt idx="2389">
                  <c:v>39974</c:v>
                </c:pt>
                <c:pt idx="2390">
                  <c:v>39975</c:v>
                </c:pt>
                <c:pt idx="2391">
                  <c:v>39976</c:v>
                </c:pt>
                <c:pt idx="2392">
                  <c:v>39979</c:v>
                </c:pt>
                <c:pt idx="2393">
                  <c:v>39980</c:v>
                </c:pt>
                <c:pt idx="2394">
                  <c:v>39981</c:v>
                </c:pt>
                <c:pt idx="2395">
                  <c:v>39982</c:v>
                </c:pt>
                <c:pt idx="2396">
                  <c:v>39983</c:v>
                </c:pt>
                <c:pt idx="2397">
                  <c:v>39986</c:v>
                </c:pt>
                <c:pt idx="2398">
                  <c:v>39987</c:v>
                </c:pt>
                <c:pt idx="2399">
                  <c:v>39988</c:v>
                </c:pt>
                <c:pt idx="2400">
                  <c:v>39989</c:v>
                </c:pt>
                <c:pt idx="2401">
                  <c:v>39990</c:v>
                </c:pt>
                <c:pt idx="2402">
                  <c:v>39993</c:v>
                </c:pt>
                <c:pt idx="2403">
                  <c:v>39994</c:v>
                </c:pt>
                <c:pt idx="2404">
                  <c:v>39995</c:v>
                </c:pt>
                <c:pt idx="2405">
                  <c:v>39996</c:v>
                </c:pt>
                <c:pt idx="2406">
                  <c:v>39997</c:v>
                </c:pt>
                <c:pt idx="2407">
                  <c:v>40000</c:v>
                </c:pt>
                <c:pt idx="2408">
                  <c:v>40001</c:v>
                </c:pt>
                <c:pt idx="2409">
                  <c:v>40002</c:v>
                </c:pt>
                <c:pt idx="2410">
                  <c:v>40003</c:v>
                </c:pt>
                <c:pt idx="2411">
                  <c:v>40004</c:v>
                </c:pt>
                <c:pt idx="2412">
                  <c:v>40007</c:v>
                </c:pt>
                <c:pt idx="2413">
                  <c:v>40008</c:v>
                </c:pt>
                <c:pt idx="2414">
                  <c:v>40009</c:v>
                </c:pt>
                <c:pt idx="2415">
                  <c:v>40010</c:v>
                </c:pt>
                <c:pt idx="2416">
                  <c:v>40011</c:v>
                </c:pt>
                <c:pt idx="2417">
                  <c:v>40014</c:v>
                </c:pt>
                <c:pt idx="2418">
                  <c:v>40015</c:v>
                </c:pt>
                <c:pt idx="2419">
                  <c:v>40016</c:v>
                </c:pt>
                <c:pt idx="2420">
                  <c:v>40017</c:v>
                </c:pt>
                <c:pt idx="2421">
                  <c:v>40018</c:v>
                </c:pt>
                <c:pt idx="2422">
                  <c:v>40021</c:v>
                </c:pt>
                <c:pt idx="2423">
                  <c:v>40022</c:v>
                </c:pt>
                <c:pt idx="2424">
                  <c:v>40023</c:v>
                </c:pt>
                <c:pt idx="2425">
                  <c:v>40024</c:v>
                </c:pt>
                <c:pt idx="2426">
                  <c:v>40025</c:v>
                </c:pt>
                <c:pt idx="2427">
                  <c:v>40028</c:v>
                </c:pt>
                <c:pt idx="2428">
                  <c:v>40029</c:v>
                </c:pt>
                <c:pt idx="2429">
                  <c:v>40030</c:v>
                </c:pt>
                <c:pt idx="2430">
                  <c:v>40031</c:v>
                </c:pt>
                <c:pt idx="2431">
                  <c:v>40032</c:v>
                </c:pt>
                <c:pt idx="2432">
                  <c:v>40035</c:v>
                </c:pt>
                <c:pt idx="2433">
                  <c:v>40036</c:v>
                </c:pt>
                <c:pt idx="2434">
                  <c:v>40037</c:v>
                </c:pt>
                <c:pt idx="2435">
                  <c:v>40038</c:v>
                </c:pt>
                <c:pt idx="2436">
                  <c:v>40039</c:v>
                </c:pt>
                <c:pt idx="2437">
                  <c:v>40042</c:v>
                </c:pt>
                <c:pt idx="2438">
                  <c:v>40043</c:v>
                </c:pt>
                <c:pt idx="2439">
                  <c:v>40044</c:v>
                </c:pt>
                <c:pt idx="2440">
                  <c:v>40045</c:v>
                </c:pt>
                <c:pt idx="2441">
                  <c:v>40046</c:v>
                </c:pt>
                <c:pt idx="2442">
                  <c:v>40049</c:v>
                </c:pt>
                <c:pt idx="2443">
                  <c:v>40050</c:v>
                </c:pt>
                <c:pt idx="2444">
                  <c:v>40051</c:v>
                </c:pt>
                <c:pt idx="2445">
                  <c:v>40052</c:v>
                </c:pt>
                <c:pt idx="2446">
                  <c:v>40053</c:v>
                </c:pt>
                <c:pt idx="2447">
                  <c:v>40056</c:v>
                </c:pt>
                <c:pt idx="2448">
                  <c:v>40057</c:v>
                </c:pt>
                <c:pt idx="2449">
                  <c:v>40058</c:v>
                </c:pt>
                <c:pt idx="2450">
                  <c:v>40059</c:v>
                </c:pt>
                <c:pt idx="2451">
                  <c:v>40060</c:v>
                </c:pt>
                <c:pt idx="2452">
                  <c:v>40063</c:v>
                </c:pt>
                <c:pt idx="2453">
                  <c:v>40064</c:v>
                </c:pt>
                <c:pt idx="2454">
                  <c:v>40065</c:v>
                </c:pt>
                <c:pt idx="2455">
                  <c:v>40066</c:v>
                </c:pt>
                <c:pt idx="2456">
                  <c:v>40067</c:v>
                </c:pt>
                <c:pt idx="2457">
                  <c:v>40070</c:v>
                </c:pt>
                <c:pt idx="2458">
                  <c:v>40071</c:v>
                </c:pt>
                <c:pt idx="2459">
                  <c:v>40072</c:v>
                </c:pt>
                <c:pt idx="2460">
                  <c:v>40073</c:v>
                </c:pt>
                <c:pt idx="2461">
                  <c:v>40074</c:v>
                </c:pt>
                <c:pt idx="2462">
                  <c:v>40077</c:v>
                </c:pt>
                <c:pt idx="2463">
                  <c:v>40078</c:v>
                </c:pt>
                <c:pt idx="2464">
                  <c:v>40079</c:v>
                </c:pt>
                <c:pt idx="2465">
                  <c:v>40080</c:v>
                </c:pt>
                <c:pt idx="2466">
                  <c:v>40081</c:v>
                </c:pt>
                <c:pt idx="2467">
                  <c:v>40084</c:v>
                </c:pt>
                <c:pt idx="2468">
                  <c:v>40085</c:v>
                </c:pt>
                <c:pt idx="2469">
                  <c:v>40086</c:v>
                </c:pt>
                <c:pt idx="2470">
                  <c:v>40087</c:v>
                </c:pt>
                <c:pt idx="2471">
                  <c:v>40088</c:v>
                </c:pt>
                <c:pt idx="2472">
                  <c:v>40091</c:v>
                </c:pt>
                <c:pt idx="2473">
                  <c:v>40092</c:v>
                </c:pt>
                <c:pt idx="2474">
                  <c:v>40093</c:v>
                </c:pt>
                <c:pt idx="2475">
                  <c:v>40094</c:v>
                </c:pt>
                <c:pt idx="2476">
                  <c:v>40095</c:v>
                </c:pt>
                <c:pt idx="2477">
                  <c:v>40098</c:v>
                </c:pt>
                <c:pt idx="2478">
                  <c:v>40099</c:v>
                </c:pt>
                <c:pt idx="2479">
                  <c:v>40100</c:v>
                </c:pt>
                <c:pt idx="2480">
                  <c:v>40101</c:v>
                </c:pt>
                <c:pt idx="2481">
                  <c:v>40102</c:v>
                </c:pt>
                <c:pt idx="2482">
                  <c:v>40105</c:v>
                </c:pt>
                <c:pt idx="2483">
                  <c:v>40106</c:v>
                </c:pt>
                <c:pt idx="2484">
                  <c:v>40107</c:v>
                </c:pt>
                <c:pt idx="2485">
                  <c:v>40108</c:v>
                </c:pt>
                <c:pt idx="2486">
                  <c:v>40109</c:v>
                </c:pt>
                <c:pt idx="2487">
                  <c:v>40112</c:v>
                </c:pt>
                <c:pt idx="2488">
                  <c:v>40113</c:v>
                </c:pt>
                <c:pt idx="2489">
                  <c:v>40114</c:v>
                </c:pt>
                <c:pt idx="2490">
                  <c:v>40115</c:v>
                </c:pt>
                <c:pt idx="2491">
                  <c:v>40116</c:v>
                </c:pt>
                <c:pt idx="2492">
                  <c:v>40119</c:v>
                </c:pt>
                <c:pt idx="2493">
                  <c:v>40120</c:v>
                </c:pt>
                <c:pt idx="2494">
                  <c:v>40121</c:v>
                </c:pt>
                <c:pt idx="2495">
                  <c:v>40122</c:v>
                </c:pt>
                <c:pt idx="2496">
                  <c:v>40123</c:v>
                </c:pt>
                <c:pt idx="2497">
                  <c:v>40126</c:v>
                </c:pt>
                <c:pt idx="2498">
                  <c:v>40127</c:v>
                </c:pt>
                <c:pt idx="2499">
                  <c:v>40128</c:v>
                </c:pt>
                <c:pt idx="2500">
                  <c:v>40129</c:v>
                </c:pt>
                <c:pt idx="2501">
                  <c:v>40130</c:v>
                </c:pt>
                <c:pt idx="2502">
                  <c:v>40133</c:v>
                </c:pt>
                <c:pt idx="2503">
                  <c:v>40134</c:v>
                </c:pt>
                <c:pt idx="2504">
                  <c:v>40135</c:v>
                </c:pt>
                <c:pt idx="2505">
                  <c:v>40136</c:v>
                </c:pt>
                <c:pt idx="2506">
                  <c:v>40137</c:v>
                </c:pt>
                <c:pt idx="2507">
                  <c:v>40140</c:v>
                </c:pt>
                <c:pt idx="2508">
                  <c:v>40141</c:v>
                </c:pt>
                <c:pt idx="2509">
                  <c:v>40142</c:v>
                </c:pt>
                <c:pt idx="2510">
                  <c:v>40143</c:v>
                </c:pt>
                <c:pt idx="2511">
                  <c:v>40144</c:v>
                </c:pt>
                <c:pt idx="2512">
                  <c:v>40147</c:v>
                </c:pt>
                <c:pt idx="2513">
                  <c:v>40148</c:v>
                </c:pt>
                <c:pt idx="2514">
                  <c:v>40149</c:v>
                </c:pt>
                <c:pt idx="2515">
                  <c:v>40150</c:v>
                </c:pt>
                <c:pt idx="2516">
                  <c:v>40151</c:v>
                </c:pt>
                <c:pt idx="2517">
                  <c:v>40154</c:v>
                </c:pt>
                <c:pt idx="2518">
                  <c:v>40155</c:v>
                </c:pt>
                <c:pt idx="2519">
                  <c:v>40156</c:v>
                </c:pt>
                <c:pt idx="2520">
                  <c:v>40157</c:v>
                </c:pt>
                <c:pt idx="2521">
                  <c:v>40158</c:v>
                </c:pt>
                <c:pt idx="2522">
                  <c:v>40161</c:v>
                </c:pt>
                <c:pt idx="2523">
                  <c:v>40162</c:v>
                </c:pt>
                <c:pt idx="2524">
                  <c:v>40163</c:v>
                </c:pt>
                <c:pt idx="2525">
                  <c:v>40164</c:v>
                </c:pt>
                <c:pt idx="2526">
                  <c:v>40165</c:v>
                </c:pt>
                <c:pt idx="2527">
                  <c:v>40168</c:v>
                </c:pt>
                <c:pt idx="2528">
                  <c:v>40169</c:v>
                </c:pt>
                <c:pt idx="2529">
                  <c:v>40170</c:v>
                </c:pt>
                <c:pt idx="2530">
                  <c:v>40171</c:v>
                </c:pt>
                <c:pt idx="2531">
                  <c:v>40175</c:v>
                </c:pt>
                <c:pt idx="2532">
                  <c:v>40176</c:v>
                </c:pt>
                <c:pt idx="2533">
                  <c:v>40177</c:v>
                </c:pt>
                <c:pt idx="2534">
                  <c:v>40178</c:v>
                </c:pt>
                <c:pt idx="2535">
                  <c:v>40182</c:v>
                </c:pt>
                <c:pt idx="2536">
                  <c:v>40183</c:v>
                </c:pt>
                <c:pt idx="2537">
                  <c:v>40184</c:v>
                </c:pt>
                <c:pt idx="2538">
                  <c:v>40185</c:v>
                </c:pt>
                <c:pt idx="2539">
                  <c:v>40186</c:v>
                </c:pt>
                <c:pt idx="2540">
                  <c:v>40189</c:v>
                </c:pt>
                <c:pt idx="2541">
                  <c:v>40190</c:v>
                </c:pt>
                <c:pt idx="2542">
                  <c:v>40191</c:v>
                </c:pt>
                <c:pt idx="2543">
                  <c:v>40192</c:v>
                </c:pt>
                <c:pt idx="2544">
                  <c:v>40193</c:v>
                </c:pt>
                <c:pt idx="2545">
                  <c:v>40196</c:v>
                </c:pt>
                <c:pt idx="2546">
                  <c:v>40197</c:v>
                </c:pt>
                <c:pt idx="2547">
                  <c:v>40198</c:v>
                </c:pt>
                <c:pt idx="2548">
                  <c:v>40199</c:v>
                </c:pt>
                <c:pt idx="2549">
                  <c:v>40200</c:v>
                </c:pt>
                <c:pt idx="2550">
                  <c:v>40203</c:v>
                </c:pt>
                <c:pt idx="2551">
                  <c:v>40204</c:v>
                </c:pt>
                <c:pt idx="2552">
                  <c:v>40205</c:v>
                </c:pt>
                <c:pt idx="2553">
                  <c:v>40206</c:v>
                </c:pt>
                <c:pt idx="2554">
                  <c:v>40207</c:v>
                </c:pt>
                <c:pt idx="2555">
                  <c:v>40210</c:v>
                </c:pt>
                <c:pt idx="2556">
                  <c:v>40211</c:v>
                </c:pt>
                <c:pt idx="2557">
                  <c:v>40212</c:v>
                </c:pt>
                <c:pt idx="2558">
                  <c:v>40213</c:v>
                </c:pt>
                <c:pt idx="2559">
                  <c:v>40214</c:v>
                </c:pt>
                <c:pt idx="2560">
                  <c:v>40217</c:v>
                </c:pt>
                <c:pt idx="2561">
                  <c:v>40218</c:v>
                </c:pt>
                <c:pt idx="2562">
                  <c:v>40219</c:v>
                </c:pt>
                <c:pt idx="2563">
                  <c:v>40220</c:v>
                </c:pt>
                <c:pt idx="2564">
                  <c:v>40221</c:v>
                </c:pt>
                <c:pt idx="2565">
                  <c:v>40224</c:v>
                </c:pt>
                <c:pt idx="2566">
                  <c:v>40225</c:v>
                </c:pt>
                <c:pt idx="2567">
                  <c:v>40226</c:v>
                </c:pt>
                <c:pt idx="2568">
                  <c:v>40227</c:v>
                </c:pt>
                <c:pt idx="2569">
                  <c:v>40228</c:v>
                </c:pt>
                <c:pt idx="2570">
                  <c:v>40231</c:v>
                </c:pt>
                <c:pt idx="2571">
                  <c:v>40232</c:v>
                </c:pt>
                <c:pt idx="2572">
                  <c:v>40233</c:v>
                </c:pt>
                <c:pt idx="2573">
                  <c:v>40234</c:v>
                </c:pt>
                <c:pt idx="2574">
                  <c:v>40235</c:v>
                </c:pt>
                <c:pt idx="2575">
                  <c:v>40238</c:v>
                </c:pt>
                <c:pt idx="2576">
                  <c:v>40239</c:v>
                </c:pt>
                <c:pt idx="2577">
                  <c:v>40240</c:v>
                </c:pt>
                <c:pt idx="2578">
                  <c:v>40241</c:v>
                </c:pt>
                <c:pt idx="2579">
                  <c:v>40242</c:v>
                </c:pt>
                <c:pt idx="2580">
                  <c:v>40245</c:v>
                </c:pt>
                <c:pt idx="2581">
                  <c:v>40246</c:v>
                </c:pt>
                <c:pt idx="2582">
                  <c:v>40247</c:v>
                </c:pt>
                <c:pt idx="2583">
                  <c:v>40248</c:v>
                </c:pt>
                <c:pt idx="2584">
                  <c:v>40249</c:v>
                </c:pt>
                <c:pt idx="2585">
                  <c:v>40252</c:v>
                </c:pt>
                <c:pt idx="2586">
                  <c:v>40253</c:v>
                </c:pt>
                <c:pt idx="2587">
                  <c:v>40254</c:v>
                </c:pt>
                <c:pt idx="2588">
                  <c:v>40255</c:v>
                </c:pt>
                <c:pt idx="2589">
                  <c:v>40256</c:v>
                </c:pt>
                <c:pt idx="2590">
                  <c:v>40259</c:v>
                </c:pt>
                <c:pt idx="2591">
                  <c:v>40260</c:v>
                </c:pt>
                <c:pt idx="2592">
                  <c:v>40261</c:v>
                </c:pt>
                <c:pt idx="2593">
                  <c:v>40262</c:v>
                </c:pt>
                <c:pt idx="2594">
                  <c:v>40263</c:v>
                </c:pt>
                <c:pt idx="2595">
                  <c:v>40266</c:v>
                </c:pt>
                <c:pt idx="2596">
                  <c:v>40267</c:v>
                </c:pt>
                <c:pt idx="2597">
                  <c:v>40268</c:v>
                </c:pt>
                <c:pt idx="2598">
                  <c:v>40269</c:v>
                </c:pt>
                <c:pt idx="2599">
                  <c:v>40274</c:v>
                </c:pt>
                <c:pt idx="2600">
                  <c:v>40275</c:v>
                </c:pt>
                <c:pt idx="2601">
                  <c:v>40276</c:v>
                </c:pt>
                <c:pt idx="2602">
                  <c:v>40277</c:v>
                </c:pt>
                <c:pt idx="2603">
                  <c:v>40280</c:v>
                </c:pt>
                <c:pt idx="2604">
                  <c:v>40281</c:v>
                </c:pt>
                <c:pt idx="2605">
                  <c:v>40282</c:v>
                </c:pt>
                <c:pt idx="2606">
                  <c:v>40283</c:v>
                </c:pt>
                <c:pt idx="2607">
                  <c:v>40284</c:v>
                </c:pt>
                <c:pt idx="2608">
                  <c:v>40287</c:v>
                </c:pt>
                <c:pt idx="2609">
                  <c:v>40288</c:v>
                </c:pt>
                <c:pt idx="2610">
                  <c:v>40289</c:v>
                </c:pt>
                <c:pt idx="2611">
                  <c:v>40290</c:v>
                </c:pt>
                <c:pt idx="2612">
                  <c:v>40291</c:v>
                </c:pt>
                <c:pt idx="2613">
                  <c:v>40294</c:v>
                </c:pt>
                <c:pt idx="2614">
                  <c:v>40295</c:v>
                </c:pt>
                <c:pt idx="2615">
                  <c:v>40296</c:v>
                </c:pt>
                <c:pt idx="2616">
                  <c:v>40297</c:v>
                </c:pt>
                <c:pt idx="2617">
                  <c:v>40298</c:v>
                </c:pt>
                <c:pt idx="2618">
                  <c:v>40301</c:v>
                </c:pt>
                <c:pt idx="2619">
                  <c:v>40302</c:v>
                </c:pt>
                <c:pt idx="2620">
                  <c:v>40303</c:v>
                </c:pt>
                <c:pt idx="2621">
                  <c:v>40304</c:v>
                </c:pt>
                <c:pt idx="2622">
                  <c:v>40305</c:v>
                </c:pt>
                <c:pt idx="2623">
                  <c:v>40308</c:v>
                </c:pt>
                <c:pt idx="2624">
                  <c:v>40309</c:v>
                </c:pt>
                <c:pt idx="2625">
                  <c:v>40310</c:v>
                </c:pt>
                <c:pt idx="2626">
                  <c:v>40311</c:v>
                </c:pt>
                <c:pt idx="2627">
                  <c:v>40312</c:v>
                </c:pt>
                <c:pt idx="2628">
                  <c:v>40315</c:v>
                </c:pt>
                <c:pt idx="2629">
                  <c:v>40316</c:v>
                </c:pt>
                <c:pt idx="2630">
                  <c:v>40317</c:v>
                </c:pt>
                <c:pt idx="2631">
                  <c:v>40318</c:v>
                </c:pt>
                <c:pt idx="2632">
                  <c:v>40319</c:v>
                </c:pt>
                <c:pt idx="2633">
                  <c:v>40322</c:v>
                </c:pt>
                <c:pt idx="2634">
                  <c:v>40323</c:v>
                </c:pt>
                <c:pt idx="2635">
                  <c:v>40324</c:v>
                </c:pt>
                <c:pt idx="2636">
                  <c:v>40325</c:v>
                </c:pt>
                <c:pt idx="2637">
                  <c:v>40326</c:v>
                </c:pt>
                <c:pt idx="2638">
                  <c:v>40329</c:v>
                </c:pt>
                <c:pt idx="2639">
                  <c:v>40330</c:v>
                </c:pt>
                <c:pt idx="2640">
                  <c:v>40331</c:v>
                </c:pt>
                <c:pt idx="2641">
                  <c:v>40332</c:v>
                </c:pt>
                <c:pt idx="2642">
                  <c:v>40333</c:v>
                </c:pt>
                <c:pt idx="2643">
                  <c:v>40336</c:v>
                </c:pt>
                <c:pt idx="2644">
                  <c:v>40337</c:v>
                </c:pt>
                <c:pt idx="2645">
                  <c:v>40338</c:v>
                </c:pt>
                <c:pt idx="2646">
                  <c:v>40339</c:v>
                </c:pt>
                <c:pt idx="2647">
                  <c:v>40340</c:v>
                </c:pt>
                <c:pt idx="2648">
                  <c:v>40343</c:v>
                </c:pt>
                <c:pt idx="2649">
                  <c:v>40344</c:v>
                </c:pt>
                <c:pt idx="2650">
                  <c:v>40345</c:v>
                </c:pt>
                <c:pt idx="2651">
                  <c:v>40346</c:v>
                </c:pt>
                <c:pt idx="2652">
                  <c:v>40347</c:v>
                </c:pt>
                <c:pt idx="2653">
                  <c:v>40350</c:v>
                </c:pt>
                <c:pt idx="2654">
                  <c:v>40351</c:v>
                </c:pt>
                <c:pt idx="2655">
                  <c:v>40352</c:v>
                </c:pt>
                <c:pt idx="2656">
                  <c:v>40353</c:v>
                </c:pt>
                <c:pt idx="2657">
                  <c:v>40354</c:v>
                </c:pt>
                <c:pt idx="2658">
                  <c:v>40357</c:v>
                </c:pt>
                <c:pt idx="2659">
                  <c:v>40358</c:v>
                </c:pt>
                <c:pt idx="2660">
                  <c:v>40359</c:v>
                </c:pt>
                <c:pt idx="2661">
                  <c:v>40360</c:v>
                </c:pt>
                <c:pt idx="2662">
                  <c:v>40361</c:v>
                </c:pt>
                <c:pt idx="2663">
                  <c:v>40364</c:v>
                </c:pt>
                <c:pt idx="2664">
                  <c:v>40365</c:v>
                </c:pt>
                <c:pt idx="2665">
                  <c:v>40366</c:v>
                </c:pt>
                <c:pt idx="2666">
                  <c:v>40367</c:v>
                </c:pt>
                <c:pt idx="2667">
                  <c:v>40368</c:v>
                </c:pt>
                <c:pt idx="2668">
                  <c:v>40371</c:v>
                </c:pt>
                <c:pt idx="2669">
                  <c:v>40372</c:v>
                </c:pt>
                <c:pt idx="2670">
                  <c:v>40373</c:v>
                </c:pt>
                <c:pt idx="2671">
                  <c:v>40374</c:v>
                </c:pt>
                <c:pt idx="2672">
                  <c:v>40375</c:v>
                </c:pt>
                <c:pt idx="2673">
                  <c:v>40378</c:v>
                </c:pt>
                <c:pt idx="2674">
                  <c:v>40379</c:v>
                </c:pt>
                <c:pt idx="2675">
                  <c:v>40380</c:v>
                </c:pt>
                <c:pt idx="2676">
                  <c:v>40381</c:v>
                </c:pt>
                <c:pt idx="2677">
                  <c:v>40382</c:v>
                </c:pt>
                <c:pt idx="2678">
                  <c:v>40385</c:v>
                </c:pt>
                <c:pt idx="2679">
                  <c:v>40386</c:v>
                </c:pt>
                <c:pt idx="2680">
                  <c:v>40387</c:v>
                </c:pt>
                <c:pt idx="2681">
                  <c:v>40388</c:v>
                </c:pt>
                <c:pt idx="2682">
                  <c:v>40389</c:v>
                </c:pt>
                <c:pt idx="2683">
                  <c:v>40392</c:v>
                </c:pt>
                <c:pt idx="2684">
                  <c:v>40393</c:v>
                </c:pt>
                <c:pt idx="2685">
                  <c:v>40394</c:v>
                </c:pt>
                <c:pt idx="2686">
                  <c:v>40395</c:v>
                </c:pt>
                <c:pt idx="2687">
                  <c:v>40396</c:v>
                </c:pt>
                <c:pt idx="2688">
                  <c:v>40399</c:v>
                </c:pt>
                <c:pt idx="2689">
                  <c:v>40400</c:v>
                </c:pt>
                <c:pt idx="2690">
                  <c:v>40401</c:v>
                </c:pt>
                <c:pt idx="2691">
                  <c:v>40402</c:v>
                </c:pt>
                <c:pt idx="2692">
                  <c:v>40403</c:v>
                </c:pt>
                <c:pt idx="2693">
                  <c:v>40406</c:v>
                </c:pt>
                <c:pt idx="2694">
                  <c:v>40407</c:v>
                </c:pt>
                <c:pt idx="2695">
                  <c:v>40408</c:v>
                </c:pt>
                <c:pt idx="2696">
                  <c:v>40409</c:v>
                </c:pt>
                <c:pt idx="2697">
                  <c:v>40410</c:v>
                </c:pt>
                <c:pt idx="2698">
                  <c:v>40413</c:v>
                </c:pt>
                <c:pt idx="2699">
                  <c:v>40414</c:v>
                </c:pt>
                <c:pt idx="2700">
                  <c:v>40415</c:v>
                </c:pt>
                <c:pt idx="2701">
                  <c:v>40416</c:v>
                </c:pt>
                <c:pt idx="2702">
                  <c:v>40417</c:v>
                </c:pt>
                <c:pt idx="2703">
                  <c:v>40420</c:v>
                </c:pt>
                <c:pt idx="2704">
                  <c:v>40421</c:v>
                </c:pt>
                <c:pt idx="2705">
                  <c:v>40422</c:v>
                </c:pt>
                <c:pt idx="2706">
                  <c:v>40423</c:v>
                </c:pt>
                <c:pt idx="2707">
                  <c:v>40424</c:v>
                </c:pt>
                <c:pt idx="2708">
                  <c:v>40427</c:v>
                </c:pt>
                <c:pt idx="2709">
                  <c:v>40428</c:v>
                </c:pt>
                <c:pt idx="2710">
                  <c:v>40429</c:v>
                </c:pt>
                <c:pt idx="2711">
                  <c:v>40430</c:v>
                </c:pt>
                <c:pt idx="2712">
                  <c:v>40431</c:v>
                </c:pt>
                <c:pt idx="2713">
                  <c:v>40434</c:v>
                </c:pt>
                <c:pt idx="2714">
                  <c:v>40435</c:v>
                </c:pt>
                <c:pt idx="2715">
                  <c:v>40436</c:v>
                </c:pt>
                <c:pt idx="2716">
                  <c:v>40437</c:v>
                </c:pt>
                <c:pt idx="2717">
                  <c:v>40438</c:v>
                </c:pt>
                <c:pt idx="2718">
                  <c:v>40441</c:v>
                </c:pt>
                <c:pt idx="2719">
                  <c:v>40442</c:v>
                </c:pt>
                <c:pt idx="2720">
                  <c:v>40443</c:v>
                </c:pt>
                <c:pt idx="2721">
                  <c:v>40444</c:v>
                </c:pt>
                <c:pt idx="2722">
                  <c:v>40445</c:v>
                </c:pt>
                <c:pt idx="2723">
                  <c:v>40448</c:v>
                </c:pt>
                <c:pt idx="2724">
                  <c:v>40449</c:v>
                </c:pt>
                <c:pt idx="2725">
                  <c:v>40450</c:v>
                </c:pt>
                <c:pt idx="2726">
                  <c:v>40451</c:v>
                </c:pt>
                <c:pt idx="2727">
                  <c:v>40452</c:v>
                </c:pt>
                <c:pt idx="2728">
                  <c:v>40455</c:v>
                </c:pt>
                <c:pt idx="2729">
                  <c:v>40456</c:v>
                </c:pt>
                <c:pt idx="2730">
                  <c:v>40457</c:v>
                </c:pt>
                <c:pt idx="2731">
                  <c:v>40458</c:v>
                </c:pt>
                <c:pt idx="2732">
                  <c:v>40459</c:v>
                </c:pt>
                <c:pt idx="2733">
                  <c:v>40462</c:v>
                </c:pt>
                <c:pt idx="2734">
                  <c:v>40463</c:v>
                </c:pt>
                <c:pt idx="2735">
                  <c:v>40464</c:v>
                </c:pt>
                <c:pt idx="2736">
                  <c:v>40465</c:v>
                </c:pt>
                <c:pt idx="2737">
                  <c:v>40466</c:v>
                </c:pt>
                <c:pt idx="2738">
                  <c:v>40469</c:v>
                </c:pt>
                <c:pt idx="2739">
                  <c:v>40470</c:v>
                </c:pt>
                <c:pt idx="2740">
                  <c:v>40471</c:v>
                </c:pt>
                <c:pt idx="2741">
                  <c:v>40472</c:v>
                </c:pt>
                <c:pt idx="2742">
                  <c:v>40473</c:v>
                </c:pt>
                <c:pt idx="2743">
                  <c:v>40476</c:v>
                </c:pt>
                <c:pt idx="2744">
                  <c:v>40477</c:v>
                </c:pt>
                <c:pt idx="2745">
                  <c:v>40478</c:v>
                </c:pt>
                <c:pt idx="2746">
                  <c:v>40479</c:v>
                </c:pt>
                <c:pt idx="2747">
                  <c:v>40480</c:v>
                </c:pt>
                <c:pt idx="2748">
                  <c:v>40483</c:v>
                </c:pt>
                <c:pt idx="2749">
                  <c:v>40484</c:v>
                </c:pt>
                <c:pt idx="2750">
                  <c:v>40485</c:v>
                </c:pt>
                <c:pt idx="2751">
                  <c:v>40486</c:v>
                </c:pt>
                <c:pt idx="2752">
                  <c:v>40487</c:v>
                </c:pt>
                <c:pt idx="2753">
                  <c:v>40490</c:v>
                </c:pt>
                <c:pt idx="2754">
                  <c:v>40491</c:v>
                </c:pt>
                <c:pt idx="2755">
                  <c:v>40492</c:v>
                </c:pt>
                <c:pt idx="2756">
                  <c:v>40493</c:v>
                </c:pt>
                <c:pt idx="2757">
                  <c:v>40494</c:v>
                </c:pt>
                <c:pt idx="2758">
                  <c:v>40497</c:v>
                </c:pt>
                <c:pt idx="2759">
                  <c:v>40498</c:v>
                </c:pt>
                <c:pt idx="2760">
                  <c:v>40499</c:v>
                </c:pt>
                <c:pt idx="2761">
                  <c:v>40500</c:v>
                </c:pt>
                <c:pt idx="2762">
                  <c:v>40501</c:v>
                </c:pt>
                <c:pt idx="2763">
                  <c:v>40504</c:v>
                </c:pt>
                <c:pt idx="2764">
                  <c:v>40505</c:v>
                </c:pt>
                <c:pt idx="2765">
                  <c:v>40506</c:v>
                </c:pt>
                <c:pt idx="2766">
                  <c:v>40507</c:v>
                </c:pt>
                <c:pt idx="2767">
                  <c:v>40508</c:v>
                </c:pt>
                <c:pt idx="2768">
                  <c:v>40511</c:v>
                </c:pt>
                <c:pt idx="2769">
                  <c:v>40512</c:v>
                </c:pt>
                <c:pt idx="2770">
                  <c:v>40513</c:v>
                </c:pt>
                <c:pt idx="2771">
                  <c:v>40514</c:v>
                </c:pt>
                <c:pt idx="2772">
                  <c:v>40515</c:v>
                </c:pt>
                <c:pt idx="2773">
                  <c:v>40518</c:v>
                </c:pt>
                <c:pt idx="2774">
                  <c:v>40519</c:v>
                </c:pt>
                <c:pt idx="2775">
                  <c:v>40520</c:v>
                </c:pt>
                <c:pt idx="2776">
                  <c:v>40521</c:v>
                </c:pt>
                <c:pt idx="2777">
                  <c:v>40522</c:v>
                </c:pt>
                <c:pt idx="2778">
                  <c:v>40525</c:v>
                </c:pt>
                <c:pt idx="2779">
                  <c:v>40526</c:v>
                </c:pt>
                <c:pt idx="2780">
                  <c:v>40527</c:v>
                </c:pt>
                <c:pt idx="2781">
                  <c:v>40528</c:v>
                </c:pt>
                <c:pt idx="2782">
                  <c:v>40529</c:v>
                </c:pt>
                <c:pt idx="2783">
                  <c:v>40532</c:v>
                </c:pt>
                <c:pt idx="2784">
                  <c:v>40533</c:v>
                </c:pt>
                <c:pt idx="2785">
                  <c:v>40534</c:v>
                </c:pt>
                <c:pt idx="2786">
                  <c:v>40535</c:v>
                </c:pt>
                <c:pt idx="2787">
                  <c:v>40536</c:v>
                </c:pt>
                <c:pt idx="2788">
                  <c:v>40539</c:v>
                </c:pt>
                <c:pt idx="2789">
                  <c:v>40540</c:v>
                </c:pt>
                <c:pt idx="2790">
                  <c:v>40541</c:v>
                </c:pt>
                <c:pt idx="2791">
                  <c:v>40542</c:v>
                </c:pt>
                <c:pt idx="2792">
                  <c:v>40543</c:v>
                </c:pt>
                <c:pt idx="2793">
                  <c:v>40546</c:v>
                </c:pt>
                <c:pt idx="2794">
                  <c:v>40547</c:v>
                </c:pt>
                <c:pt idx="2795">
                  <c:v>40548</c:v>
                </c:pt>
                <c:pt idx="2796">
                  <c:v>40549</c:v>
                </c:pt>
                <c:pt idx="2797">
                  <c:v>40550</c:v>
                </c:pt>
                <c:pt idx="2798">
                  <c:v>40553</c:v>
                </c:pt>
                <c:pt idx="2799">
                  <c:v>40554</c:v>
                </c:pt>
                <c:pt idx="2800">
                  <c:v>40555</c:v>
                </c:pt>
                <c:pt idx="2801">
                  <c:v>40556</c:v>
                </c:pt>
                <c:pt idx="2802">
                  <c:v>40557</c:v>
                </c:pt>
                <c:pt idx="2803">
                  <c:v>40560</c:v>
                </c:pt>
                <c:pt idx="2804">
                  <c:v>40561</c:v>
                </c:pt>
                <c:pt idx="2805">
                  <c:v>40562</c:v>
                </c:pt>
                <c:pt idx="2806">
                  <c:v>40563</c:v>
                </c:pt>
                <c:pt idx="2807">
                  <c:v>40564</c:v>
                </c:pt>
                <c:pt idx="2808">
                  <c:v>40567</c:v>
                </c:pt>
                <c:pt idx="2809">
                  <c:v>40568</c:v>
                </c:pt>
                <c:pt idx="2810">
                  <c:v>40569</c:v>
                </c:pt>
                <c:pt idx="2811">
                  <c:v>40570</c:v>
                </c:pt>
                <c:pt idx="2812">
                  <c:v>40571</c:v>
                </c:pt>
                <c:pt idx="2813">
                  <c:v>40574</c:v>
                </c:pt>
                <c:pt idx="2814">
                  <c:v>40575</c:v>
                </c:pt>
                <c:pt idx="2815">
                  <c:v>40576</c:v>
                </c:pt>
                <c:pt idx="2816">
                  <c:v>40577</c:v>
                </c:pt>
                <c:pt idx="2817">
                  <c:v>40578</c:v>
                </c:pt>
                <c:pt idx="2818">
                  <c:v>40581</c:v>
                </c:pt>
                <c:pt idx="2819">
                  <c:v>40582</c:v>
                </c:pt>
                <c:pt idx="2820">
                  <c:v>40583</c:v>
                </c:pt>
                <c:pt idx="2821">
                  <c:v>40584</c:v>
                </c:pt>
                <c:pt idx="2822">
                  <c:v>40585</c:v>
                </c:pt>
                <c:pt idx="2823">
                  <c:v>40588</c:v>
                </c:pt>
                <c:pt idx="2824">
                  <c:v>40589</c:v>
                </c:pt>
                <c:pt idx="2825">
                  <c:v>40590</c:v>
                </c:pt>
                <c:pt idx="2826">
                  <c:v>40591</c:v>
                </c:pt>
                <c:pt idx="2827">
                  <c:v>40592</c:v>
                </c:pt>
                <c:pt idx="2828">
                  <c:v>40595</c:v>
                </c:pt>
                <c:pt idx="2829">
                  <c:v>40596</c:v>
                </c:pt>
                <c:pt idx="2830">
                  <c:v>40597</c:v>
                </c:pt>
                <c:pt idx="2831">
                  <c:v>40598</c:v>
                </c:pt>
                <c:pt idx="2832">
                  <c:v>40599</c:v>
                </c:pt>
                <c:pt idx="2833">
                  <c:v>40602</c:v>
                </c:pt>
                <c:pt idx="2834">
                  <c:v>40603</c:v>
                </c:pt>
                <c:pt idx="2835">
                  <c:v>40604</c:v>
                </c:pt>
                <c:pt idx="2836">
                  <c:v>40605</c:v>
                </c:pt>
                <c:pt idx="2837">
                  <c:v>40606</c:v>
                </c:pt>
                <c:pt idx="2838">
                  <c:v>40609</c:v>
                </c:pt>
                <c:pt idx="2839">
                  <c:v>40610</c:v>
                </c:pt>
                <c:pt idx="2840">
                  <c:v>40611</c:v>
                </c:pt>
                <c:pt idx="2841">
                  <c:v>40612</c:v>
                </c:pt>
                <c:pt idx="2842">
                  <c:v>40613</c:v>
                </c:pt>
                <c:pt idx="2843">
                  <c:v>40616</c:v>
                </c:pt>
                <c:pt idx="2844">
                  <c:v>40617</c:v>
                </c:pt>
                <c:pt idx="2845">
                  <c:v>40618</c:v>
                </c:pt>
                <c:pt idx="2846">
                  <c:v>40619</c:v>
                </c:pt>
                <c:pt idx="2847">
                  <c:v>40620</c:v>
                </c:pt>
                <c:pt idx="2848">
                  <c:v>40623</c:v>
                </c:pt>
                <c:pt idx="2849">
                  <c:v>40624</c:v>
                </c:pt>
                <c:pt idx="2850">
                  <c:v>40625</c:v>
                </c:pt>
                <c:pt idx="2851">
                  <c:v>40626</c:v>
                </c:pt>
                <c:pt idx="2852">
                  <c:v>40627</c:v>
                </c:pt>
                <c:pt idx="2853">
                  <c:v>40630</c:v>
                </c:pt>
                <c:pt idx="2854">
                  <c:v>40631</c:v>
                </c:pt>
                <c:pt idx="2855">
                  <c:v>40632</c:v>
                </c:pt>
                <c:pt idx="2856">
                  <c:v>40633</c:v>
                </c:pt>
                <c:pt idx="2857">
                  <c:v>40634</c:v>
                </c:pt>
                <c:pt idx="2858">
                  <c:v>40637</c:v>
                </c:pt>
                <c:pt idx="2859">
                  <c:v>40638</c:v>
                </c:pt>
                <c:pt idx="2860">
                  <c:v>40639</c:v>
                </c:pt>
                <c:pt idx="2861">
                  <c:v>40640</c:v>
                </c:pt>
                <c:pt idx="2862">
                  <c:v>40641</c:v>
                </c:pt>
                <c:pt idx="2863">
                  <c:v>40644</c:v>
                </c:pt>
                <c:pt idx="2864">
                  <c:v>40645</c:v>
                </c:pt>
                <c:pt idx="2865">
                  <c:v>40646</c:v>
                </c:pt>
                <c:pt idx="2866">
                  <c:v>40647</c:v>
                </c:pt>
                <c:pt idx="2867">
                  <c:v>40648</c:v>
                </c:pt>
                <c:pt idx="2868">
                  <c:v>40651</c:v>
                </c:pt>
                <c:pt idx="2869">
                  <c:v>40652</c:v>
                </c:pt>
                <c:pt idx="2870">
                  <c:v>40653</c:v>
                </c:pt>
                <c:pt idx="2871">
                  <c:v>40654</c:v>
                </c:pt>
                <c:pt idx="2872">
                  <c:v>40659</c:v>
                </c:pt>
                <c:pt idx="2873">
                  <c:v>40660</c:v>
                </c:pt>
                <c:pt idx="2874">
                  <c:v>40661</c:v>
                </c:pt>
                <c:pt idx="2875">
                  <c:v>40662</c:v>
                </c:pt>
                <c:pt idx="2876">
                  <c:v>40665</c:v>
                </c:pt>
                <c:pt idx="2877">
                  <c:v>40666</c:v>
                </c:pt>
                <c:pt idx="2878">
                  <c:v>40667</c:v>
                </c:pt>
                <c:pt idx="2879">
                  <c:v>40668</c:v>
                </c:pt>
                <c:pt idx="2880">
                  <c:v>40669</c:v>
                </c:pt>
                <c:pt idx="2881">
                  <c:v>40672</c:v>
                </c:pt>
                <c:pt idx="2882">
                  <c:v>40673</c:v>
                </c:pt>
                <c:pt idx="2883">
                  <c:v>40674</c:v>
                </c:pt>
                <c:pt idx="2884">
                  <c:v>40675</c:v>
                </c:pt>
                <c:pt idx="2885">
                  <c:v>40676</c:v>
                </c:pt>
                <c:pt idx="2886">
                  <c:v>40679</c:v>
                </c:pt>
                <c:pt idx="2887">
                  <c:v>40680</c:v>
                </c:pt>
                <c:pt idx="2888">
                  <c:v>40681</c:v>
                </c:pt>
                <c:pt idx="2889">
                  <c:v>40682</c:v>
                </c:pt>
                <c:pt idx="2890">
                  <c:v>40683</c:v>
                </c:pt>
                <c:pt idx="2891">
                  <c:v>40686</c:v>
                </c:pt>
                <c:pt idx="2892">
                  <c:v>40687</c:v>
                </c:pt>
                <c:pt idx="2893">
                  <c:v>40688</c:v>
                </c:pt>
                <c:pt idx="2894">
                  <c:v>40689</c:v>
                </c:pt>
                <c:pt idx="2895">
                  <c:v>40690</c:v>
                </c:pt>
                <c:pt idx="2896">
                  <c:v>40693</c:v>
                </c:pt>
                <c:pt idx="2897">
                  <c:v>40694</c:v>
                </c:pt>
                <c:pt idx="2898">
                  <c:v>40695</c:v>
                </c:pt>
                <c:pt idx="2899">
                  <c:v>40696</c:v>
                </c:pt>
                <c:pt idx="2900">
                  <c:v>40697</c:v>
                </c:pt>
                <c:pt idx="2901">
                  <c:v>40700</c:v>
                </c:pt>
                <c:pt idx="2902">
                  <c:v>40701</c:v>
                </c:pt>
                <c:pt idx="2903">
                  <c:v>40702</c:v>
                </c:pt>
                <c:pt idx="2904">
                  <c:v>40703</c:v>
                </c:pt>
                <c:pt idx="2905">
                  <c:v>40704</c:v>
                </c:pt>
                <c:pt idx="2906">
                  <c:v>40707</c:v>
                </c:pt>
                <c:pt idx="2907">
                  <c:v>40708</c:v>
                </c:pt>
                <c:pt idx="2908">
                  <c:v>40709</c:v>
                </c:pt>
                <c:pt idx="2909">
                  <c:v>40710</c:v>
                </c:pt>
                <c:pt idx="2910">
                  <c:v>40711</c:v>
                </c:pt>
                <c:pt idx="2911">
                  <c:v>40714</c:v>
                </c:pt>
                <c:pt idx="2912">
                  <c:v>40715</c:v>
                </c:pt>
                <c:pt idx="2913">
                  <c:v>40716</c:v>
                </c:pt>
                <c:pt idx="2914">
                  <c:v>40717</c:v>
                </c:pt>
                <c:pt idx="2915">
                  <c:v>40718</c:v>
                </c:pt>
                <c:pt idx="2916">
                  <c:v>40721</c:v>
                </c:pt>
                <c:pt idx="2917">
                  <c:v>40722</c:v>
                </c:pt>
                <c:pt idx="2918">
                  <c:v>40723</c:v>
                </c:pt>
                <c:pt idx="2919">
                  <c:v>40724</c:v>
                </c:pt>
                <c:pt idx="2920">
                  <c:v>40725</c:v>
                </c:pt>
                <c:pt idx="2921">
                  <c:v>40728</c:v>
                </c:pt>
                <c:pt idx="2922">
                  <c:v>40729</c:v>
                </c:pt>
                <c:pt idx="2923">
                  <c:v>40730</c:v>
                </c:pt>
                <c:pt idx="2924">
                  <c:v>40731</c:v>
                </c:pt>
                <c:pt idx="2925">
                  <c:v>40732</c:v>
                </c:pt>
                <c:pt idx="2926">
                  <c:v>40735</c:v>
                </c:pt>
                <c:pt idx="2927">
                  <c:v>40736</c:v>
                </c:pt>
                <c:pt idx="2928">
                  <c:v>40737</c:v>
                </c:pt>
                <c:pt idx="2929">
                  <c:v>40738</c:v>
                </c:pt>
                <c:pt idx="2930">
                  <c:v>40739</c:v>
                </c:pt>
                <c:pt idx="2931">
                  <c:v>40742</c:v>
                </c:pt>
                <c:pt idx="2932">
                  <c:v>40743</c:v>
                </c:pt>
                <c:pt idx="2933">
                  <c:v>40744</c:v>
                </c:pt>
                <c:pt idx="2934">
                  <c:v>40745</c:v>
                </c:pt>
                <c:pt idx="2935">
                  <c:v>40746</c:v>
                </c:pt>
                <c:pt idx="2936">
                  <c:v>40749</c:v>
                </c:pt>
                <c:pt idx="2937">
                  <c:v>40750</c:v>
                </c:pt>
                <c:pt idx="2938">
                  <c:v>40751</c:v>
                </c:pt>
                <c:pt idx="2939">
                  <c:v>40752</c:v>
                </c:pt>
                <c:pt idx="2940">
                  <c:v>40753</c:v>
                </c:pt>
                <c:pt idx="2941">
                  <c:v>40756</c:v>
                </c:pt>
                <c:pt idx="2942">
                  <c:v>40757</c:v>
                </c:pt>
                <c:pt idx="2943">
                  <c:v>40758</c:v>
                </c:pt>
                <c:pt idx="2944">
                  <c:v>40759</c:v>
                </c:pt>
                <c:pt idx="2945">
                  <c:v>40760</c:v>
                </c:pt>
                <c:pt idx="2946">
                  <c:v>40763</c:v>
                </c:pt>
                <c:pt idx="2947">
                  <c:v>40764</c:v>
                </c:pt>
                <c:pt idx="2948">
                  <c:v>40765</c:v>
                </c:pt>
                <c:pt idx="2949">
                  <c:v>40766</c:v>
                </c:pt>
                <c:pt idx="2950">
                  <c:v>40767</c:v>
                </c:pt>
                <c:pt idx="2951">
                  <c:v>40770</c:v>
                </c:pt>
                <c:pt idx="2952">
                  <c:v>40771</c:v>
                </c:pt>
                <c:pt idx="2953">
                  <c:v>40772</c:v>
                </c:pt>
                <c:pt idx="2954">
                  <c:v>40773</c:v>
                </c:pt>
                <c:pt idx="2955">
                  <c:v>40774</c:v>
                </c:pt>
                <c:pt idx="2956">
                  <c:v>40777</c:v>
                </c:pt>
                <c:pt idx="2957">
                  <c:v>40778</c:v>
                </c:pt>
                <c:pt idx="2958">
                  <c:v>40779</c:v>
                </c:pt>
                <c:pt idx="2959">
                  <c:v>40780</c:v>
                </c:pt>
                <c:pt idx="2960">
                  <c:v>40781</c:v>
                </c:pt>
                <c:pt idx="2961">
                  <c:v>40784</c:v>
                </c:pt>
                <c:pt idx="2962">
                  <c:v>40785</c:v>
                </c:pt>
                <c:pt idx="2963">
                  <c:v>40786</c:v>
                </c:pt>
                <c:pt idx="2964">
                  <c:v>40787</c:v>
                </c:pt>
                <c:pt idx="2965">
                  <c:v>40788</c:v>
                </c:pt>
                <c:pt idx="2966">
                  <c:v>40791</c:v>
                </c:pt>
                <c:pt idx="2967">
                  <c:v>40792</c:v>
                </c:pt>
                <c:pt idx="2968">
                  <c:v>40793</c:v>
                </c:pt>
                <c:pt idx="2969">
                  <c:v>40794</c:v>
                </c:pt>
                <c:pt idx="2970">
                  <c:v>40795</c:v>
                </c:pt>
                <c:pt idx="2971">
                  <c:v>40798</c:v>
                </c:pt>
                <c:pt idx="2972">
                  <c:v>40799</c:v>
                </c:pt>
                <c:pt idx="2973">
                  <c:v>40800</c:v>
                </c:pt>
                <c:pt idx="2974">
                  <c:v>40801</c:v>
                </c:pt>
                <c:pt idx="2975">
                  <c:v>40802</c:v>
                </c:pt>
                <c:pt idx="2976">
                  <c:v>40805</c:v>
                </c:pt>
                <c:pt idx="2977">
                  <c:v>40806</c:v>
                </c:pt>
                <c:pt idx="2978">
                  <c:v>40807</c:v>
                </c:pt>
                <c:pt idx="2979">
                  <c:v>40808</c:v>
                </c:pt>
                <c:pt idx="2980">
                  <c:v>40809</c:v>
                </c:pt>
                <c:pt idx="2981">
                  <c:v>40812</c:v>
                </c:pt>
                <c:pt idx="2982">
                  <c:v>40813</c:v>
                </c:pt>
                <c:pt idx="2983">
                  <c:v>40814</c:v>
                </c:pt>
                <c:pt idx="2984">
                  <c:v>40815</c:v>
                </c:pt>
                <c:pt idx="2985">
                  <c:v>40816</c:v>
                </c:pt>
                <c:pt idx="2986">
                  <c:v>40819</c:v>
                </c:pt>
                <c:pt idx="2987">
                  <c:v>40820</c:v>
                </c:pt>
                <c:pt idx="2988">
                  <c:v>40821</c:v>
                </c:pt>
                <c:pt idx="2989">
                  <c:v>40822</c:v>
                </c:pt>
                <c:pt idx="2990">
                  <c:v>40823</c:v>
                </c:pt>
                <c:pt idx="2991">
                  <c:v>40826</c:v>
                </c:pt>
                <c:pt idx="2992">
                  <c:v>40827</c:v>
                </c:pt>
                <c:pt idx="2993">
                  <c:v>40828</c:v>
                </c:pt>
                <c:pt idx="2994">
                  <c:v>40829</c:v>
                </c:pt>
                <c:pt idx="2995">
                  <c:v>40830</c:v>
                </c:pt>
                <c:pt idx="2996">
                  <c:v>40833</c:v>
                </c:pt>
                <c:pt idx="2997">
                  <c:v>40834</c:v>
                </c:pt>
                <c:pt idx="2998">
                  <c:v>40835</c:v>
                </c:pt>
                <c:pt idx="2999">
                  <c:v>40836</c:v>
                </c:pt>
                <c:pt idx="3000">
                  <c:v>40837</c:v>
                </c:pt>
                <c:pt idx="3001">
                  <c:v>40840</c:v>
                </c:pt>
                <c:pt idx="3002">
                  <c:v>40841</c:v>
                </c:pt>
                <c:pt idx="3003">
                  <c:v>40842</c:v>
                </c:pt>
                <c:pt idx="3004">
                  <c:v>40843</c:v>
                </c:pt>
                <c:pt idx="3005">
                  <c:v>40844</c:v>
                </c:pt>
                <c:pt idx="3006">
                  <c:v>40847</c:v>
                </c:pt>
                <c:pt idx="3007">
                  <c:v>40848</c:v>
                </c:pt>
                <c:pt idx="3008">
                  <c:v>40849</c:v>
                </c:pt>
                <c:pt idx="3009">
                  <c:v>40850</c:v>
                </c:pt>
                <c:pt idx="3010">
                  <c:v>40851</c:v>
                </c:pt>
                <c:pt idx="3011">
                  <c:v>40854</c:v>
                </c:pt>
                <c:pt idx="3012">
                  <c:v>40855</c:v>
                </c:pt>
                <c:pt idx="3013">
                  <c:v>40856</c:v>
                </c:pt>
                <c:pt idx="3014">
                  <c:v>40857</c:v>
                </c:pt>
                <c:pt idx="3015">
                  <c:v>40858</c:v>
                </c:pt>
                <c:pt idx="3016">
                  <c:v>40861</c:v>
                </c:pt>
                <c:pt idx="3017">
                  <c:v>40862</c:v>
                </c:pt>
                <c:pt idx="3018">
                  <c:v>40863</c:v>
                </c:pt>
                <c:pt idx="3019">
                  <c:v>40864</c:v>
                </c:pt>
                <c:pt idx="3020">
                  <c:v>40865</c:v>
                </c:pt>
                <c:pt idx="3021">
                  <c:v>40868</c:v>
                </c:pt>
                <c:pt idx="3022">
                  <c:v>40869</c:v>
                </c:pt>
                <c:pt idx="3023">
                  <c:v>40870</c:v>
                </c:pt>
                <c:pt idx="3024">
                  <c:v>40871</c:v>
                </c:pt>
                <c:pt idx="3025">
                  <c:v>40872</c:v>
                </c:pt>
                <c:pt idx="3026">
                  <c:v>40875</c:v>
                </c:pt>
                <c:pt idx="3027">
                  <c:v>40876</c:v>
                </c:pt>
                <c:pt idx="3028">
                  <c:v>40877</c:v>
                </c:pt>
                <c:pt idx="3029">
                  <c:v>40878</c:v>
                </c:pt>
                <c:pt idx="3030">
                  <c:v>40879</c:v>
                </c:pt>
                <c:pt idx="3031">
                  <c:v>40882</c:v>
                </c:pt>
                <c:pt idx="3032">
                  <c:v>40883</c:v>
                </c:pt>
                <c:pt idx="3033">
                  <c:v>40884</c:v>
                </c:pt>
                <c:pt idx="3034">
                  <c:v>40885</c:v>
                </c:pt>
                <c:pt idx="3035">
                  <c:v>40886</c:v>
                </c:pt>
                <c:pt idx="3036">
                  <c:v>40889</c:v>
                </c:pt>
                <c:pt idx="3037">
                  <c:v>40890</c:v>
                </c:pt>
                <c:pt idx="3038">
                  <c:v>40891</c:v>
                </c:pt>
                <c:pt idx="3039">
                  <c:v>40892</c:v>
                </c:pt>
                <c:pt idx="3040">
                  <c:v>40893</c:v>
                </c:pt>
                <c:pt idx="3041">
                  <c:v>40896</c:v>
                </c:pt>
                <c:pt idx="3042">
                  <c:v>40897</c:v>
                </c:pt>
                <c:pt idx="3043">
                  <c:v>40898</c:v>
                </c:pt>
                <c:pt idx="3044">
                  <c:v>40899</c:v>
                </c:pt>
                <c:pt idx="3045">
                  <c:v>40900</c:v>
                </c:pt>
                <c:pt idx="3046">
                  <c:v>40904</c:v>
                </c:pt>
                <c:pt idx="3047">
                  <c:v>40905</c:v>
                </c:pt>
                <c:pt idx="3048">
                  <c:v>40906</c:v>
                </c:pt>
                <c:pt idx="3049">
                  <c:v>40907</c:v>
                </c:pt>
                <c:pt idx="3050">
                  <c:v>40910</c:v>
                </c:pt>
                <c:pt idx="3051">
                  <c:v>40911</c:v>
                </c:pt>
                <c:pt idx="3052">
                  <c:v>40912</c:v>
                </c:pt>
                <c:pt idx="3053">
                  <c:v>40913</c:v>
                </c:pt>
                <c:pt idx="3054">
                  <c:v>40914</c:v>
                </c:pt>
                <c:pt idx="3055">
                  <c:v>40917</c:v>
                </c:pt>
                <c:pt idx="3056">
                  <c:v>40918</c:v>
                </c:pt>
                <c:pt idx="3057">
                  <c:v>40919</c:v>
                </c:pt>
                <c:pt idx="3058">
                  <c:v>40920</c:v>
                </c:pt>
                <c:pt idx="3059">
                  <c:v>40921</c:v>
                </c:pt>
                <c:pt idx="3060">
                  <c:v>40924</c:v>
                </c:pt>
                <c:pt idx="3061">
                  <c:v>40925</c:v>
                </c:pt>
                <c:pt idx="3062">
                  <c:v>40926</c:v>
                </c:pt>
                <c:pt idx="3063">
                  <c:v>40927</c:v>
                </c:pt>
                <c:pt idx="3064">
                  <c:v>40928</c:v>
                </c:pt>
                <c:pt idx="3065">
                  <c:v>40931</c:v>
                </c:pt>
                <c:pt idx="3066">
                  <c:v>40932</c:v>
                </c:pt>
                <c:pt idx="3067">
                  <c:v>40933</c:v>
                </c:pt>
                <c:pt idx="3068">
                  <c:v>40934</c:v>
                </c:pt>
                <c:pt idx="3069">
                  <c:v>40935</c:v>
                </c:pt>
                <c:pt idx="3070">
                  <c:v>40938</c:v>
                </c:pt>
                <c:pt idx="3071">
                  <c:v>40939</c:v>
                </c:pt>
                <c:pt idx="3072">
                  <c:v>40940</c:v>
                </c:pt>
                <c:pt idx="3073">
                  <c:v>40941</c:v>
                </c:pt>
                <c:pt idx="3074">
                  <c:v>40942</c:v>
                </c:pt>
                <c:pt idx="3075">
                  <c:v>40945</c:v>
                </c:pt>
                <c:pt idx="3076">
                  <c:v>40946</c:v>
                </c:pt>
                <c:pt idx="3077">
                  <c:v>40947</c:v>
                </c:pt>
                <c:pt idx="3078">
                  <c:v>40948</c:v>
                </c:pt>
                <c:pt idx="3079">
                  <c:v>40949</c:v>
                </c:pt>
                <c:pt idx="3080">
                  <c:v>40952</c:v>
                </c:pt>
                <c:pt idx="3081">
                  <c:v>40953</c:v>
                </c:pt>
                <c:pt idx="3082">
                  <c:v>40954</c:v>
                </c:pt>
                <c:pt idx="3083">
                  <c:v>40955</c:v>
                </c:pt>
                <c:pt idx="3084">
                  <c:v>40956</c:v>
                </c:pt>
                <c:pt idx="3085">
                  <c:v>40959</c:v>
                </c:pt>
                <c:pt idx="3086">
                  <c:v>40960</c:v>
                </c:pt>
                <c:pt idx="3087">
                  <c:v>40961</c:v>
                </c:pt>
                <c:pt idx="3088">
                  <c:v>40962</c:v>
                </c:pt>
                <c:pt idx="3089">
                  <c:v>40963</c:v>
                </c:pt>
                <c:pt idx="3090">
                  <c:v>40966</c:v>
                </c:pt>
                <c:pt idx="3091">
                  <c:v>40967</c:v>
                </c:pt>
                <c:pt idx="3092">
                  <c:v>40968</c:v>
                </c:pt>
                <c:pt idx="3093">
                  <c:v>40969</c:v>
                </c:pt>
                <c:pt idx="3094">
                  <c:v>40970</c:v>
                </c:pt>
                <c:pt idx="3095">
                  <c:v>40973</c:v>
                </c:pt>
                <c:pt idx="3096">
                  <c:v>40974</c:v>
                </c:pt>
                <c:pt idx="3097">
                  <c:v>40975</c:v>
                </c:pt>
                <c:pt idx="3098">
                  <c:v>40976</c:v>
                </c:pt>
                <c:pt idx="3099">
                  <c:v>40977</c:v>
                </c:pt>
                <c:pt idx="3100">
                  <c:v>40980</c:v>
                </c:pt>
                <c:pt idx="3101">
                  <c:v>40981</c:v>
                </c:pt>
                <c:pt idx="3102">
                  <c:v>40982</c:v>
                </c:pt>
                <c:pt idx="3103">
                  <c:v>40983</c:v>
                </c:pt>
                <c:pt idx="3104">
                  <c:v>40984</c:v>
                </c:pt>
                <c:pt idx="3105">
                  <c:v>40987</c:v>
                </c:pt>
                <c:pt idx="3106">
                  <c:v>40988</c:v>
                </c:pt>
                <c:pt idx="3107">
                  <c:v>40989</c:v>
                </c:pt>
                <c:pt idx="3108">
                  <c:v>40990</c:v>
                </c:pt>
                <c:pt idx="3109">
                  <c:v>40991</c:v>
                </c:pt>
                <c:pt idx="3110">
                  <c:v>40994</c:v>
                </c:pt>
                <c:pt idx="3111">
                  <c:v>40995</c:v>
                </c:pt>
                <c:pt idx="3112">
                  <c:v>40996</c:v>
                </c:pt>
                <c:pt idx="3113">
                  <c:v>40997</c:v>
                </c:pt>
                <c:pt idx="3114">
                  <c:v>40998</c:v>
                </c:pt>
                <c:pt idx="3115">
                  <c:v>41001</c:v>
                </c:pt>
                <c:pt idx="3116">
                  <c:v>41002</c:v>
                </c:pt>
                <c:pt idx="3117">
                  <c:v>41003</c:v>
                </c:pt>
                <c:pt idx="3118">
                  <c:v>41004</c:v>
                </c:pt>
                <c:pt idx="3119">
                  <c:v>41009</c:v>
                </c:pt>
                <c:pt idx="3120">
                  <c:v>41010</c:v>
                </c:pt>
                <c:pt idx="3121">
                  <c:v>41011</c:v>
                </c:pt>
                <c:pt idx="3122">
                  <c:v>41012</c:v>
                </c:pt>
                <c:pt idx="3123">
                  <c:v>41015</c:v>
                </c:pt>
                <c:pt idx="3124">
                  <c:v>41016</c:v>
                </c:pt>
                <c:pt idx="3125">
                  <c:v>41017</c:v>
                </c:pt>
                <c:pt idx="3126">
                  <c:v>41018</c:v>
                </c:pt>
                <c:pt idx="3127">
                  <c:v>41019</c:v>
                </c:pt>
                <c:pt idx="3128">
                  <c:v>41022</c:v>
                </c:pt>
                <c:pt idx="3129">
                  <c:v>41023</c:v>
                </c:pt>
                <c:pt idx="3130">
                  <c:v>41024</c:v>
                </c:pt>
                <c:pt idx="3131">
                  <c:v>41025</c:v>
                </c:pt>
                <c:pt idx="3132">
                  <c:v>41026</c:v>
                </c:pt>
                <c:pt idx="3133">
                  <c:v>41029</c:v>
                </c:pt>
                <c:pt idx="3134">
                  <c:v>41030</c:v>
                </c:pt>
                <c:pt idx="3135">
                  <c:v>41031</c:v>
                </c:pt>
                <c:pt idx="3136">
                  <c:v>41032</c:v>
                </c:pt>
                <c:pt idx="3137">
                  <c:v>41033</c:v>
                </c:pt>
                <c:pt idx="3138">
                  <c:v>41036</c:v>
                </c:pt>
                <c:pt idx="3139">
                  <c:v>41037</c:v>
                </c:pt>
                <c:pt idx="3140">
                  <c:v>41038</c:v>
                </c:pt>
                <c:pt idx="3141">
                  <c:v>41039</c:v>
                </c:pt>
                <c:pt idx="3142">
                  <c:v>41040</c:v>
                </c:pt>
                <c:pt idx="3143">
                  <c:v>41043</c:v>
                </c:pt>
                <c:pt idx="3144">
                  <c:v>41044</c:v>
                </c:pt>
                <c:pt idx="3145">
                  <c:v>41045</c:v>
                </c:pt>
                <c:pt idx="3146">
                  <c:v>41046</c:v>
                </c:pt>
                <c:pt idx="3147">
                  <c:v>41047</c:v>
                </c:pt>
                <c:pt idx="3148">
                  <c:v>41050</c:v>
                </c:pt>
                <c:pt idx="3149">
                  <c:v>41051</c:v>
                </c:pt>
                <c:pt idx="3150">
                  <c:v>41052</c:v>
                </c:pt>
                <c:pt idx="3151">
                  <c:v>41053</c:v>
                </c:pt>
                <c:pt idx="3152">
                  <c:v>41054</c:v>
                </c:pt>
                <c:pt idx="3153">
                  <c:v>41057</c:v>
                </c:pt>
                <c:pt idx="3154">
                  <c:v>41058</c:v>
                </c:pt>
                <c:pt idx="3155">
                  <c:v>41059</c:v>
                </c:pt>
                <c:pt idx="3156">
                  <c:v>41060</c:v>
                </c:pt>
                <c:pt idx="3157">
                  <c:v>41061</c:v>
                </c:pt>
                <c:pt idx="3158">
                  <c:v>41064</c:v>
                </c:pt>
                <c:pt idx="3159">
                  <c:v>41065</c:v>
                </c:pt>
                <c:pt idx="3160">
                  <c:v>41066</c:v>
                </c:pt>
                <c:pt idx="3161">
                  <c:v>41067</c:v>
                </c:pt>
                <c:pt idx="3162">
                  <c:v>41068</c:v>
                </c:pt>
                <c:pt idx="3163">
                  <c:v>41071</c:v>
                </c:pt>
                <c:pt idx="3164">
                  <c:v>41072</c:v>
                </c:pt>
                <c:pt idx="3165">
                  <c:v>41073</c:v>
                </c:pt>
                <c:pt idx="3166">
                  <c:v>41074</c:v>
                </c:pt>
                <c:pt idx="3167">
                  <c:v>41075</c:v>
                </c:pt>
                <c:pt idx="3168">
                  <c:v>41078</c:v>
                </c:pt>
                <c:pt idx="3169">
                  <c:v>41079</c:v>
                </c:pt>
                <c:pt idx="3170">
                  <c:v>41080</c:v>
                </c:pt>
                <c:pt idx="3171">
                  <c:v>41081</c:v>
                </c:pt>
              </c:numCache>
            </c:numRef>
          </c:cat>
          <c:val>
            <c:numRef>
              <c:f>Sheet1!$B$2:$B$3173</c:f>
              <c:numCache>
                <c:formatCode>General</c:formatCode>
                <c:ptCount val="3172"/>
                <c:pt idx="0">
                  <c:v>100</c:v>
                </c:pt>
                <c:pt idx="1">
                  <c:v>101.28</c:v>
                </c:pt>
                <c:pt idx="2">
                  <c:v>102.06</c:v>
                </c:pt>
                <c:pt idx="3">
                  <c:v>101.74000000000001</c:v>
                </c:pt>
                <c:pt idx="4">
                  <c:v>103.66</c:v>
                </c:pt>
                <c:pt idx="5">
                  <c:v>103.16</c:v>
                </c:pt>
                <c:pt idx="6">
                  <c:v>104.27</c:v>
                </c:pt>
                <c:pt idx="7">
                  <c:v>104.74000000000001</c:v>
                </c:pt>
                <c:pt idx="8">
                  <c:v>103.64999999999999</c:v>
                </c:pt>
                <c:pt idx="9">
                  <c:v>105.09</c:v>
                </c:pt>
                <c:pt idx="10">
                  <c:v>106.24000000000001</c:v>
                </c:pt>
                <c:pt idx="11">
                  <c:v>109.22</c:v>
                </c:pt>
                <c:pt idx="12">
                  <c:v>107.55</c:v>
                </c:pt>
                <c:pt idx="13">
                  <c:v>106.58</c:v>
                </c:pt>
                <c:pt idx="14">
                  <c:v>105.97</c:v>
                </c:pt>
                <c:pt idx="15">
                  <c:v>106.36999999999999</c:v>
                </c:pt>
                <c:pt idx="16">
                  <c:v>107</c:v>
                </c:pt>
                <c:pt idx="17">
                  <c:v>108</c:v>
                </c:pt>
                <c:pt idx="18">
                  <c:v>108.6</c:v>
                </c:pt>
                <c:pt idx="19">
                  <c:v>107.48</c:v>
                </c:pt>
                <c:pt idx="20">
                  <c:v>105.86999999999999</c:v>
                </c:pt>
                <c:pt idx="21">
                  <c:v>106.16999999999999</c:v>
                </c:pt>
                <c:pt idx="22">
                  <c:v>106.61</c:v>
                </c:pt>
                <c:pt idx="23">
                  <c:v>106.29</c:v>
                </c:pt>
                <c:pt idx="24">
                  <c:v>106.33</c:v>
                </c:pt>
                <c:pt idx="25">
                  <c:v>106.29</c:v>
                </c:pt>
                <c:pt idx="26">
                  <c:v>108.07</c:v>
                </c:pt>
                <c:pt idx="27">
                  <c:v>108.82</c:v>
                </c:pt>
                <c:pt idx="28">
                  <c:v>108.66999999999999</c:v>
                </c:pt>
                <c:pt idx="29">
                  <c:v>108.64</c:v>
                </c:pt>
                <c:pt idx="30">
                  <c:v>108.66999999999999</c:v>
                </c:pt>
                <c:pt idx="31">
                  <c:v>109.89</c:v>
                </c:pt>
                <c:pt idx="32">
                  <c:v>110.54</c:v>
                </c:pt>
                <c:pt idx="33">
                  <c:v>109.89</c:v>
                </c:pt>
                <c:pt idx="34">
                  <c:v>108.75</c:v>
                </c:pt>
                <c:pt idx="35">
                  <c:v>109.4</c:v>
                </c:pt>
                <c:pt idx="36">
                  <c:v>109.08</c:v>
                </c:pt>
                <c:pt idx="37">
                  <c:v>109.4</c:v>
                </c:pt>
                <c:pt idx="38">
                  <c:v>110.44000000000001</c:v>
                </c:pt>
                <c:pt idx="39">
                  <c:v>111.13</c:v>
                </c:pt>
                <c:pt idx="40">
                  <c:v>110.14</c:v>
                </c:pt>
                <c:pt idx="41">
                  <c:v>111.73</c:v>
                </c:pt>
                <c:pt idx="42">
                  <c:v>111.99000000000001</c:v>
                </c:pt>
                <c:pt idx="43">
                  <c:v>112.03</c:v>
                </c:pt>
                <c:pt idx="44">
                  <c:v>112.07</c:v>
                </c:pt>
                <c:pt idx="45">
                  <c:v>111.36999999999999</c:v>
                </c:pt>
                <c:pt idx="46">
                  <c:v>111.66</c:v>
                </c:pt>
                <c:pt idx="47">
                  <c:v>111.24000000000001</c:v>
                </c:pt>
                <c:pt idx="48">
                  <c:v>111.14999999999999</c:v>
                </c:pt>
                <c:pt idx="49">
                  <c:v>109.64999999999999</c:v>
                </c:pt>
                <c:pt idx="50">
                  <c:v>110.07</c:v>
                </c:pt>
                <c:pt idx="51">
                  <c:v>110.09</c:v>
                </c:pt>
                <c:pt idx="52">
                  <c:v>109.13</c:v>
                </c:pt>
                <c:pt idx="53">
                  <c:v>108.67999999999999</c:v>
                </c:pt>
                <c:pt idx="54">
                  <c:v>108.9</c:v>
                </c:pt>
                <c:pt idx="55">
                  <c:v>109.53</c:v>
                </c:pt>
                <c:pt idx="56">
                  <c:v>109.3</c:v>
                </c:pt>
                <c:pt idx="57">
                  <c:v>109.45</c:v>
                </c:pt>
                <c:pt idx="58">
                  <c:v>108.32</c:v>
                </c:pt>
                <c:pt idx="59">
                  <c:v>109.17999999999999</c:v>
                </c:pt>
                <c:pt idx="60">
                  <c:v>109.48</c:v>
                </c:pt>
                <c:pt idx="61">
                  <c:v>109.05</c:v>
                </c:pt>
                <c:pt idx="62">
                  <c:v>108.91000000000001</c:v>
                </c:pt>
                <c:pt idx="63">
                  <c:v>109.43</c:v>
                </c:pt>
                <c:pt idx="64">
                  <c:v>108.82</c:v>
                </c:pt>
                <c:pt idx="65">
                  <c:v>108.72</c:v>
                </c:pt>
                <c:pt idx="66">
                  <c:v>109.17999999999999</c:v>
                </c:pt>
                <c:pt idx="67">
                  <c:v>108.11</c:v>
                </c:pt>
                <c:pt idx="68">
                  <c:v>108.61999999999999</c:v>
                </c:pt>
                <c:pt idx="69">
                  <c:v>108.71000000000001</c:v>
                </c:pt>
                <c:pt idx="70">
                  <c:v>108.95</c:v>
                </c:pt>
                <c:pt idx="71">
                  <c:v>109.2</c:v>
                </c:pt>
                <c:pt idx="72">
                  <c:v>109.39</c:v>
                </c:pt>
                <c:pt idx="73">
                  <c:v>109.32</c:v>
                </c:pt>
                <c:pt idx="74">
                  <c:v>110.88</c:v>
                </c:pt>
                <c:pt idx="75">
                  <c:v>111.21000000000001</c:v>
                </c:pt>
                <c:pt idx="76">
                  <c:v>111.03</c:v>
                </c:pt>
                <c:pt idx="77">
                  <c:v>109.64999999999999</c:v>
                </c:pt>
                <c:pt idx="78">
                  <c:v>110.29</c:v>
                </c:pt>
                <c:pt idx="79">
                  <c:v>111.38</c:v>
                </c:pt>
                <c:pt idx="80">
                  <c:v>111.13</c:v>
                </c:pt>
                <c:pt idx="81">
                  <c:v>111.8</c:v>
                </c:pt>
                <c:pt idx="82">
                  <c:v>112.67999999999999</c:v>
                </c:pt>
                <c:pt idx="83">
                  <c:v>112.6</c:v>
                </c:pt>
                <c:pt idx="84">
                  <c:v>112.43</c:v>
                </c:pt>
                <c:pt idx="85">
                  <c:v>111.9</c:v>
                </c:pt>
                <c:pt idx="86">
                  <c:v>111.19</c:v>
                </c:pt>
                <c:pt idx="87">
                  <c:v>111.99000000000001</c:v>
                </c:pt>
                <c:pt idx="88">
                  <c:v>112.75</c:v>
                </c:pt>
                <c:pt idx="89">
                  <c:v>112.1</c:v>
                </c:pt>
                <c:pt idx="90">
                  <c:v>111.61</c:v>
                </c:pt>
                <c:pt idx="91">
                  <c:v>111.56</c:v>
                </c:pt>
                <c:pt idx="92">
                  <c:v>110.69</c:v>
                </c:pt>
                <c:pt idx="93">
                  <c:v>110.29</c:v>
                </c:pt>
                <c:pt idx="94">
                  <c:v>110.84</c:v>
                </c:pt>
                <c:pt idx="95">
                  <c:v>110.34</c:v>
                </c:pt>
                <c:pt idx="96">
                  <c:v>111.76</c:v>
                </c:pt>
                <c:pt idx="97">
                  <c:v>112.73</c:v>
                </c:pt>
                <c:pt idx="98">
                  <c:v>113.05</c:v>
                </c:pt>
                <c:pt idx="99">
                  <c:v>113.59</c:v>
                </c:pt>
                <c:pt idx="100">
                  <c:v>114.9</c:v>
                </c:pt>
                <c:pt idx="101">
                  <c:v>116.25</c:v>
                </c:pt>
                <c:pt idx="102">
                  <c:v>117.21000000000001</c:v>
                </c:pt>
                <c:pt idx="103">
                  <c:v>116.11999999999999</c:v>
                </c:pt>
                <c:pt idx="104">
                  <c:v>117.84</c:v>
                </c:pt>
                <c:pt idx="105">
                  <c:v>118.71000000000001</c:v>
                </c:pt>
                <c:pt idx="106">
                  <c:v>118.25</c:v>
                </c:pt>
                <c:pt idx="107">
                  <c:v>118.77</c:v>
                </c:pt>
                <c:pt idx="108">
                  <c:v>118.36999999999999</c:v>
                </c:pt>
                <c:pt idx="109">
                  <c:v>118.77</c:v>
                </c:pt>
                <c:pt idx="110">
                  <c:v>119.36</c:v>
                </c:pt>
                <c:pt idx="111">
                  <c:v>119.78</c:v>
                </c:pt>
                <c:pt idx="112">
                  <c:v>120.24000000000001</c:v>
                </c:pt>
                <c:pt idx="113">
                  <c:v>119.71000000000001</c:v>
                </c:pt>
                <c:pt idx="114">
                  <c:v>119.36</c:v>
                </c:pt>
                <c:pt idx="115">
                  <c:v>119.63</c:v>
                </c:pt>
                <c:pt idx="116">
                  <c:v>118.77</c:v>
                </c:pt>
                <c:pt idx="117">
                  <c:v>117.89</c:v>
                </c:pt>
                <c:pt idx="118">
                  <c:v>117.75</c:v>
                </c:pt>
                <c:pt idx="119">
                  <c:v>116.57</c:v>
                </c:pt>
                <c:pt idx="120">
                  <c:v>116.7</c:v>
                </c:pt>
                <c:pt idx="121">
                  <c:v>116.64999999999999</c:v>
                </c:pt>
                <c:pt idx="122">
                  <c:v>118.5</c:v>
                </c:pt>
                <c:pt idx="123">
                  <c:v>116.98</c:v>
                </c:pt>
                <c:pt idx="124">
                  <c:v>114.82</c:v>
                </c:pt>
                <c:pt idx="125">
                  <c:v>114.23</c:v>
                </c:pt>
                <c:pt idx="126">
                  <c:v>112.64</c:v>
                </c:pt>
                <c:pt idx="127">
                  <c:v>112.31</c:v>
                </c:pt>
                <c:pt idx="128">
                  <c:v>112.35</c:v>
                </c:pt>
                <c:pt idx="129">
                  <c:v>111.58</c:v>
                </c:pt>
                <c:pt idx="130">
                  <c:v>112.03</c:v>
                </c:pt>
                <c:pt idx="131">
                  <c:v>112.14999999999999</c:v>
                </c:pt>
                <c:pt idx="132">
                  <c:v>111.31</c:v>
                </c:pt>
                <c:pt idx="133">
                  <c:v>110.89</c:v>
                </c:pt>
                <c:pt idx="134">
                  <c:v>110.67999999999999</c:v>
                </c:pt>
                <c:pt idx="135">
                  <c:v>111.89</c:v>
                </c:pt>
                <c:pt idx="136">
                  <c:v>111.5</c:v>
                </c:pt>
                <c:pt idx="137">
                  <c:v>112.05</c:v>
                </c:pt>
                <c:pt idx="138">
                  <c:v>112.16</c:v>
                </c:pt>
                <c:pt idx="139">
                  <c:v>112.61999999999999</c:v>
                </c:pt>
                <c:pt idx="140">
                  <c:v>113.06</c:v>
                </c:pt>
                <c:pt idx="141">
                  <c:v>112.9</c:v>
                </c:pt>
                <c:pt idx="142">
                  <c:v>113.32</c:v>
                </c:pt>
                <c:pt idx="143">
                  <c:v>113.46000000000001</c:v>
                </c:pt>
                <c:pt idx="144">
                  <c:v>114.8</c:v>
                </c:pt>
                <c:pt idx="145">
                  <c:v>113.93</c:v>
                </c:pt>
                <c:pt idx="146">
                  <c:v>113.41000000000001</c:v>
                </c:pt>
                <c:pt idx="147">
                  <c:v>112.75</c:v>
                </c:pt>
                <c:pt idx="148">
                  <c:v>112.93</c:v>
                </c:pt>
                <c:pt idx="149">
                  <c:v>113.08</c:v>
                </c:pt>
                <c:pt idx="150">
                  <c:v>113.89</c:v>
                </c:pt>
                <c:pt idx="151">
                  <c:v>112.75</c:v>
                </c:pt>
                <c:pt idx="152">
                  <c:v>114.24000000000001</c:v>
                </c:pt>
                <c:pt idx="153">
                  <c:v>113.86999999999999</c:v>
                </c:pt>
                <c:pt idx="154">
                  <c:v>114.54</c:v>
                </c:pt>
                <c:pt idx="155">
                  <c:v>119.11999999999999</c:v>
                </c:pt>
                <c:pt idx="156">
                  <c:v>119.14</c:v>
                </c:pt>
                <c:pt idx="157">
                  <c:v>120.45</c:v>
                </c:pt>
                <c:pt idx="158">
                  <c:v>120.84</c:v>
                </c:pt>
                <c:pt idx="159">
                  <c:v>121.6</c:v>
                </c:pt>
                <c:pt idx="160">
                  <c:v>122.22</c:v>
                </c:pt>
                <c:pt idx="161">
                  <c:v>122.43</c:v>
                </c:pt>
                <c:pt idx="162">
                  <c:v>121.98</c:v>
                </c:pt>
                <c:pt idx="163">
                  <c:v>123.11</c:v>
                </c:pt>
                <c:pt idx="164">
                  <c:v>123.39</c:v>
                </c:pt>
                <c:pt idx="165">
                  <c:v>122.76</c:v>
                </c:pt>
                <c:pt idx="166">
                  <c:v>123.19</c:v>
                </c:pt>
                <c:pt idx="167">
                  <c:v>122.94000000000001</c:v>
                </c:pt>
                <c:pt idx="168">
                  <c:v>122.54</c:v>
                </c:pt>
                <c:pt idx="169">
                  <c:v>123.86</c:v>
                </c:pt>
                <c:pt idx="170">
                  <c:v>124.57</c:v>
                </c:pt>
                <c:pt idx="171">
                  <c:v>125</c:v>
                </c:pt>
                <c:pt idx="172">
                  <c:v>125.36</c:v>
                </c:pt>
                <c:pt idx="173">
                  <c:v>126.7</c:v>
                </c:pt>
                <c:pt idx="174">
                  <c:v>127.79</c:v>
                </c:pt>
                <c:pt idx="175">
                  <c:v>127.4</c:v>
                </c:pt>
                <c:pt idx="176">
                  <c:v>129.36000000000001</c:v>
                </c:pt>
                <c:pt idx="177">
                  <c:v>127.41000000000001</c:v>
                </c:pt>
                <c:pt idx="178">
                  <c:v>128.26999999999998</c:v>
                </c:pt>
                <c:pt idx="179">
                  <c:v>130.07</c:v>
                </c:pt>
                <c:pt idx="180">
                  <c:v>130.53</c:v>
                </c:pt>
                <c:pt idx="181">
                  <c:v>129.85000000000002</c:v>
                </c:pt>
                <c:pt idx="182">
                  <c:v>130.23999999999998</c:v>
                </c:pt>
                <c:pt idx="183">
                  <c:v>129.07</c:v>
                </c:pt>
                <c:pt idx="184">
                  <c:v>128.78</c:v>
                </c:pt>
                <c:pt idx="185">
                  <c:v>127.67999999999999</c:v>
                </c:pt>
                <c:pt idx="186">
                  <c:v>128.13999999999999</c:v>
                </c:pt>
                <c:pt idx="187">
                  <c:v>125.22</c:v>
                </c:pt>
                <c:pt idx="188">
                  <c:v>125.2</c:v>
                </c:pt>
                <c:pt idx="189">
                  <c:v>126.51</c:v>
                </c:pt>
                <c:pt idx="190">
                  <c:v>127.13</c:v>
                </c:pt>
                <c:pt idx="191">
                  <c:v>126.1</c:v>
                </c:pt>
                <c:pt idx="192">
                  <c:v>126.35</c:v>
                </c:pt>
                <c:pt idx="193">
                  <c:v>125.23</c:v>
                </c:pt>
                <c:pt idx="194">
                  <c:v>124.49000000000001</c:v>
                </c:pt>
                <c:pt idx="195">
                  <c:v>126.53</c:v>
                </c:pt>
                <c:pt idx="196">
                  <c:v>127.39</c:v>
                </c:pt>
                <c:pt idx="197">
                  <c:v>125.67999999999999</c:v>
                </c:pt>
                <c:pt idx="198">
                  <c:v>124.88</c:v>
                </c:pt>
                <c:pt idx="199">
                  <c:v>123.96000000000001</c:v>
                </c:pt>
                <c:pt idx="200">
                  <c:v>123.96000000000001</c:v>
                </c:pt>
                <c:pt idx="201">
                  <c:v>123.96000000000001</c:v>
                </c:pt>
                <c:pt idx="202">
                  <c:v>126.33</c:v>
                </c:pt>
                <c:pt idx="203">
                  <c:v>126.02</c:v>
                </c:pt>
                <c:pt idx="204">
                  <c:v>125.14999999999999</c:v>
                </c:pt>
                <c:pt idx="205">
                  <c:v>125.14999999999999</c:v>
                </c:pt>
                <c:pt idx="206">
                  <c:v>124.77</c:v>
                </c:pt>
                <c:pt idx="207">
                  <c:v>125.81</c:v>
                </c:pt>
                <c:pt idx="208">
                  <c:v>125.13</c:v>
                </c:pt>
                <c:pt idx="209">
                  <c:v>125.43</c:v>
                </c:pt>
                <c:pt idx="210">
                  <c:v>126.02</c:v>
                </c:pt>
                <c:pt idx="211">
                  <c:v>126.11</c:v>
                </c:pt>
                <c:pt idx="212">
                  <c:v>125.02</c:v>
                </c:pt>
                <c:pt idx="213">
                  <c:v>125.16999999999999</c:v>
                </c:pt>
                <c:pt idx="214">
                  <c:v>122.88</c:v>
                </c:pt>
                <c:pt idx="215">
                  <c:v>124.03</c:v>
                </c:pt>
                <c:pt idx="216">
                  <c:v>122.9</c:v>
                </c:pt>
                <c:pt idx="217">
                  <c:v>125.06</c:v>
                </c:pt>
                <c:pt idx="218">
                  <c:v>124.04</c:v>
                </c:pt>
                <c:pt idx="219">
                  <c:v>123.36</c:v>
                </c:pt>
                <c:pt idx="220">
                  <c:v>123.4</c:v>
                </c:pt>
                <c:pt idx="221">
                  <c:v>124.38</c:v>
                </c:pt>
                <c:pt idx="222">
                  <c:v>125.16</c:v>
                </c:pt>
                <c:pt idx="223">
                  <c:v>125.41000000000001</c:v>
                </c:pt>
                <c:pt idx="224">
                  <c:v>126.27</c:v>
                </c:pt>
                <c:pt idx="225">
                  <c:v>127.17999999999999</c:v>
                </c:pt>
                <c:pt idx="226">
                  <c:v>127.86999999999999</c:v>
                </c:pt>
                <c:pt idx="227">
                  <c:v>126.89</c:v>
                </c:pt>
                <c:pt idx="228">
                  <c:v>127.66999999999999</c:v>
                </c:pt>
                <c:pt idx="229">
                  <c:v>127.35</c:v>
                </c:pt>
                <c:pt idx="230">
                  <c:v>127.56</c:v>
                </c:pt>
                <c:pt idx="231">
                  <c:v>128.58000000000001</c:v>
                </c:pt>
                <c:pt idx="232">
                  <c:v>127.86999999999999</c:v>
                </c:pt>
                <c:pt idx="233">
                  <c:v>129.22999999999999</c:v>
                </c:pt>
                <c:pt idx="234">
                  <c:v>128.36000000000001</c:v>
                </c:pt>
                <c:pt idx="235">
                  <c:v>128.72999999999999</c:v>
                </c:pt>
                <c:pt idx="236">
                  <c:v>130.53</c:v>
                </c:pt>
                <c:pt idx="237">
                  <c:v>131.28</c:v>
                </c:pt>
                <c:pt idx="238">
                  <c:v>132.22999999999999</c:v>
                </c:pt>
                <c:pt idx="239">
                  <c:v>130.36000000000001</c:v>
                </c:pt>
                <c:pt idx="240">
                  <c:v>129.6</c:v>
                </c:pt>
                <c:pt idx="241">
                  <c:v>129.78</c:v>
                </c:pt>
                <c:pt idx="242">
                  <c:v>130.79</c:v>
                </c:pt>
                <c:pt idx="243">
                  <c:v>131.02000000000001</c:v>
                </c:pt>
                <c:pt idx="244">
                  <c:v>129.18</c:v>
                </c:pt>
                <c:pt idx="245">
                  <c:v>128.66</c:v>
                </c:pt>
                <c:pt idx="246">
                  <c:v>128.80000000000001</c:v>
                </c:pt>
                <c:pt idx="247">
                  <c:v>129.16</c:v>
                </c:pt>
                <c:pt idx="248">
                  <c:v>128.76999999999998</c:v>
                </c:pt>
                <c:pt idx="249">
                  <c:v>129.87</c:v>
                </c:pt>
                <c:pt idx="250">
                  <c:v>130.23999999999998</c:v>
                </c:pt>
                <c:pt idx="251">
                  <c:v>129.28</c:v>
                </c:pt>
                <c:pt idx="252">
                  <c:v>129.37</c:v>
                </c:pt>
                <c:pt idx="253">
                  <c:v>128.57</c:v>
                </c:pt>
                <c:pt idx="254">
                  <c:v>128.5</c:v>
                </c:pt>
                <c:pt idx="255">
                  <c:v>127.3</c:v>
                </c:pt>
                <c:pt idx="256">
                  <c:v>125.66999999999999</c:v>
                </c:pt>
                <c:pt idx="257">
                  <c:v>124.17999999999999</c:v>
                </c:pt>
                <c:pt idx="258">
                  <c:v>126.16</c:v>
                </c:pt>
                <c:pt idx="259">
                  <c:v>123.66999999999999</c:v>
                </c:pt>
                <c:pt idx="260">
                  <c:v>124.41000000000001</c:v>
                </c:pt>
                <c:pt idx="261">
                  <c:v>125.08</c:v>
                </c:pt>
                <c:pt idx="262">
                  <c:v>124.02</c:v>
                </c:pt>
                <c:pt idx="263">
                  <c:v>120.61999999999999</c:v>
                </c:pt>
                <c:pt idx="264">
                  <c:v>122.6</c:v>
                </c:pt>
                <c:pt idx="265">
                  <c:v>124.81</c:v>
                </c:pt>
                <c:pt idx="266">
                  <c:v>126.97</c:v>
                </c:pt>
                <c:pt idx="267">
                  <c:v>126.09</c:v>
                </c:pt>
                <c:pt idx="268">
                  <c:v>126.76</c:v>
                </c:pt>
                <c:pt idx="269">
                  <c:v>126.54</c:v>
                </c:pt>
                <c:pt idx="270">
                  <c:v>126.49000000000001</c:v>
                </c:pt>
                <c:pt idx="271">
                  <c:v>124.99000000000001</c:v>
                </c:pt>
                <c:pt idx="272">
                  <c:v>124.85</c:v>
                </c:pt>
                <c:pt idx="273">
                  <c:v>126.35</c:v>
                </c:pt>
                <c:pt idx="274">
                  <c:v>125.51</c:v>
                </c:pt>
                <c:pt idx="275">
                  <c:v>127.77</c:v>
                </c:pt>
                <c:pt idx="276">
                  <c:v>130.04</c:v>
                </c:pt>
                <c:pt idx="277">
                  <c:v>130.52000000000001</c:v>
                </c:pt>
                <c:pt idx="278">
                  <c:v>130</c:v>
                </c:pt>
                <c:pt idx="279">
                  <c:v>130</c:v>
                </c:pt>
                <c:pt idx="280">
                  <c:v>130</c:v>
                </c:pt>
                <c:pt idx="281">
                  <c:v>130.53</c:v>
                </c:pt>
                <c:pt idx="282">
                  <c:v>131.53</c:v>
                </c:pt>
                <c:pt idx="283">
                  <c:v>132.52000000000001</c:v>
                </c:pt>
                <c:pt idx="284">
                  <c:v>131.96</c:v>
                </c:pt>
                <c:pt idx="285">
                  <c:v>131.34</c:v>
                </c:pt>
                <c:pt idx="286">
                  <c:v>131.56</c:v>
                </c:pt>
                <c:pt idx="287">
                  <c:v>131.32000000000002</c:v>
                </c:pt>
                <c:pt idx="288">
                  <c:v>129.87</c:v>
                </c:pt>
                <c:pt idx="289">
                  <c:v>132.37</c:v>
                </c:pt>
                <c:pt idx="290">
                  <c:v>133.09</c:v>
                </c:pt>
                <c:pt idx="291">
                  <c:v>132.87</c:v>
                </c:pt>
                <c:pt idx="292">
                  <c:v>132.69</c:v>
                </c:pt>
                <c:pt idx="293">
                  <c:v>131.41</c:v>
                </c:pt>
                <c:pt idx="294">
                  <c:v>132.72</c:v>
                </c:pt>
                <c:pt idx="295">
                  <c:v>133.47</c:v>
                </c:pt>
                <c:pt idx="296">
                  <c:v>133.80000000000001</c:v>
                </c:pt>
                <c:pt idx="297">
                  <c:v>133.12</c:v>
                </c:pt>
                <c:pt idx="298">
                  <c:v>135.57</c:v>
                </c:pt>
                <c:pt idx="299">
                  <c:v>135.78</c:v>
                </c:pt>
                <c:pt idx="300">
                  <c:v>134.76</c:v>
                </c:pt>
                <c:pt idx="301">
                  <c:v>135.15</c:v>
                </c:pt>
                <c:pt idx="302">
                  <c:v>136.01</c:v>
                </c:pt>
                <c:pt idx="303">
                  <c:v>138.30000000000001</c:v>
                </c:pt>
                <c:pt idx="304">
                  <c:v>139.66</c:v>
                </c:pt>
                <c:pt idx="305">
                  <c:v>140.62</c:v>
                </c:pt>
                <c:pt idx="306">
                  <c:v>141.47</c:v>
                </c:pt>
                <c:pt idx="307">
                  <c:v>141.13</c:v>
                </c:pt>
                <c:pt idx="308">
                  <c:v>140.66999999999999</c:v>
                </c:pt>
                <c:pt idx="309">
                  <c:v>140.60999999999999</c:v>
                </c:pt>
                <c:pt idx="310">
                  <c:v>140.5</c:v>
                </c:pt>
                <c:pt idx="311">
                  <c:v>140.19</c:v>
                </c:pt>
                <c:pt idx="312">
                  <c:v>142.69999999999999</c:v>
                </c:pt>
                <c:pt idx="313">
                  <c:v>143.83000000000001</c:v>
                </c:pt>
                <c:pt idx="314">
                  <c:v>143.70999999999998</c:v>
                </c:pt>
                <c:pt idx="315">
                  <c:v>144.55000000000001</c:v>
                </c:pt>
                <c:pt idx="316">
                  <c:v>145.03</c:v>
                </c:pt>
                <c:pt idx="317">
                  <c:v>144.66</c:v>
                </c:pt>
                <c:pt idx="318">
                  <c:v>144.13999999999999</c:v>
                </c:pt>
                <c:pt idx="319">
                  <c:v>143.58000000000001</c:v>
                </c:pt>
                <c:pt idx="320">
                  <c:v>142.78</c:v>
                </c:pt>
                <c:pt idx="321">
                  <c:v>140.94999999999999</c:v>
                </c:pt>
                <c:pt idx="322">
                  <c:v>141.28</c:v>
                </c:pt>
                <c:pt idx="323">
                  <c:v>138.87</c:v>
                </c:pt>
                <c:pt idx="324">
                  <c:v>138.75</c:v>
                </c:pt>
                <c:pt idx="325">
                  <c:v>137.79</c:v>
                </c:pt>
                <c:pt idx="326">
                  <c:v>138.30000000000001</c:v>
                </c:pt>
                <c:pt idx="327">
                  <c:v>138.13</c:v>
                </c:pt>
                <c:pt idx="328">
                  <c:v>138.76</c:v>
                </c:pt>
                <c:pt idx="329">
                  <c:v>138.43</c:v>
                </c:pt>
                <c:pt idx="330">
                  <c:v>138.30000000000001</c:v>
                </c:pt>
                <c:pt idx="331">
                  <c:v>136.63</c:v>
                </c:pt>
                <c:pt idx="332">
                  <c:v>137.23999999999998</c:v>
                </c:pt>
                <c:pt idx="333">
                  <c:v>139.49</c:v>
                </c:pt>
                <c:pt idx="334">
                  <c:v>139.70999999999998</c:v>
                </c:pt>
                <c:pt idx="335">
                  <c:v>141.10999999999999</c:v>
                </c:pt>
                <c:pt idx="336">
                  <c:v>139.54</c:v>
                </c:pt>
                <c:pt idx="337">
                  <c:v>139.37</c:v>
                </c:pt>
                <c:pt idx="338">
                  <c:v>139.73999999999998</c:v>
                </c:pt>
                <c:pt idx="339">
                  <c:v>138.30000000000001</c:v>
                </c:pt>
                <c:pt idx="340">
                  <c:v>137.91999999999999</c:v>
                </c:pt>
                <c:pt idx="341">
                  <c:v>137.07</c:v>
                </c:pt>
                <c:pt idx="342">
                  <c:v>135.78</c:v>
                </c:pt>
                <c:pt idx="343">
                  <c:v>136.85000000000002</c:v>
                </c:pt>
                <c:pt idx="344">
                  <c:v>137.07</c:v>
                </c:pt>
                <c:pt idx="345">
                  <c:v>136.02000000000001</c:v>
                </c:pt>
                <c:pt idx="346">
                  <c:v>134.44</c:v>
                </c:pt>
                <c:pt idx="347">
                  <c:v>133.5</c:v>
                </c:pt>
                <c:pt idx="348">
                  <c:v>134.66</c:v>
                </c:pt>
                <c:pt idx="349">
                  <c:v>134.41</c:v>
                </c:pt>
                <c:pt idx="350">
                  <c:v>133.99</c:v>
                </c:pt>
                <c:pt idx="351">
                  <c:v>131.86000000000001</c:v>
                </c:pt>
                <c:pt idx="352">
                  <c:v>129.96</c:v>
                </c:pt>
                <c:pt idx="353">
                  <c:v>130.35000000000002</c:v>
                </c:pt>
                <c:pt idx="354">
                  <c:v>131.58000000000001</c:v>
                </c:pt>
                <c:pt idx="355">
                  <c:v>132.55000000000001</c:v>
                </c:pt>
                <c:pt idx="356">
                  <c:v>134.02000000000001</c:v>
                </c:pt>
                <c:pt idx="357">
                  <c:v>134.26</c:v>
                </c:pt>
                <c:pt idx="358">
                  <c:v>133.97999999999999</c:v>
                </c:pt>
                <c:pt idx="359">
                  <c:v>133.59</c:v>
                </c:pt>
                <c:pt idx="360">
                  <c:v>133.52000000000001</c:v>
                </c:pt>
                <c:pt idx="361">
                  <c:v>133.29</c:v>
                </c:pt>
                <c:pt idx="362">
                  <c:v>132.37</c:v>
                </c:pt>
                <c:pt idx="363">
                  <c:v>131.41</c:v>
                </c:pt>
                <c:pt idx="364">
                  <c:v>130.82000000000002</c:v>
                </c:pt>
                <c:pt idx="365">
                  <c:v>130.51</c:v>
                </c:pt>
                <c:pt idx="366">
                  <c:v>131.47999999999999</c:v>
                </c:pt>
                <c:pt idx="367">
                  <c:v>130.81</c:v>
                </c:pt>
                <c:pt idx="368">
                  <c:v>130.26</c:v>
                </c:pt>
                <c:pt idx="369">
                  <c:v>129.4</c:v>
                </c:pt>
                <c:pt idx="370">
                  <c:v>129.70999999999998</c:v>
                </c:pt>
                <c:pt idx="371">
                  <c:v>130.46</c:v>
                </c:pt>
                <c:pt idx="372">
                  <c:v>130.65</c:v>
                </c:pt>
                <c:pt idx="373">
                  <c:v>131.06</c:v>
                </c:pt>
                <c:pt idx="374">
                  <c:v>132.16999999999999</c:v>
                </c:pt>
                <c:pt idx="375">
                  <c:v>132.38000000000002</c:v>
                </c:pt>
                <c:pt idx="376">
                  <c:v>132.38000000000002</c:v>
                </c:pt>
                <c:pt idx="377">
                  <c:v>132.83000000000001</c:v>
                </c:pt>
                <c:pt idx="378">
                  <c:v>131.60999999999999</c:v>
                </c:pt>
                <c:pt idx="379">
                  <c:v>132.30000000000001</c:v>
                </c:pt>
                <c:pt idx="380">
                  <c:v>131.82000000000002</c:v>
                </c:pt>
                <c:pt idx="381">
                  <c:v>133.97999999999999</c:v>
                </c:pt>
                <c:pt idx="382">
                  <c:v>133.94</c:v>
                </c:pt>
                <c:pt idx="383">
                  <c:v>131.94</c:v>
                </c:pt>
                <c:pt idx="384">
                  <c:v>129.41999999999999</c:v>
                </c:pt>
                <c:pt idx="385">
                  <c:v>127.9</c:v>
                </c:pt>
                <c:pt idx="386">
                  <c:v>121.75</c:v>
                </c:pt>
                <c:pt idx="387">
                  <c:v>122</c:v>
                </c:pt>
                <c:pt idx="388">
                  <c:v>123.22</c:v>
                </c:pt>
                <c:pt idx="389">
                  <c:v>118.42</c:v>
                </c:pt>
                <c:pt idx="390">
                  <c:v>117.4</c:v>
                </c:pt>
                <c:pt idx="391">
                  <c:v>116.04</c:v>
                </c:pt>
                <c:pt idx="392">
                  <c:v>113.67999999999999</c:v>
                </c:pt>
                <c:pt idx="393">
                  <c:v>110.17999999999999</c:v>
                </c:pt>
                <c:pt idx="394">
                  <c:v>105.74000000000001</c:v>
                </c:pt>
                <c:pt idx="395">
                  <c:v>108.39</c:v>
                </c:pt>
                <c:pt idx="396">
                  <c:v>110.43</c:v>
                </c:pt>
                <c:pt idx="397">
                  <c:v>112.17999999999999</c:v>
                </c:pt>
                <c:pt idx="398">
                  <c:v>113.35</c:v>
                </c:pt>
                <c:pt idx="399">
                  <c:v>116.17999999999999</c:v>
                </c:pt>
                <c:pt idx="400">
                  <c:v>115.34</c:v>
                </c:pt>
                <c:pt idx="401">
                  <c:v>114.99000000000001</c:v>
                </c:pt>
                <c:pt idx="402">
                  <c:v>116.53</c:v>
                </c:pt>
                <c:pt idx="403">
                  <c:v>118.72</c:v>
                </c:pt>
                <c:pt idx="404">
                  <c:v>118.14999999999999</c:v>
                </c:pt>
                <c:pt idx="405">
                  <c:v>116.46000000000001</c:v>
                </c:pt>
                <c:pt idx="406">
                  <c:v>116.25</c:v>
                </c:pt>
                <c:pt idx="407">
                  <c:v>118.33</c:v>
                </c:pt>
                <c:pt idx="408">
                  <c:v>121.25</c:v>
                </c:pt>
                <c:pt idx="409">
                  <c:v>121.52</c:v>
                </c:pt>
                <c:pt idx="410">
                  <c:v>121.11</c:v>
                </c:pt>
                <c:pt idx="411">
                  <c:v>121.67999999999999</c:v>
                </c:pt>
                <c:pt idx="412">
                  <c:v>123.36</c:v>
                </c:pt>
                <c:pt idx="413">
                  <c:v>121.49000000000001</c:v>
                </c:pt>
                <c:pt idx="414">
                  <c:v>119.88</c:v>
                </c:pt>
                <c:pt idx="415">
                  <c:v>119.82</c:v>
                </c:pt>
                <c:pt idx="416">
                  <c:v>121.06</c:v>
                </c:pt>
                <c:pt idx="417">
                  <c:v>121.35</c:v>
                </c:pt>
                <c:pt idx="418">
                  <c:v>120.82</c:v>
                </c:pt>
                <c:pt idx="419">
                  <c:v>122.73</c:v>
                </c:pt>
                <c:pt idx="420">
                  <c:v>121.28</c:v>
                </c:pt>
                <c:pt idx="421">
                  <c:v>119.32</c:v>
                </c:pt>
                <c:pt idx="422">
                  <c:v>120.51</c:v>
                </c:pt>
                <c:pt idx="423">
                  <c:v>119.84</c:v>
                </c:pt>
                <c:pt idx="424">
                  <c:v>120.72</c:v>
                </c:pt>
                <c:pt idx="425">
                  <c:v>122.3</c:v>
                </c:pt>
                <c:pt idx="426">
                  <c:v>122.57</c:v>
                </c:pt>
                <c:pt idx="427">
                  <c:v>123.14</c:v>
                </c:pt>
                <c:pt idx="428">
                  <c:v>124.93</c:v>
                </c:pt>
                <c:pt idx="429">
                  <c:v>124.75</c:v>
                </c:pt>
                <c:pt idx="430">
                  <c:v>122.98</c:v>
                </c:pt>
                <c:pt idx="431">
                  <c:v>126.06</c:v>
                </c:pt>
                <c:pt idx="432">
                  <c:v>127.38</c:v>
                </c:pt>
                <c:pt idx="433">
                  <c:v>127.34</c:v>
                </c:pt>
                <c:pt idx="434">
                  <c:v>127.63</c:v>
                </c:pt>
                <c:pt idx="435">
                  <c:v>127.7</c:v>
                </c:pt>
                <c:pt idx="436">
                  <c:v>127.06</c:v>
                </c:pt>
                <c:pt idx="437">
                  <c:v>127.02</c:v>
                </c:pt>
                <c:pt idx="438">
                  <c:v>127.14999999999999</c:v>
                </c:pt>
                <c:pt idx="439">
                  <c:v>127.16</c:v>
                </c:pt>
                <c:pt idx="440">
                  <c:v>127.95</c:v>
                </c:pt>
                <c:pt idx="441">
                  <c:v>127.44000000000001</c:v>
                </c:pt>
                <c:pt idx="442">
                  <c:v>127.03</c:v>
                </c:pt>
                <c:pt idx="443">
                  <c:v>126.04</c:v>
                </c:pt>
                <c:pt idx="444">
                  <c:v>125.23</c:v>
                </c:pt>
                <c:pt idx="445">
                  <c:v>125.36999999999999</c:v>
                </c:pt>
                <c:pt idx="446">
                  <c:v>126.05</c:v>
                </c:pt>
                <c:pt idx="447">
                  <c:v>127.73</c:v>
                </c:pt>
                <c:pt idx="448">
                  <c:v>128.46</c:v>
                </c:pt>
                <c:pt idx="449">
                  <c:v>128.59</c:v>
                </c:pt>
                <c:pt idx="450">
                  <c:v>127.47</c:v>
                </c:pt>
                <c:pt idx="451">
                  <c:v>127.11999999999999</c:v>
                </c:pt>
                <c:pt idx="452">
                  <c:v>125.92</c:v>
                </c:pt>
                <c:pt idx="453">
                  <c:v>124.57</c:v>
                </c:pt>
                <c:pt idx="454">
                  <c:v>124.07</c:v>
                </c:pt>
                <c:pt idx="455">
                  <c:v>125.93</c:v>
                </c:pt>
                <c:pt idx="456">
                  <c:v>125.94000000000001</c:v>
                </c:pt>
                <c:pt idx="457">
                  <c:v>125.54</c:v>
                </c:pt>
                <c:pt idx="458">
                  <c:v>125.29</c:v>
                </c:pt>
                <c:pt idx="459">
                  <c:v>126.43</c:v>
                </c:pt>
                <c:pt idx="460">
                  <c:v>129.08000000000001</c:v>
                </c:pt>
                <c:pt idx="461">
                  <c:v>129.60999999999999</c:v>
                </c:pt>
                <c:pt idx="462">
                  <c:v>129.18</c:v>
                </c:pt>
                <c:pt idx="463">
                  <c:v>129.18</c:v>
                </c:pt>
                <c:pt idx="464">
                  <c:v>126.79</c:v>
                </c:pt>
                <c:pt idx="465">
                  <c:v>129.15</c:v>
                </c:pt>
                <c:pt idx="466">
                  <c:v>131.04</c:v>
                </c:pt>
                <c:pt idx="467">
                  <c:v>130.53</c:v>
                </c:pt>
                <c:pt idx="468">
                  <c:v>130.22</c:v>
                </c:pt>
                <c:pt idx="469">
                  <c:v>130.20999999999998</c:v>
                </c:pt>
                <c:pt idx="470">
                  <c:v>129.5</c:v>
                </c:pt>
                <c:pt idx="471">
                  <c:v>129.93</c:v>
                </c:pt>
                <c:pt idx="472">
                  <c:v>128.57</c:v>
                </c:pt>
                <c:pt idx="473">
                  <c:v>129.43</c:v>
                </c:pt>
                <c:pt idx="474">
                  <c:v>128.76</c:v>
                </c:pt>
                <c:pt idx="475">
                  <c:v>129.20999999999998</c:v>
                </c:pt>
                <c:pt idx="476">
                  <c:v>129.47999999999999</c:v>
                </c:pt>
                <c:pt idx="477">
                  <c:v>129.32000000000002</c:v>
                </c:pt>
                <c:pt idx="478">
                  <c:v>128.5</c:v>
                </c:pt>
                <c:pt idx="479">
                  <c:v>129.58000000000001</c:v>
                </c:pt>
                <c:pt idx="480">
                  <c:v>130.43</c:v>
                </c:pt>
                <c:pt idx="481">
                  <c:v>130.13999999999999</c:v>
                </c:pt>
                <c:pt idx="482">
                  <c:v>131.54</c:v>
                </c:pt>
                <c:pt idx="483">
                  <c:v>129.76999999999998</c:v>
                </c:pt>
                <c:pt idx="484">
                  <c:v>129.37</c:v>
                </c:pt>
                <c:pt idx="485">
                  <c:v>130.94</c:v>
                </c:pt>
                <c:pt idx="486">
                  <c:v>131.9</c:v>
                </c:pt>
                <c:pt idx="487">
                  <c:v>130.9</c:v>
                </c:pt>
                <c:pt idx="488">
                  <c:v>129.79</c:v>
                </c:pt>
                <c:pt idx="489">
                  <c:v>128.63999999999999</c:v>
                </c:pt>
                <c:pt idx="490">
                  <c:v>129.05000000000001</c:v>
                </c:pt>
                <c:pt idx="491">
                  <c:v>129.52000000000001</c:v>
                </c:pt>
                <c:pt idx="492">
                  <c:v>130.26</c:v>
                </c:pt>
                <c:pt idx="493">
                  <c:v>131.69</c:v>
                </c:pt>
                <c:pt idx="494">
                  <c:v>132.55000000000001</c:v>
                </c:pt>
                <c:pt idx="495">
                  <c:v>132.63999999999999</c:v>
                </c:pt>
                <c:pt idx="496">
                  <c:v>132.82000000000002</c:v>
                </c:pt>
                <c:pt idx="497">
                  <c:v>131.79</c:v>
                </c:pt>
                <c:pt idx="498">
                  <c:v>130.20999999999998</c:v>
                </c:pt>
                <c:pt idx="499">
                  <c:v>129.59</c:v>
                </c:pt>
                <c:pt idx="500">
                  <c:v>130</c:v>
                </c:pt>
                <c:pt idx="501">
                  <c:v>129.47999999999999</c:v>
                </c:pt>
                <c:pt idx="502">
                  <c:v>131.63999999999999</c:v>
                </c:pt>
                <c:pt idx="503">
                  <c:v>133.55000000000001</c:v>
                </c:pt>
                <c:pt idx="504">
                  <c:v>135.15</c:v>
                </c:pt>
                <c:pt idx="505">
                  <c:v>133.35000000000002</c:v>
                </c:pt>
                <c:pt idx="506">
                  <c:v>135.18</c:v>
                </c:pt>
                <c:pt idx="507">
                  <c:v>137.63999999999999</c:v>
                </c:pt>
                <c:pt idx="508">
                  <c:v>137.80000000000001</c:v>
                </c:pt>
                <c:pt idx="509">
                  <c:v>136.85000000000002</c:v>
                </c:pt>
                <c:pt idx="510">
                  <c:v>138.75</c:v>
                </c:pt>
                <c:pt idx="511">
                  <c:v>139.94999999999999</c:v>
                </c:pt>
                <c:pt idx="512">
                  <c:v>139.63</c:v>
                </c:pt>
                <c:pt idx="513">
                  <c:v>138.78</c:v>
                </c:pt>
                <c:pt idx="514">
                  <c:v>139.22999999999999</c:v>
                </c:pt>
                <c:pt idx="515">
                  <c:v>138.87</c:v>
                </c:pt>
                <c:pt idx="516">
                  <c:v>139.47999999999999</c:v>
                </c:pt>
                <c:pt idx="517">
                  <c:v>140.23999999999998</c:v>
                </c:pt>
                <c:pt idx="518">
                  <c:v>140.36000000000001</c:v>
                </c:pt>
                <c:pt idx="519">
                  <c:v>139.78</c:v>
                </c:pt>
                <c:pt idx="520">
                  <c:v>139.93</c:v>
                </c:pt>
                <c:pt idx="521">
                  <c:v>140.69999999999999</c:v>
                </c:pt>
                <c:pt idx="522">
                  <c:v>140.10999999999999</c:v>
                </c:pt>
                <c:pt idx="523">
                  <c:v>140.34</c:v>
                </c:pt>
                <c:pt idx="524">
                  <c:v>140.69</c:v>
                </c:pt>
                <c:pt idx="525">
                  <c:v>142.10999999999999</c:v>
                </c:pt>
                <c:pt idx="526">
                  <c:v>142.10999999999999</c:v>
                </c:pt>
                <c:pt idx="527">
                  <c:v>142.10999999999999</c:v>
                </c:pt>
                <c:pt idx="528">
                  <c:v>142.41</c:v>
                </c:pt>
                <c:pt idx="529">
                  <c:v>142.51</c:v>
                </c:pt>
                <c:pt idx="530">
                  <c:v>142.06</c:v>
                </c:pt>
                <c:pt idx="531">
                  <c:v>142.62</c:v>
                </c:pt>
                <c:pt idx="532">
                  <c:v>141.5</c:v>
                </c:pt>
                <c:pt idx="533">
                  <c:v>141.84</c:v>
                </c:pt>
                <c:pt idx="534">
                  <c:v>143.56</c:v>
                </c:pt>
                <c:pt idx="535">
                  <c:v>142.35000000000002</c:v>
                </c:pt>
                <c:pt idx="536">
                  <c:v>143.34</c:v>
                </c:pt>
                <c:pt idx="537">
                  <c:v>143.76999999999998</c:v>
                </c:pt>
                <c:pt idx="538">
                  <c:v>145.57</c:v>
                </c:pt>
                <c:pt idx="539">
                  <c:v>145.68</c:v>
                </c:pt>
                <c:pt idx="540">
                  <c:v>144.94</c:v>
                </c:pt>
                <c:pt idx="541">
                  <c:v>145.31</c:v>
                </c:pt>
                <c:pt idx="542">
                  <c:v>145.53</c:v>
                </c:pt>
                <c:pt idx="543">
                  <c:v>145.31</c:v>
                </c:pt>
                <c:pt idx="544">
                  <c:v>144.99</c:v>
                </c:pt>
                <c:pt idx="545">
                  <c:v>142.63999999999999</c:v>
                </c:pt>
                <c:pt idx="546">
                  <c:v>142.93</c:v>
                </c:pt>
                <c:pt idx="547">
                  <c:v>142.59</c:v>
                </c:pt>
                <c:pt idx="548">
                  <c:v>143.47999999999999</c:v>
                </c:pt>
                <c:pt idx="549">
                  <c:v>142.97999999999999</c:v>
                </c:pt>
                <c:pt idx="550">
                  <c:v>143.57</c:v>
                </c:pt>
                <c:pt idx="551">
                  <c:v>143.22</c:v>
                </c:pt>
                <c:pt idx="552">
                  <c:v>142.87</c:v>
                </c:pt>
                <c:pt idx="553">
                  <c:v>142.52000000000001</c:v>
                </c:pt>
                <c:pt idx="554">
                  <c:v>144.57</c:v>
                </c:pt>
                <c:pt idx="555">
                  <c:v>143.46</c:v>
                </c:pt>
                <c:pt idx="556">
                  <c:v>142.85000000000002</c:v>
                </c:pt>
                <c:pt idx="557">
                  <c:v>144.07</c:v>
                </c:pt>
                <c:pt idx="558">
                  <c:v>144.72</c:v>
                </c:pt>
                <c:pt idx="559">
                  <c:v>144.16999999999999</c:v>
                </c:pt>
                <c:pt idx="560">
                  <c:v>143.6</c:v>
                </c:pt>
                <c:pt idx="561">
                  <c:v>142.44999999999999</c:v>
                </c:pt>
                <c:pt idx="562">
                  <c:v>141.80000000000001</c:v>
                </c:pt>
                <c:pt idx="563">
                  <c:v>141.66999999999999</c:v>
                </c:pt>
                <c:pt idx="564">
                  <c:v>140.13999999999999</c:v>
                </c:pt>
                <c:pt idx="565">
                  <c:v>140.84</c:v>
                </c:pt>
                <c:pt idx="566">
                  <c:v>141.13</c:v>
                </c:pt>
                <c:pt idx="567">
                  <c:v>140.84</c:v>
                </c:pt>
                <c:pt idx="568">
                  <c:v>139.72999999999999</c:v>
                </c:pt>
                <c:pt idx="569">
                  <c:v>139.1</c:v>
                </c:pt>
                <c:pt idx="570">
                  <c:v>138.05000000000001</c:v>
                </c:pt>
                <c:pt idx="571">
                  <c:v>138.51</c:v>
                </c:pt>
                <c:pt idx="572">
                  <c:v>138.03</c:v>
                </c:pt>
                <c:pt idx="573">
                  <c:v>136.25</c:v>
                </c:pt>
                <c:pt idx="574">
                  <c:v>135.58000000000001</c:v>
                </c:pt>
                <c:pt idx="575">
                  <c:v>135.19</c:v>
                </c:pt>
                <c:pt idx="576">
                  <c:v>134.31</c:v>
                </c:pt>
                <c:pt idx="577">
                  <c:v>134.49</c:v>
                </c:pt>
                <c:pt idx="578">
                  <c:v>135</c:v>
                </c:pt>
                <c:pt idx="579">
                  <c:v>133.60999999999999</c:v>
                </c:pt>
                <c:pt idx="580">
                  <c:v>132.26</c:v>
                </c:pt>
                <c:pt idx="581">
                  <c:v>128.16999999999999</c:v>
                </c:pt>
                <c:pt idx="582">
                  <c:v>131.55000000000001</c:v>
                </c:pt>
                <c:pt idx="583">
                  <c:v>131.01</c:v>
                </c:pt>
                <c:pt idx="584">
                  <c:v>128.73999999999998</c:v>
                </c:pt>
                <c:pt idx="585">
                  <c:v>125.92</c:v>
                </c:pt>
                <c:pt idx="586">
                  <c:v>125.93</c:v>
                </c:pt>
                <c:pt idx="587">
                  <c:v>124.17999999999999</c:v>
                </c:pt>
                <c:pt idx="588">
                  <c:v>125.57</c:v>
                </c:pt>
                <c:pt idx="589">
                  <c:v>123.49000000000001</c:v>
                </c:pt>
                <c:pt idx="590">
                  <c:v>123.23</c:v>
                </c:pt>
                <c:pt idx="591">
                  <c:v>125.25</c:v>
                </c:pt>
                <c:pt idx="592">
                  <c:v>125.92</c:v>
                </c:pt>
                <c:pt idx="593">
                  <c:v>124.29</c:v>
                </c:pt>
                <c:pt idx="594">
                  <c:v>122.03</c:v>
                </c:pt>
                <c:pt idx="595">
                  <c:v>122.9</c:v>
                </c:pt>
                <c:pt idx="596">
                  <c:v>125.99000000000001</c:v>
                </c:pt>
                <c:pt idx="597">
                  <c:v>126.27</c:v>
                </c:pt>
                <c:pt idx="598">
                  <c:v>125.06</c:v>
                </c:pt>
                <c:pt idx="599">
                  <c:v>123.35</c:v>
                </c:pt>
                <c:pt idx="600">
                  <c:v>119.95</c:v>
                </c:pt>
                <c:pt idx="601">
                  <c:v>118.98</c:v>
                </c:pt>
                <c:pt idx="602">
                  <c:v>113.59</c:v>
                </c:pt>
                <c:pt idx="603">
                  <c:v>112.93</c:v>
                </c:pt>
                <c:pt idx="604">
                  <c:v>114.76</c:v>
                </c:pt>
                <c:pt idx="605">
                  <c:v>117.03</c:v>
                </c:pt>
                <c:pt idx="606">
                  <c:v>113.55</c:v>
                </c:pt>
                <c:pt idx="607">
                  <c:v>110.81</c:v>
                </c:pt>
                <c:pt idx="608">
                  <c:v>110.1</c:v>
                </c:pt>
                <c:pt idx="609">
                  <c:v>107.91000000000001</c:v>
                </c:pt>
                <c:pt idx="610">
                  <c:v>111.03</c:v>
                </c:pt>
                <c:pt idx="611">
                  <c:v>109.94000000000001</c:v>
                </c:pt>
                <c:pt idx="612">
                  <c:v>113.61999999999999</c:v>
                </c:pt>
                <c:pt idx="613">
                  <c:v>114.02</c:v>
                </c:pt>
                <c:pt idx="614">
                  <c:v>114.95</c:v>
                </c:pt>
                <c:pt idx="615">
                  <c:v>110.77</c:v>
                </c:pt>
                <c:pt idx="616">
                  <c:v>111.93</c:v>
                </c:pt>
                <c:pt idx="617">
                  <c:v>109.81</c:v>
                </c:pt>
                <c:pt idx="618">
                  <c:v>112.79</c:v>
                </c:pt>
                <c:pt idx="619">
                  <c:v>111.92</c:v>
                </c:pt>
                <c:pt idx="620">
                  <c:v>115.1</c:v>
                </c:pt>
                <c:pt idx="621">
                  <c:v>115.61</c:v>
                </c:pt>
                <c:pt idx="622">
                  <c:v>114.27</c:v>
                </c:pt>
                <c:pt idx="623">
                  <c:v>115.26</c:v>
                </c:pt>
                <c:pt idx="624">
                  <c:v>114.16</c:v>
                </c:pt>
                <c:pt idx="625">
                  <c:v>115.59</c:v>
                </c:pt>
                <c:pt idx="626">
                  <c:v>115.71000000000001</c:v>
                </c:pt>
                <c:pt idx="627">
                  <c:v>118.39</c:v>
                </c:pt>
                <c:pt idx="628">
                  <c:v>116.78</c:v>
                </c:pt>
                <c:pt idx="629">
                  <c:v>117.83</c:v>
                </c:pt>
                <c:pt idx="630">
                  <c:v>119.75</c:v>
                </c:pt>
                <c:pt idx="631">
                  <c:v>118.64</c:v>
                </c:pt>
                <c:pt idx="632">
                  <c:v>118.7</c:v>
                </c:pt>
                <c:pt idx="633">
                  <c:v>120.16999999999999</c:v>
                </c:pt>
                <c:pt idx="634">
                  <c:v>117.66</c:v>
                </c:pt>
                <c:pt idx="635">
                  <c:v>116.44000000000001</c:v>
                </c:pt>
                <c:pt idx="636">
                  <c:v>117.54</c:v>
                </c:pt>
                <c:pt idx="637">
                  <c:v>116.31</c:v>
                </c:pt>
                <c:pt idx="638">
                  <c:v>113.61</c:v>
                </c:pt>
                <c:pt idx="639">
                  <c:v>114.95</c:v>
                </c:pt>
                <c:pt idx="640">
                  <c:v>114.33</c:v>
                </c:pt>
                <c:pt idx="641">
                  <c:v>116.44000000000001</c:v>
                </c:pt>
                <c:pt idx="642">
                  <c:v>115.95</c:v>
                </c:pt>
                <c:pt idx="643">
                  <c:v>118.93</c:v>
                </c:pt>
                <c:pt idx="644">
                  <c:v>119.88</c:v>
                </c:pt>
                <c:pt idx="645">
                  <c:v>116.9</c:v>
                </c:pt>
                <c:pt idx="646">
                  <c:v>115.27</c:v>
                </c:pt>
                <c:pt idx="647">
                  <c:v>115.1</c:v>
                </c:pt>
                <c:pt idx="648">
                  <c:v>114.51</c:v>
                </c:pt>
                <c:pt idx="649">
                  <c:v>111</c:v>
                </c:pt>
                <c:pt idx="650">
                  <c:v>109.52</c:v>
                </c:pt>
                <c:pt idx="651">
                  <c:v>110.11</c:v>
                </c:pt>
                <c:pt idx="652">
                  <c:v>107</c:v>
                </c:pt>
                <c:pt idx="653">
                  <c:v>104.36</c:v>
                </c:pt>
                <c:pt idx="654">
                  <c:v>106.61999999999999</c:v>
                </c:pt>
                <c:pt idx="655">
                  <c:v>109.82</c:v>
                </c:pt>
                <c:pt idx="656">
                  <c:v>110.53</c:v>
                </c:pt>
                <c:pt idx="657">
                  <c:v>106.75</c:v>
                </c:pt>
                <c:pt idx="658">
                  <c:v>107.38</c:v>
                </c:pt>
                <c:pt idx="659">
                  <c:v>109.2</c:v>
                </c:pt>
                <c:pt idx="660">
                  <c:v>109.07</c:v>
                </c:pt>
                <c:pt idx="661">
                  <c:v>107.77</c:v>
                </c:pt>
                <c:pt idx="662">
                  <c:v>106.45</c:v>
                </c:pt>
                <c:pt idx="663">
                  <c:v>105.39</c:v>
                </c:pt>
                <c:pt idx="664">
                  <c:v>104.49000000000001</c:v>
                </c:pt>
                <c:pt idx="665">
                  <c:v>104.75</c:v>
                </c:pt>
                <c:pt idx="666">
                  <c:v>109.61</c:v>
                </c:pt>
                <c:pt idx="667">
                  <c:v>107.95</c:v>
                </c:pt>
                <c:pt idx="668">
                  <c:v>113.36</c:v>
                </c:pt>
                <c:pt idx="669">
                  <c:v>112.41000000000001</c:v>
                </c:pt>
                <c:pt idx="670">
                  <c:v>115.55</c:v>
                </c:pt>
                <c:pt idx="671">
                  <c:v>115.35</c:v>
                </c:pt>
                <c:pt idx="672">
                  <c:v>116.25</c:v>
                </c:pt>
                <c:pt idx="673">
                  <c:v>115.72</c:v>
                </c:pt>
                <c:pt idx="674">
                  <c:v>113.52</c:v>
                </c:pt>
                <c:pt idx="675">
                  <c:v>116.57</c:v>
                </c:pt>
                <c:pt idx="676">
                  <c:v>115.64</c:v>
                </c:pt>
                <c:pt idx="677">
                  <c:v>116.58</c:v>
                </c:pt>
                <c:pt idx="678">
                  <c:v>113.04</c:v>
                </c:pt>
                <c:pt idx="679">
                  <c:v>114.05</c:v>
                </c:pt>
                <c:pt idx="680">
                  <c:v>114.8</c:v>
                </c:pt>
                <c:pt idx="681">
                  <c:v>112.73</c:v>
                </c:pt>
                <c:pt idx="682">
                  <c:v>116.44000000000001</c:v>
                </c:pt>
                <c:pt idx="683">
                  <c:v>117.16</c:v>
                </c:pt>
                <c:pt idx="684">
                  <c:v>116.54</c:v>
                </c:pt>
                <c:pt idx="685">
                  <c:v>115.94000000000001</c:v>
                </c:pt>
                <c:pt idx="686">
                  <c:v>114.79</c:v>
                </c:pt>
                <c:pt idx="687">
                  <c:v>113.97</c:v>
                </c:pt>
                <c:pt idx="688">
                  <c:v>115.24000000000001</c:v>
                </c:pt>
                <c:pt idx="689">
                  <c:v>113.76</c:v>
                </c:pt>
                <c:pt idx="690">
                  <c:v>114.24000000000001</c:v>
                </c:pt>
                <c:pt idx="691">
                  <c:v>114.92</c:v>
                </c:pt>
                <c:pt idx="692">
                  <c:v>116.03</c:v>
                </c:pt>
                <c:pt idx="693">
                  <c:v>115.7</c:v>
                </c:pt>
                <c:pt idx="694">
                  <c:v>115.1</c:v>
                </c:pt>
                <c:pt idx="695">
                  <c:v>118.02</c:v>
                </c:pt>
                <c:pt idx="696">
                  <c:v>118.92</c:v>
                </c:pt>
                <c:pt idx="697">
                  <c:v>117.43</c:v>
                </c:pt>
                <c:pt idx="698">
                  <c:v>115.06</c:v>
                </c:pt>
                <c:pt idx="699">
                  <c:v>117.57</c:v>
                </c:pt>
                <c:pt idx="700">
                  <c:v>118.9</c:v>
                </c:pt>
                <c:pt idx="701">
                  <c:v>119.38</c:v>
                </c:pt>
                <c:pt idx="702">
                  <c:v>119.16999999999999</c:v>
                </c:pt>
                <c:pt idx="703">
                  <c:v>117.88</c:v>
                </c:pt>
                <c:pt idx="704">
                  <c:v>116.7</c:v>
                </c:pt>
                <c:pt idx="705">
                  <c:v>116.22</c:v>
                </c:pt>
                <c:pt idx="706">
                  <c:v>115.26</c:v>
                </c:pt>
                <c:pt idx="707">
                  <c:v>113.45</c:v>
                </c:pt>
                <c:pt idx="708">
                  <c:v>112.27</c:v>
                </c:pt>
                <c:pt idx="709">
                  <c:v>114.14</c:v>
                </c:pt>
                <c:pt idx="710">
                  <c:v>112.11999999999999</c:v>
                </c:pt>
                <c:pt idx="711">
                  <c:v>111.51</c:v>
                </c:pt>
                <c:pt idx="712">
                  <c:v>113.51</c:v>
                </c:pt>
                <c:pt idx="713">
                  <c:v>112.24000000000001</c:v>
                </c:pt>
                <c:pt idx="714">
                  <c:v>110.67999999999999</c:v>
                </c:pt>
                <c:pt idx="715">
                  <c:v>110.41000000000001</c:v>
                </c:pt>
                <c:pt idx="716">
                  <c:v>111.36</c:v>
                </c:pt>
                <c:pt idx="717">
                  <c:v>111.11999999999999</c:v>
                </c:pt>
                <c:pt idx="718">
                  <c:v>110.81</c:v>
                </c:pt>
                <c:pt idx="719">
                  <c:v>110.81</c:v>
                </c:pt>
                <c:pt idx="720">
                  <c:v>110.81</c:v>
                </c:pt>
                <c:pt idx="721">
                  <c:v>107.95</c:v>
                </c:pt>
                <c:pt idx="722">
                  <c:v>109.47</c:v>
                </c:pt>
                <c:pt idx="723">
                  <c:v>110.42</c:v>
                </c:pt>
                <c:pt idx="724">
                  <c:v>110.42</c:v>
                </c:pt>
                <c:pt idx="725">
                  <c:v>113.49000000000001</c:v>
                </c:pt>
                <c:pt idx="726">
                  <c:v>113.4</c:v>
                </c:pt>
                <c:pt idx="727">
                  <c:v>112.72</c:v>
                </c:pt>
                <c:pt idx="728">
                  <c:v>111.98</c:v>
                </c:pt>
                <c:pt idx="729">
                  <c:v>110.41000000000001</c:v>
                </c:pt>
                <c:pt idx="730">
                  <c:v>110.73</c:v>
                </c:pt>
                <c:pt idx="731">
                  <c:v>111.01</c:v>
                </c:pt>
                <c:pt idx="732">
                  <c:v>110.4</c:v>
                </c:pt>
                <c:pt idx="733">
                  <c:v>110.66999999999999</c:v>
                </c:pt>
                <c:pt idx="734">
                  <c:v>109.33</c:v>
                </c:pt>
                <c:pt idx="735">
                  <c:v>109.36999999999999</c:v>
                </c:pt>
                <c:pt idx="736">
                  <c:v>107.72</c:v>
                </c:pt>
                <c:pt idx="737">
                  <c:v>106.89</c:v>
                </c:pt>
                <c:pt idx="738">
                  <c:v>105.88</c:v>
                </c:pt>
                <c:pt idx="739">
                  <c:v>104.16999999999999</c:v>
                </c:pt>
                <c:pt idx="740">
                  <c:v>103.44000000000001</c:v>
                </c:pt>
                <c:pt idx="741">
                  <c:v>103.05</c:v>
                </c:pt>
                <c:pt idx="742">
                  <c:v>99.490000000000009</c:v>
                </c:pt>
                <c:pt idx="743">
                  <c:v>99.58</c:v>
                </c:pt>
                <c:pt idx="744">
                  <c:v>98.59</c:v>
                </c:pt>
                <c:pt idx="745">
                  <c:v>101.39</c:v>
                </c:pt>
                <c:pt idx="746">
                  <c:v>101.25</c:v>
                </c:pt>
                <c:pt idx="747">
                  <c:v>103.46000000000001</c:v>
                </c:pt>
                <c:pt idx="748">
                  <c:v>100.59</c:v>
                </c:pt>
                <c:pt idx="749">
                  <c:v>103</c:v>
                </c:pt>
                <c:pt idx="750">
                  <c:v>100.86</c:v>
                </c:pt>
                <c:pt idx="751">
                  <c:v>100.22</c:v>
                </c:pt>
                <c:pt idx="752">
                  <c:v>100.22</c:v>
                </c:pt>
                <c:pt idx="753">
                  <c:v>101.2</c:v>
                </c:pt>
                <c:pt idx="754">
                  <c:v>99.93</c:v>
                </c:pt>
                <c:pt idx="755">
                  <c:v>99.16</c:v>
                </c:pt>
                <c:pt idx="756">
                  <c:v>99.23</c:v>
                </c:pt>
                <c:pt idx="757">
                  <c:v>100.81</c:v>
                </c:pt>
                <c:pt idx="758">
                  <c:v>101.95</c:v>
                </c:pt>
                <c:pt idx="759">
                  <c:v>100.71000000000001</c:v>
                </c:pt>
                <c:pt idx="760">
                  <c:v>99.23</c:v>
                </c:pt>
                <c:pt idx="761">
                  <c:v>99.79</c:v>
                </c:pt>
                <c:pt idx="762">
                  <c:v>99.56</c:v>
                </c:pt>
                <c:pt idx="763">
                  <c:v>95.72</c:v>
                </c:pt>
                <c:pt idx="764">
                  <c:v>95.240000000000009</c:v>
                </c:pt>
                <c:pt idx="765">
                  <c:v>95.14</c:v>
                </c:pt>
                <c:pt idx="766">
                  <c:v>96.940000000000012</c:v>
                </c:pt>
                <c:pt idx="767">
                  <c:v>97.210000000000008</c:v>
                </c:pt>
                <c:pt idx="768">
                  <c:v>95.58</c:v>
                </c:pt>
                <c:pt idx="769">
                  <c:v>94.26</c:v>
                </c:pt>
                <c:pt idx="770">
                  <c:v>93.86999999999999</c:v>
                </c:pt>
                <c:pt idx="771">
                  <c:v>92.04</c:v>
                </c:pt>
                <c:pt idx="772">
                  <c:v>90.8</c:v>
                </c:pt>
                <c:pt idx="773">
                  <c:v>91.26</c:v>
                </c:pt>
                <c:pt idx="774">
                  <c:v>88.8</c:v>
                </c:pt>
                <c:pt idx="775">
                  <c:v>94.2</c:v>
                </c:pt>
                <c:pt idx="776">
                  <c:v>96.55</c:v>
                </c:pt>
                <c:pt idx="777">
                  <c:v>99.32</c:v>
                </c:pt>
                <c:pt idx="778">
                  <c:v>100.54</c:v>
                </c:pt>
                <c:pt idx="779">
                  <c:v>101.95</c:v>
                </c:pt>
                <c:pt idx="780">
                  <c:v>101.26</c:v>
                </c:pt>
                <c:pt idx="781">
                  <c:v>104.28</c:v>
                </c:pt>
                <c:pt idx="782">
                  <c:v>99.83</c:v>
                </c:pt>
                <c:pt idx="783">
                  <c:v>100.66</c:v>
                </c:pt>
                <c:pt idx="784">
                  <c:v>100.29</c:v>
                </c:pt>
                <c:pt idx="785">
                  <c:v>98.85</c:v>
                </c:pt>
                <c:pt idx="786">
                  <c:v>98.19</c:v>
                </c:pt>
                <c:pt idx="787">
                  <c:v>95.149999999999991</c:v>
                </c:pt>
                <c:pt idx="788">
                  <c:v>96.11</c:v>
                </c:pt>
                <c:pt idx="789">
                  <c:v>100.02</c:v>
                </c:pt>
                <c:pt idx="790">
                  <c:v>100.77</c:v>
                </c:pt>
                <c:pt idx="791">
                  <c:v>102.59</c:v>
                </c:pt>
                <c:pt idx="792">
                  <c:v>106.92</c:v>
                </c:pt>
                <c:pt idx="793">
                  <c:v>105</c:v>
                </c:pt>
                <c:pt idx="794">
                  <c:v>104.78</c:v>
                </c:pt>
                <c:pt idx="795">
                  <c:v>103.16999999999999</c:v>
                </c:pt>
                <c:pt idx="796">
                  <c:v>104.8</c:v>
                </c:pt>
                <c:pt idx="797">
                  <c:v>105.76</c:v>
                </c:pt>
                <c:pt idx="798">
                  <c:v>107.92</c:v>
                </c:pt>
                <c:pt idx="799">
                  <c:v>107.01</c:v>
                </c:pt>
                <c:pt idx="800">
                  <c:v>107.67999999999999</c:v>
                </c:pt>
                <c:pt idx="801">
                  <c:v>107.67999999999999</c:v>
                </c:pt>
                <c:pt idx="802">
                  <c:v>107.67999999999999</c:v>
                </c:pt>
                <c:pt idx="803">
                  <c:v>108.78</c:v>
                </c:pt>
                <c:pt idx="804">
                  <c:v>110.24000000000001</c:v>
                </c:pt>
                <c:pt idx="805">
                  <c:v>108.6</c:v>
                </c:pt>
                <c:pt idx="806">
                  <c:v>107</c:v>
                </c:pt>
                <c:pt idx="807">
                  <c:v>109.98</c:v>
                </c:pt>
                <c:pt idx="808">
                  <c:v>110.07</c:v>
                </c:pt>
                <c:pt idx="809">
                  <c:v>110.19</c:v>
                </c:pt>
                <c:pt idx="810">
                  <c:v>109.83</c:v>
                </c:pt>
                <c:pt idx="811">
                  <c:v>110.38</c:v>
                </c:pt>
                <c:pt idx="812">
                  <c:v>111.61</c:v>
                </c:pt>
                <c:pt idx="813">
                  <c:v>113.74000000000001</c:v>
                </c:pt>
                <c:pt idx="814">
                  <c:v>112.14999999999999</c:v>
                </c:pt>
                <c:pt idx="815">
                  <c:v>109.14</c:v>
                </c:pt>
                <c:pt idx="816">
                  <c:v>110.48</c:v>
                </c:pt>
                <c:pt idx="817">
                  <c:v>110.4</c:v>
                </c:pt>
                <c:pt idx="818">
                  <c:v>110.44000000000001</c:v>
                </c:pt>
                <c:pt idx="819">
                  <c:v>111.1</c:v>
                </c:pt>
                <c:pt idx="820">
                  <c:v>112.82</c:v>
                </c:pt>
                <c:pt idx="821">
                  <c:v>113.11999999999999</c:v>
                </c:pt>
                <c:pt idx="822">
                  <c:v>109.08</c:v>
                </c:pt>
                <c:pt idx="823">
                  <c:v>109.58</c:v>
                </c:pt>
                <c:pt idx="824">
                  <c:v>107.96000000000001</c:v>
                </c:pt>
                <c:pt idx="825">
                  <c:v>109.3</c:v>
                </c:pt>
                <c:pt idx="826">
                  <c:v>109.06</c:v>
                </c:pt>
                <c:pt idx="827">
                  <c:v>108.86999999999999</c:v>
                </c:pt>
                <c:pt idx="828">
                  <c:v>109.38</c:v>
                </c:pt>
                <c:pt idx="829">
                  <c:v>111.73</c:v>
                </c:pt>
                <c:pt idx="830">
                  <c:v>112.16</c:v>
                </c:pt>
                <c:pt idx="831">
                  <c:v>114.13</c:v>
                </c:pt>
                <c:pt idx="832">
                  <c:v>115.92</c:v>
                </c:pt>
                <c:pt idx="833">
                  <c:v>114.56</c:v>
                </c:pt>
                <c:pt idx="834">
                  <c:v>115.61</c:v>
                </c:pt>
                <c:pt idx="835">
                  <c:v>115.54</c:v>
                </c:pt>
                <c:pt idx="836">
                  <c:v>118.28</c:v>
                </c:pt>
                <c:pt idx="837">
                  <c:v>117.3</c:v>
                </c:pt>
                <c:pt idx="838">
                  <c:v>117.19</c:v>
                </c:pt>
                <c:pt idx="839">
                  <c:v>118.75</c:v>
                </c:pt>
                <c:pt idx="840">
                  <c:v>119.47</c:v>
                </c:pt>
                <c:pt idx="841">
                  <c:v>117.86999999999999</c:v>
                </c:pt>
                <c:pt idx="842">
                  <c:v>120.14999999999999</c:v>
                </c:pt>
                <c:pt idx="843">
                  <c:v>121.45</c:v>
                </c:pt>
                <c:pt idx="844">
                  <c:v>122.09</c:v>
                </c:pt>
                <c:pt idx="845">
                  <c:v>120.13</c:v>
                </c:pt>
                <c:pt idx="846">
                  <c:v>120.45</c:v>
                </c:pt>
                <c:pt idx="847">
                  <c:v>118.84</c:v>
                </c:pt>
                <c:pt idx="848">
                  <c:v>118.14999999999999</c:v>
                </c:pt>
                <c:pt idx="849">
                  <c:v>120.02</c:v>
                </c:pt>
                <c:pt idx="850">
                  <c:v>119.63</c:v>
                </c:pt>
                <c:pt idx="851">
                  <c:v>119.36</c:v>
                </c:pt>
                <c:pt idx="852">
                  <c:v>118.44000000000001</c:v>
                </c:pt>
                <c:pt idx="853">
                  <c:v>115.81</c:v>
                </c:pt>
                <c:pt idx="854">
                  <c:v>117.74000000000001</c:v>
                </c:pt>
                <c:pt idx="855">
                  <c:v>118.29</c:v>
                </c:pt>
                <c:pt idx="856">
                  <c:v>118.08</c:v>
                </c:pt>
                <c:pt idx="857">
                  <c:v>121.25</c:v>
                </c:pt>
                <c:pt idx="858">
                  <c:v>120.92</c:v>
                </c:pt>
                <c:pt idx="859">
                  <c:v>120.63</c:v>
                </c:pt>
                <c:pt idx="860">
                  <c:v>119.77</c:v>
                </c:pt>
                <c:pt idx="861">
                  <c:v>121.43</c:v>
                </c:pt>
                <c:pt idx="862">
                  <c:v>122.89</c:v>
                </c:pt>
                <c:pt idx="863">
                  <c:v>122.53</c:v>
                </c:pt>
                <c:pt idx="864">
                  <c:v>121.61</c:v>
                </c:pt>
                <c:pt idx="865">
                  <c:v>120.61</c:v>
                </c:pt>
                <c:pt idx="866">
                  <c:v>120.48</c:v>
                </c:pt>
                <c:pt idx="867">
                  <c:v>120.13</c:v>
                </c:pt>
                <c:pt idx="868">
                  <c:v>120.31</c:v>
                </c:pt>
                <c:pt idx="869">
                  <c:v>119.85</c:v>
                </c:pt>
                <c:pt idx="870">
                  <c:v>121.45</c:v>
                </c:pt>
                <c:pt idx="871">
                  <c:v>121.31</c:v>
                </c:pt>
                <c:pt idx="872">
                  <c:v>121.72</c:v>
                </c:pt>
                <c:pt idx="873">
                  <c:v>122</c:v>
                </c:pt>
                <c:pt idx="874">
                  <c:v>123.01</c:v>
                </c:pt>
                <c:pt idx="875">
                  <c:v>124.03</c:v>
                </c:pt>
                <c:pt idx="876">
                  <c:v>123.11999999999999</c:v>
                </c:pt>
                <c:pt idx="877">
                  <c:v>122.06</c:v>
                </c:pt>
                <c:pt idx="878">
                  <c:v>122.59</c:v>
                </c:pt>
                <c:pt idx="879">
                  <c:v>121.22</c:v>
                </c:pt>
                <c:pt idx="880">
                  <c:v>122.03</c:v>
                </c:pt>
                <c:pt idx="881">
                  <c:v>122.95</c:v>
                </c:pt>
                <c:pt idx="882">
                  <c:v>123.1</c:v>
                </c:pt>
                <c:pt idx="883">
                  <c:v>123.6</c:v>
                </c:pt>
                <c:pt idx="884">
                  <c:v>124.22</c:v>
                </c:pt>
                <c:pt idx="885">
                  <c:v>125.76</c:v>
                </c:pt>
                <c:pt idx="886">
                  <c:v>126.05</c:v>
                </c:pt>
                <c:pt idx="887">
                  <c:v>127.44000000000001</c:v>
                </c:pt>
                <c:pt idx="888">
                  <c:v>127.95</c:v>
                </c:pt>
                <c:pt idx="889">
                  <c:v>128.16</c:v>
                </c:pt>
                <c:pt idx="890">
                  <c:v>129.22999999999999</c:v>
                </c:pt>
                <c:pt idx="891">
                  <c:v>129.85000000000002</c:v>
                </c:pt>
                <c:pt idx="892">
                  <c:v>129.1</c:v>
                </c:pt>
                <c:pt idx="893">
                  <c:v>127.75</c:v>
                </c:pt>
                <c:pt idx="894">
                  <c:v>128.53</c:v>
                </c:pt>
                <c:pt idx="895">
                  <c:v>128.5</c:v>
                </c:pt>
                <c:pt idx="896">
                  <c:v>126.04</c:v>
                </c:pt>
                <c:pt idx="897">
                  <c:v>127.11</c:v>
                </c:pt>
                <c:pt idx="898">
                  <c:v>128.34</c:v>
                </c:pt>
                <c:pt idx="899">
                  <c:v>129.22</c:v>
                </c:pt>
                <c:pt idx="900">
                  <c:v>128.59</c:v>
                </c:pt>
                <c:pt idx="901">
                  <c:v>127.35</c:v>
                </c:pt>
                <c:pt idx="902">
                  <c:v>127.07</c:v>
                </c:pt>
                <c:pt idx="903">
                  <c:v>125.39</c:v>
                </c:pt>
                <c:pt idx="904">
                  <c:v>124.97</c:v>
                </c:pt>
                <c:pt idx="905">
                  <c:v>125.34</c:v>
                </c:pt>
                <c:pt idx="906">
                  <c:v>124.7</c:v>
                </c:pt>
                <c:pt idx="907">
                  <c:v>125.01</c:v>
                </c:pt>
                <c:pt idx="908">
                  <c:v>125.89</c:v>
                </c:pt>
                <c:pt idx="909">
                  <c:v>126.19</c:v>
                </c:pt>
                <c:pt idx="910">
                  <c:v>127.45</c:v>
                </c:pt>
                <c:pt idx="911">
                  <c:v>126.84</c:v>
                </c:pt>
                <c:pt idx="912">
                  <c:v>126.08</c:v>
                </c:pt>
                <c:pt idx="913">
                  <c:v>125.73</c:v>
                </c:pt>
                <c:pt idx="914">
                  <c:v>126.06</c:v>
                </c:pt>
                <c:pt idx="915">
                  <c:v>124.53</c:v>
                </c:pt>
                <c:pt idx="916">
                  <c:v>123.52</c:v>
                </c:pt>
                <c:pt idx="917">
                  <c:v>122.96000000000001</c:v>
                </c:pt>
                <c:pt idx="918">
                  <c:v>120.66999999999999</c:v>
                </c:pt>
                <c:pt idx="919">
                  <c:v>121.56</c:v>
                </c:pt>
                <c:pt idx="920">
                  <c:v>122.84</c:v>
                </c:pt>
                <c:pt idx="921">
                  <c:v>125.19</c:v>
                </c:pt>
                <c:pt idx="922">
                  <c:v>125.59</c:v>
                </c:pt>
                <c:pt idx="923">
                  <c:v>124.63</c:v>
                </c:pt>
                <c:pt idx="924">
                  <c:v>124.66</c:v>
                </c:pt>
                <c:pt idx="925">
                  <c:v>126.33</c:v>
                </c:pt>
                <c:pt idx="926">
                  <c:v>125.24000000000001</c:v>
                </c:pt>
                <c:pt idx="927">
                  <c:v>127.86999999999999</c:v>
                </c:pt>
                <c:pt idx="928">
                  <c:v>127.33</c:v>
                </c:pt>
                <c:pt idx="929">
                  <c:v>129.54</c:v>
                </c:pt>
                <c:pt idx="930">
                  <c:v>129.91999999999999</c:v>
                </c:pt>
                <c:pt idx="931">
                  <c:v>129.70999999999998</c:v>
                </c:pt>
                <c:pt idx="932">
                  <c:v>129.38000000000002</c:v>
                </c:pt>
                <c:pt idx="933">
                  <c:v>129.47</c:v>
                </c:pt>
                <c:pt idx="934">
                  <c:v>127.22</c:v>
                </c:pt>
                <c:pt idx="935">
                  <c:v>126.38</c:v>
                </c:pt>
                <c:pt idx="936">
                  <c:v>126.33</c:v>
                </c:pt>
                <c:pt idx="937">
                  <c:v>127.56</c:v>
                </c:pt>
                <c:pt idx="938">
                  <c:v>128.93</c:v>
                </c:pt>
                <c:pt idx="939">
                  <c:v>129.97999999999999</c:v>
                </c:pt>
                <c:pt idx="940">
                  <c:v>131.18</c:v>
                </c:pt>
                <c:pt idx="941">
                  <c:v>131.99</c:v>
                </c:pt>
                <c:pt idx="942">
                  <c:v>133.33000000000001</c:v>
                </c:pt>
                <c:pt idx="943">
                  <c:v>132.86000000000001</c:v>
                </c:pt>
                <c:pt idx="944">
                  <c:v>132.73999999999998</c:v>
                </c:pt>
                <c:pt idx="945">
                  <c:v>132.86000000000001</c:v>
                </c:pt>
                <c:pt idx="946">
                  <c:v>133.66</c:v>
                </c:pt>
                <c:pt idx="947">
                  <c:v>132.94999999999999</c:v>
                </c:pt>
                <c:pt idx="948">
                  <c:v>132.22999999999999</c:v>
                </c:pt>
                <c:pt idx="949">
                  <c:v>132.25</c:v>
                </c:pt>
                <c:pt idx="950">
                  <c:v>132.16999999999999</c:v>
                </c:pt>
                <c:pt idx="951">
                  <c:v>131.59</c:v>
                </c:pt>
                <c:pt idx="952">
                  <c:v>129.94999999999999</c:v>
                </c:pt>
                <c:pt idx="953">
                  <c:v>129.72</c:v>
                </c:pt>
                <c:pt idx="954">
                  <c:v>129.89000000000001</c:v>
                </c:pt>
                <c:pt idx="955">
                  <c:v>129.5</c:v>
                </c:pt>
                <c:pt idx="956">
                  <c:v>129.31</c:v>
                </c:pt>
                <c:pt idx="957">
                  <c:v>131.56</c:v>
                </c:pt>
                <c:pt idx="958">
                  <c:v>132</c:v>
                </c:pt>
                <c:pt idx="959">
                  <c:v>132.19999999999999</c:v>
                </c:pt>
                <c:pt idx="960">
                  <c:v>132.36000000000001</c:v>
                </c:pt>
                <c:pt idx="961">
                  <c:v>131.43</c:v>
                </c:pt>
                <c:pt idx="962">
                  <c:v>133.20999999999998</c:v>
                </c:pt>
                <c:pt idx="963">
                  <c:v>132.16</c:v>
                </c:pt>
                <c:pt idx="964">
                  <c:v>132.16</c:v>
                </c:pt>
                <c:pt idx="965">
                  <c:v>131.84</c:v>
                </c:pt>
                <c:pt idx="966">
                  <c:v>130.84</c:v>
                </c:pt>
                <c:pt idx="967">
                  <c:v>130.47999999999999</c:v>
                </c:pt>
                <c:pt idx="968">
                  <c:v>132.02000000000001</c:v>
                </c:pt>
                <c:pt idx="969">
                  <c:v>130.47</c:v>
                </c:pt>
                <c:pt idx="970">
                  <c:v>131.43</c:v>
                </c:pt>
                <c:pt idx="971">
                  <c:v>130.87</c:v>
                </c:pt>
                <c:pt idx="972">
                  <c:v>130.75</c:v>
                </c:pt>
                <c:pt idx="973">
                  <c:v>129.55000000000001</c:v>
                </c:pt>
                <c:pt idx="974">
                  <c:v>129.83000000000001</c:v>
                </c:pt>
                <c:pt idx="975">
                  <c:v>130.94</c:v>
                </c:pt>
                <c:pt idx="976">
                  <c:v>131.54</c:v>
                </c:pt>
                <c:pt idx="977">
                  <c:v>130.97999999999999</c:v>
                </c:pt>
                <c:pt idx="978">
                  <c:v>132.03</c:v>
                </c:pt>
                <c:pt idx="979">
                  <c:v>132.41999999999999</c:v>
                </c:pt>
                <c:pt idx="980">
                  <c:v>132.56</c:v>
                </c:pt>
                <c:pt idx="981">
                  <c:v>133.34</c:v>
                </c:pt>
                <c:pt idx="982">
                  <c:v>133.43</c:v>
                </c:pt>
                <c:pt idx="983">
                  <c:v>133.43</c:v>
                </c:pt>
                <c:pt idx="984">
                  <c:v>134.23999999999998</c:v>
                </c:pt>
                <c:pt idx="985">
                  <c:v>135.03</c:v>
                </c:pt>
                <c:pt idx="986">
                  <c:v>134.94</c:v>
                </c:pt>
                <c:pt idx="987">
                  <c:v>134.9</c:v>
                </c:pt>
                <c:pt idx="988">
                  <c:v>136.25</c:v>
                </c:pt>
                <c:pt idx="989">
                  <c:v>135.88000000000002</c:v>
                </c:pt>
                <c:pt idx="990">
                  <c:v>136.04</c:v>
                </c:pt>
                <c:pt idx="991">
                  <c:v>136.13</c:v>
                </c:pt>
                <c:pt idx="992">
                  <c:v>138.22</c:v>
                </c:pt>
                <c:pt idx="993">
                  <c:v>138.59</c:v>
                </c:pt>
                <c:pt idx="994">
                  <c:v>140.05000000000001</c:v>
                </c:pt>
                <c:pt idx="995">
                  <c:v>139.85000000000002</c:v>
                </c:pt>
                <c:pt idx="996">
                  <c:v>139.10999999999999</c:v>
                </c:pt>
                <c:pt idx="997">
                  <c:v>139.76</c:v>
                </c:pt>
                <c:pt idx="998">
                  <c:v>139.19</c:v>
                </c:pt>
                <c:pt idx="999">
                  <c:v>138.19</c:v>
                </c:pt>
                <c:pt idx="1000">
                  <c:v>137.9</c:v>
                </c:pt>
                <c:pt idx="1001">
                  <c:v>137.47999999999999</c:v>
                </c:pt>
                <c:pt idx="1002">
                  <c:v>139.19</c:v>
                </c:pt>
                <c:pt idx="1003">
                  <c:v>138.79</c:v>
                </c:pt>
                <c:pt idx="1004">
                  <c:v>138.52000000000001</c:v>
                </c:pt>
                <c:pt idx="1005">
                  <c:v>138.26</c:v>
                </c:pt>
                <c:pt idx="1006">
                  <c:v>138.29</c:v>
                </c:pt>
                <c:pt idx="1007">
                  <c:v>137.85000000000002</c:v>
                </c:pt>
                <c:pt idx="1008">
                  <c:v>137.49</c:v>
                </c:pt>
                <c:pt idx="1009">
                  <c:v>137.89000000000001</c:v>
                </c:pt>
                <c:pt idx="1010">
                  <c:v>140.04</c:v>
                </c:pt>
                <c:pt idx="1011">
                  <c:v>140.04</c:v>
                </c:pt>
                <c:pt idx="1012">
                  <c:v>140.72999999999999</c:v>
                </c:pt>
                <c:pt idx="1013">
                  <c:v>141.5</c:v>
                </c:pt>
                <c:pt idx="1014">
                  <c:v>141.81</c:v>
                </c:pt>
                <c:pt idx="1015">
                  <c:v>142.54</c:v>
                </c:pt>
                <c:pt idx="1016">
                  <c:v>144.46</c:v>
                </c:pt>
                <c:pt idx="1017">
                  <c:v>144.68</c:v>
                </c:pt>
                <c:pt idx="1018">
                  <c:v>147.04</c:v>
                </c:pt>
                <c:pt idx="1019">
                  <c:v>146.10999999999999</c:v>
                </c:pt>
                <c:pt idx="1020">
                  <c:v>145.9</c:v>
                </c:pt>
                <c:pt idx="1021">
                  <c:v>144.49</c:v>
                </c:pt>
                <c:pt idx="1022">
                  <c:v>146.12</c:v>
                </c:pt>
                <c:pt idx="1023">
                  <c:v>145.16</c:v>
                </c:pt>
                <c:pt idx="1024">
                  <c:v>144.63999999999999</c:v>
                </c:pt>
                <c:pt idx="1025">
                  <c:v>147.18</c:v>
                </c:pt>
                <c:pt idx="1026">
                  <c:v>148.09</c:v>
                </c:pt>
                <c:pt idx="1027">
                  <c:v>147.94999999999999</c:v>
                </c:pt>
                <c:pt idx="1028">
                  <c:v>148.47</c:v>
                </c:pt>
                <c:pt idx="1029">
                  <c:v>147.28</c:v>
                </c:pt>
                <c:pt idx="1030">
                  <c:v>148.29</c:v>
                </c:pt>
                <c:pt idx="1031">
                  <c:v>146.9</c:v>
                </c:pt>
                <c:pt idx="1032">
                  <c:v>145.33000000000001</c:v>
                </c:pt>
                <c:pt idx="1033">
                  <c:v>141.18</c:v>
                </c:pt>
                <c:pt idx="1034">
                  <c:v>142.16</c:v>
                </c:pt>
                <c:pt idx="1035">
                  <c:v>140.16999999999999</c:v>
                </c:pt>
                <c:pt idx="1036">
                  <c:v>140.34</c:v>
                </c:pt>
                <c:pt idx="1037">
                  <c:v>143.83000000000001</c:v>
                </c:pt>
                <c:pt idx="1038">
                  <c:v>142.1</c:v>
                </c:pt>
                <c:pt idx="1039">
                  <c:v>143.18</c:v>
                </c:pt>
                <c:pt idx="1040">
                  <c:v>140.82000000000002</c:v>
                </c:pt>
                <c:pt idx="1041">
                  <c:v>141.96</c:v>
                </c:pt>
                <c:pt idx="1042">
                  <c:v>141.57</c:v>
                </c:pt>
                <c:pt idx="1043">
                  <c:v>142.69999999999999</c:v>
                </c:pt>
                <c:pt idx="1044">
                  <c:v>142.65</c:v>
                </c:pt>
                <c:pt idx="1045">
                  <c:v>144.41</c:v>
                </c:pt>
                <c:pt idx="1046">
                  <c:v>144.16</c:v>
                </c:pt>
                <c:pt idx="1047">
                  <c:v>144.16</c:v>
                </c:pt>
                <c:pt idx="1048">
                  <c:v>145.53</c:v>
                </c:pt>
                <c:pt idx="1049">
                  <c:v>147.93</c:v>
                </c:pt>
                <c:pt idx="1050">
                  <c:v>148.96</c:v>
                </c:pt>
                <c:pt idx="1051">
                  <c:v>148.76</c:v>
                </c:pt>
                <c:pt idx="1052">
                  <c:v>148.69</c:v>
                </c:pt>
                <c:pt idx="1053">
                  <c:v>149.13999999999999</c:v>
                </c:pt>
                <c:pt idx="1054">
                  <c:v>150.72999999999999</c:v>
                </c:pt>
                <c:pt idx="1055">
                  <c:v>148.44</c:v>
                </c:pt>
                <c:pt idx="1056">
                  <c:v>147.91999999999999</c:v>
                </c:pt>
                <c:pt idx="1057">
                  <c:v>149.28</c:v>
                </c:pt>
                <c:pt idx="1058">
                  <c:v>149.96</c:v>
                </c:pt>
                <c:pt idx="1059">
                  <c:v>151.15</c:v>
                </c:pt>
                <c:pt idx="1060">
                  <c:v>150.07</c:v>
                </c:pt>
                <c:pt idx="1061">
                  <c:v>150.96</c:v>
                </c:pt>
                <c:pt idx="1062">
                  <c:v>151.44999999999999</c:v>
                </c:pt>
                <c:pt idx="1063">
                  <c:v>152.29</c:v>
                </c:pt>
                <c:pt idx="1064">
                  <c:v>151.87</c:v>
                </c:pt>
                <c:pt idx="1065">
                  <c:v>150.59</c:v>
                </c:pt>
                <c:pt idx="1066">
                  <c:v>149.22</c:v>
                </c:pt>
                <c:pt idx="1067">
                  <c:v>148.19</c:v>
                </c:pt>
                <c:pt idx="1068">
                  <c:v>149.05000000000001</c:v>
                </c:pt>
                <c:pt idx="1069">
                  <c:v>149.44999999999999</c:v>
                </c:pt>
                <c:pt idx="1070">
                  <c:v>150</c:v>
                </c:pt>
                <c:pt idx="1071">
                  <c:v>147.87</c:v>
                </c:pt>
                <c:pt idx="1072">
                  <c:v>147.85000000000002</c:v>
                </c:pt>
                <c:pt idx="1073">
                  <c:v>144.01</c:v>
                </c:pt>
                <c:pt idx="1074">
                  <c:v>145.72</c:v>
                </c:pt>
                <c:pt idx="1075">
                  <c:v>144.69999999999999</c:v>
                </c:pt>
                <c:pt idx="1076">
                  <c:v>146.56</c:v>
                </c:pt>
                <c:pt idx="1077">
                  <c:v>145.69999999999999</c:v>
                </c:pt>
                <c:pt idx="1078">
                  <c:v>143.97999999999999</c:v>
                </c:pt>
                <c:pt idx="1079">
                  <c:v>144.72999999999999</c:v>
                </c:pt>
                <c:pt idx="1080">
                  <c:v>146.56</c:v>
                </c:pt>
                <c:pt idx="1081">
                  <c:v>145.81</c:v>
                </c:pt>
                <c:pt idx="1082">
                  <c:v>145.9</c:v>
                </c:pt>
                <c:pt idx="1083">
                  <c:v>146.81</c:v>
                </c:pt>
                <c:pt idx="1084">
                  <c:v>146.07</c:v>
                </c:pt>
                <c:pt idx="1085">
                  <c:v>147.81</c:v>
                </c:pt>
                <c:pt idx="1086">
                  <c:v>149.23999999999998</c:v>
                </c:pt>
                <c:pt idx="1087">
                  <c:v>149.38000000000002</c:v>
                </c:pt>
                <c:pt idx="1088">
                  <c:v>149.44999999999999</c:v>
                </c:pt>
                <c:pt idx="1089">
                  <c:v>148.97</c:v>
                </c:pt>
                <c:pt idx="1090">
                  <c:v>149.55000000000001</c:v>
                </c:pt>
                <c:pt idx="1091">
                  <c:v>150.32000000000002</c:v>
                </c:pt>
                <c:pt idx="1092">
                  <c:v>151.16</c:v>
                </c:pt>
                <c:pt idx="1093">
                  <c:v>152.09</c:v>
                </c:pt>
                <c:pt idx="1094">
                  <c:v>152.25</c:v>
                </c:pt>
                <c:pt idx="1095">
                  <c:v>152.41</c:v>
                </c:pt>
                <c:pt idx="1096">
                  <c:v>153.18</c:v>
                </c:pt>
                <c:pt idx="1097">
                  <c:v>153.19999999999999</c:v>
                </c:pt>
                <c:pt idx="1098">
                  <c:v>150.93</c:v>
                </c:pt>
                <c:pt idx="1099">
                  <c:v>152.15</c:v>
                </c:pt>
                <c:pt idx="1100">
                  <c:v>153.57</c:v>
                </c:pt>
                <c:pt idx="1101">
                  <c:v>153.78</c:v>
                </c:pt>
                <c:pt idx="1102">
                  <c:v>154.06</c:v>
                </c:pt>
                <c:pt idx="1103">
                  <c:v>154.47999999999999</c:v>
                </c:pt>
                <c:pt idx="1104">
                  <c:v>153.13</c:v>
                </c:pt>
                <c:pt idx="1105">
                  <c:v>153.91</c:v>
                </c:pt>
                <c:pt idx="1106">
                  <c:v>153.22999999999999</c:v>
                </c:pt>
                <c:pt idx="1107">
                  <c:v>153.66</c:v>
                </c:pt>
                <c:pt idx="1108">
                  <c:v>154.49</c:v>
                </c:pt>
                <c:pt idx="1109">
                  <c:v>153.63999999999999</c:v>
                </c:pt>
                <c:pt idx="1110">
                  <c:v>153.05000000000001</c:v>
                </c:pt>
                <c:pt idx="1111">
                  <c:v>151.93</c:v>
                </c:pt>
                <c:pt idx="1112">
                  <c:v>150.76999999999998</c:v>
                </c:pt>
                <c:pt idx="1113">
                  <c:v>150.84</c:v>
                </c:pt>
                <c:pt idx="1114">
                  <c:v>150.60999999999999</c:v>
                </c:pt>
                <c:pt idx="1115">
                  <c:v>150.25</c:v>
                </c:pt>
                <c:pt idx="1116">
                  <c:v>150.44</c:v>
                </c:pt>
                <c:pt idx="1117">
                  <c:v>150.46</c:v>
                </c:pt>
                <c:pt idx="1118">
                  <c:v>150.18</c:v>
                </c:pt>
                <c:pt idx="1119">
                  <c:v>150.73999999999998</c:v>
                </c:pt>
                <c:pt idx="1120">
                  <c:v>150.02000000000001</c:v>
                </c:pt>
                <c:pt idx="1121">
                  <c:v>149.02000000000001</c:v>
                </c:pt>
                <c:pt idx="1122">
                  <c:v>149.76999999999998</c:v>
                </c:pt>
                <c:pt idx="1123">
                  <c:v>149.57</c:v>
                </c:pt>
                <c:pt idx="1124">
                  <c:v>148.88000000000002</c:v>
                </c:pt>
                <c:pt idx="1125">
                  <c:v>149.72999999999999</c:v>
                </c:pt>
                <c:pt idx="1126">
                  <c:v>148.15</c:v>
                </c:pt>
                <c:pt idx="1127">
                  <c:v>149.52000000000001</c:v>
                </c:pt>
                <c:pt idx="1128">
                  <c:v>148.13</c:v>
                </c:pt>
                <c:pt idx="1129">
                  <c:v>149.26</c:v>
                </c:pt>
                <c:pt idx="1130">
                  <c:v>150.19</c:v>
                </c:pt>
                <c:pt idx="1131">
                  <c:v>150.89000000000001</c:v>
                </c:pt>
                <c:pt idx="1132">
                  <c:v>151.52000000000001</c:v>
                </c:pt>
                <c:pt idx="1133">
                  <c:v>151.41</c:v>
                </c:pt>
                <c:pt idx="1134">
                  <c:v>151.73999999999998</c:v>
                </c:pt>
                <c:pt idx="1135">
                  <c:v>150.78</c:v>
                </c:pt>
                <c:pt idx="1136">
                  <c:v>151.31</c:v>
                </c:pt>
                <c:pt idx="1137">
                  <c:v>148.66</c:v>
                </c:pt>
                <c:pt idx="1138">
                  <c:v>147.09</c:v>
                </c:pt>
                <c:pt idx="1139">
                  <c:v>148.07</c:v>
                </c:pt>
                <c:pt idx="1140">
                  <c:v>147.68</c:v>
                </c:pt>
                <c:pt idx="1141">
                  <c:v>147.66999999999999</c:v>
                </c:pt>
                <c:pt idx="1142">
                  <c:v>147.52000000000001</c:v>
                </c:pt>
                <c:pt idx="1143">
                  <c:v>148.41999999999999</c:v>
                </c:pt>
                <c:pt idx="1144">
                  <c:v>148.47999999999999</c:v>
                </c:pt>
                <c:pt idx="1145">
                  <c:v>148.91</c:v>
                </c:pt>
                <c:pt idx="1146">
                  <c:v>149.07</c:v>
                </c:pt>
                <c:pt idx="1147">
                  <c:v>148.6</c:v>
                </c:pt>
                <c:pt idx="1148">
                  <c:v>150.65</c:v>
                </c:pt>
                <c:pt idx="1149">
                  <c:v>150.33000000000001</c:v>
                </c:pt>
                <c:pt idx="1150">
                  <c:v>151.15</c:v>
                </c:pt>
                <c:pt idx="1151">
                  <c:v>151.87</c:v>
                </c:pt>
                <c:pt idx="1152">
                  <c:v>153.37</c:v>
                </c:pt>
                <c:pt idx="1153">
                  <c:v>153.26999999999998</c:v>
                </c:pt>
                <c:pt idx="1154">
                  <c:v>152.22</c:v>
                </c:pt>
                <c:pt idx="1155">
                  <c:v>153.06</c:v>
                </c:pt>
                <c:pt idx="1156">
                  <c:v>153.37</c:v>
                </c:pt>
                <c:pt idx="1157">
                  <c:v>154.5</c:v>
                </c:pt>
                <c:pt idx="1158">
                  <c:v>154.82000000000002</c:v>
                </c:pt>
                <c:pt idx="1159">
                  <c:v>154.54</c:v>
                </c:pt>
                <c:pt idx="1160">
                  <c:v>154.44</c:v>
                </c:pt>
                <c:pt idx="1161">
                  <c:v>153.78</c:v>
                </c:pt>
                <c:pt idx="1162">
                  <c:v>153.85000000000002</c:v>
                </c:pt>
                <c:pt idx="1163">
                  <c:v>154.82000000000002</c:v>
                </c:pt>
                <c:pt idx="1164">
                  <c:v>154.47</c:v>
                </c:pt>
                <c:pt idx="1165">
                  <c:v>153.69</c:v>
                </c:pt>
                <c:pt idx="1166">
                  <c:v>154.6</c:v>
                </c:pt>
                <c:pt idx="1167">
                  <c:v>155.22</c:v>
                </c:pt>
                <c:pt idx="1168">
                  <c:v>154.26</c:v>
                </c:pt>
                <c:pt idx="1169">
                  <c:v>154.09</c:v>
                </c:pt>
                <c:pt idx="1170">
                  <c:v>154.18</c:v>
                </c:pt>
                <c:pt idx="1171">
                  <c:v>152.60999999999999</c:v>
                </c:pt>
                <c:pt idx="1172">
                  <c:v>153.55000000000001</c:v>
                </c:pt>
                <c:pt idx="1173">
                  <c:v>153.07</c:v>
                </c:pt>
                <c:pt idx="1174">
                  <c:v>153.79</c:v>
                </c:pt>
                <c:pt idx="1175">
                  <c:v>154.46</c:v>
                </c:pt>
                <c:pt idx="1176">
                  <c:v>153.47999999999999</c:v>
                </c:pt>
                <c:pt idx="1177">
                  <c:v>154.93</c:v>
                </c:pt>
                <c:pt idx="1178">
                  <c:v>157.08000000000001</c:v>
                </c:pt>
                <c:pt idx="1179">
                  <c:v>155.97999999999999</c:v>
                </c:pt>
                <c:pt idx="1180">
                  <c:v>155.13</c:v>
                </c:pt>
                <c:pt idx="1181">
                  <c:v>155.72</c:v>
                </c:pt>
                <c:pt idx="1182">
                  <c:v>155.18</c:v>
                </c:pt>
                <c:pt idx="1183">
                  <c:v>155.86000000000001</c:v>
                </c:pt>
                <c:pt idx="1184">
                  <c:v>154.81</c:v>
                </c:pt>
                <c:pt idx="1185">
                  <c:v>155.30000000000001</c:v>
                </c:pt>
                <c:pt idx="1186">
                  <c:v>154.03</c:v>
                </c:pt>
                <c:pt idx="1187">
                  <c:v>154.41</c:v>
                </c:pt>
                <c:pt idx="1188">
                  <c:v>153.60999999999999</c:v>
                </c:pt>
                <c:pt idx="1189">
                  <c:v>154.86000000000001</c:v>
                </c:pt>
                <c:pt idx="1190">
                  <c:v>153.28</c:v>
                </c:pt>
                <c:pt idx="1191">
                  <c:v>154.18</c:v>
                </c:pt>
                <c:pt idx="1192">
                  <c:v>154.20999999999998</c:v>
                </c:pt>
                <c:pt idx="1193">
                  <c:v>152.01</c:v>
                </c:pt>
                <c:pt idx="1194">
                  <c:v>152.97</c:v>
                </c:pt>
                <c:pt idx="1195">
                  <c:v>154.28</c:v>
                </c:pt>
                <c:pt idx="1196">
                  <c:v>154.91999999999999</c:v>
                </c:pt>
                <c:pt idx="1197">
                  <c:v>154.43</c:v>
                </c:pt>
                <c:pt idx="1198">
                  <c:v>155.44999999999999</c:v>
                </c:pt>
                <c:pt idx="1199">
                  <c:v>157.44</c:v>
                </c:pt>
                <c:pt idx="1200">
                  <c:v>157.81</c:v>
                </c:pt>
                <c:pt idx="1201">
                  <c:v>156.88000000000002</c:v>
                </c:pt>
                <c:pt idx="1202">
                  <c:v>157.89000000000001</c:v>
                </c:pt>
                <c:pt idx="1203">
                  <c:v>157.41999999999999</c:v>
                </c:pt>
                <c:pt idx="1204">
                  <c:v>157.79</c:v>
                </c:pt>
                <c:pt idx="1205">
                  <c:v>157.49</c:v>
                </c:pt>
                <c:pt idx="1206">
                  <c:v>158.75</c:v>
                </c:pt>
                <c:pt idx="1207">
                  <c:v>159.30000000000001</c:v>
                </c:pt>
                <c:pt idx="1208">
                  <c:v>159.08000000000001</c:v>
                </c:pt>
                <c:pt idx="1209">
                  <c:v>158.34</c:v>
                </c:pt>
                <c:pt idx="1210">
                  <c:v>159.37</c:v>
                </c:pt>
                <c:pt idx="1211">
                  <c:v>159.80000000000001</c:v>
                </c:pt>
                <c:pt idx="1212">
                  <c:v>159.04</c:v>
                </c:pt>
                <c:pt idx="1213">
                  <c:v>158.96</c:v>
                </c:pt>
                <c:pt idx="1214">
                  <c:v>159.54</c:v>
                </c:pt>
                <c:pt idx="1215">
                  <c:v>159.34</c:v>
                </c:pt>
                <c:pt idx="1216">
                  <c:v>159.86000000000001</c:v>
                </c:pt>
                <c:pt idx="1217">
                  <c:v>160.13999999999999</c:v>
                </c:pt>
                <c:pt idx="1218">
                  <c:v>160.04</c:v>
                </c:pt>
                <c:pt idx="1219">
                  <c:v>160.09</c:v>
                </c:pt>
                <c:pt idx="1220">
                  <c:v>161.54</c:v>
                </c:pt>
                <c:pt idx="1221">
                  <c:v>162.94</c:v>
                </c:pt>
                <c:pt idx="1222">
                  <c:v>162.91</c:v>
                </c:pt>
                <c:pt idx="1223">
                  <c:v>162.16999999999999</c:v>
                </c:pt>
                <c:pt idx="1224">
                  <c:v>163.06</c:v>
                </c:pt>
                <c:pt idx="1225">
                  <c:v>163.10999999999999</c:v>
                </c:pt>
                <c:pt idx="1226">
                  <c:v>161.53</c:v>
                </c:pt>
                <c:pt idx="1227">
                  <c:v>162.13999999999999</c:v>
                </c:pt>
                <c:pt idx="1228">
                  <c:v>163.19</c:v>
                </c:pt>
                <c:pt idx="1229">
                  <c:v>163.6</c:v>
                </c:pt>
                <c:pt idx="1230">
                  <c:v>164.43</c:v>
                </c:pt>
                <c:pt idx="1231">
                  <c:v>166.09</c:v>
                </c:pt>
                <c:pt idx="1232">
                  <c:v>165.85000000000002</c:v>
                </c:pt>
                <c:pt idx="1233">
                  <c:v>166.79</c:v>
                </c:pt>
                <c:pt idx="1234">
                  <c:v>165.84</c:v>
                </c:pt>
                <c:pt idx="1235">
                  <c:v>165.95000000000002</c:v>
                </c:pt>
                <c:pt idx="1236">
                  <c:v>165.70999999999998</c:v>
                </c:pt>
                <c:pt idx="1237">
                  <c:v>166.03</c:v>
                </c:pt>
                <c:pt idx="1238">
                  <c:v>165.7</c:v>
                </c:pt>
                <c:pt idx="1239">
                  <c:v>165.49</c:v>
                </c:pt>
                <c:pt idx="1240">
                  <c:v>165.26</c:v>
                </c:pt>
                <c:pt idx="1241">
                  <c:v>165.68</c:v>
                </c:pt>
                <c:pt idx="1242">
                  <c:v>165.83</c:v>
                </c:pt>
                <c:pt idx="1243">
                  <c:v>166.37</c:v>
                </c:pt>
                <c:pt idx="1244">
                  <c:v>167.84</c:v>
                </c:pt>
                <c:pt idx="1245">
                  <c:v>166.97</c:v>
                </c:pt>
                <c:pt idx="1246">
                  <c:v>167.66</c:v>
                </c:pt>
                <c:pt idx="1247">
                  <c:v>168.97</c:v>
                </c:pt>
                <c:pt idx="1248">
                  <c:v>168.86</c:v>
                </c:pt>
                <c:pt idx="1249">
                  <c:v>167.76</c:v>
                </c:pt>
                <c:pt idx="1250">
                  <c:v>166.69</c:v>
                </c:pt>
                <c:pt idx="1251">
                  <c:v>167.37</c:v>
                </c:pt>
                <c:pt idx="1252">
                  <c:v>168.46</c:v>
                </c:pt>
                <c:pt idx="1253">
                  <c:v>169.1</c:v>
                </c:pt>
                <c:pt idx="1254">
                  <c:v>169.78</c:v>
                </c:pt>
                <c:pt idx="1255">
                  <c:v>170.62</c:v>
                </c:pt>
                <c:pt idx="1256">
                  <c:v>170.36</c:v>
                </c:pt>
                <c:pt idx="1257">
                  <c:v>169.91</c:v>
                </c:pt>
                <c:pt idx="1258">
                  <c:v>170.22</c:v>
                </c:pt>
                <c:pt idx="1259">
                  <c:v>171.33</c:v>
                </c:pt>
                <c:pt idx="1260">
                  <c:v>170.99</c:v>
                </c:pt>
                <c:pt idx="1261">
                  <c:v>172.04</c:v>
                </c:pt>
                <c:pt idx="1262">
                  <c:v>171.78</c:v>
                </c:pt>
                <c:pt idx="1263">
                  <c:v>173.18</c:v>
                </c:pt>
                <c:pt idx="1264">
                  <c:v>175.10999999999999</c:v>
                </c:pt>
                <c:pt idx="1265">
                  <c:v>175.66</c:v>
                </c:pt>
                <c:pt idx="1266">
                  <c:v>175.79</c:v>
                </c:pt>
                <c:pt idx="1267">
                  <c:v>178.31</c:v>
                </c:pt>
                <c:pt idx="1268">
                  <c:v>179.81</c:v>
                </c:pt>
                <c:pt idx="1269">
                  <c:v>180.86</c:v>
                </c:pt>
                <c:pt idx="1270">
                  <c:v>179.62</c:v>
                </c:pt>
                <c:pt idx="1271">
                  <c:v>179.64</c:v>
                </c:pt>
                <c:pt idx="1272">
                  <c:v>181.48000000000002</c:v>
                </c:pt>
                <c:pt idx="1273">
                  <c:v>182</c:v>
                </c:pt>
                <c:pt idx="1274">
                  <c:v>182.28</c:v>
                </c:pt>
                <c:pt idx="1275">
                  <c:v>180.70999999999998</c:v>
                </c:pt>
                <c:pt idx="1276">
                  <c:v>181.02</c:v>
                </c:pt>
                <c:pt idx="1277">
                  <c:v>181.42000000000002</c:v>
                </c:pt>
                <c:pt idx="1278">
                  <c:v>180.75</c:v>
                </c:pt>
                <c:pt idx="1279">
                  <c:v>179.23999999999998</c:v>
                </c:pt>
                <c:pt idx="1280">
                  <c:v>178.33</c:v>
                </c:pt>
                <c:pt idx="1281">
                  <c:v>177.64</c:v>
                </c:pt>
                <c:pt idx="1282">
                  <c:v>180.6</c:v>
                </c:pt>
                <c:pt idx="1283">
                  <c:v>179.95000000000002</c:v>
                </c:pt>
                <c:pt idx="1284">
                  <c:v>182.04</c:v>
                </c:pt>
                <c:pt idx="1285">
                  <c:v>181.07</c:v>
                </c:pt>
                <c:pt idx="1286">
                  <c:v>181.01</c:v>
                </c:pt>
                <c:pt idx="1287">
                  <c:v>182.07</c:v>
                </c:pt>
                <c:pt idx="1288">
                  <c:v>181.87</c:v>
                </c:pt>
                <c:pt idx="1289">
                  <c:v>180.69</c:v>
                </c:pt>
                <c:pt idx="1290">
                  <c:v>179.66</c:v>
                </c:pt>
                <c:pt idx="1291">
                  <c:v>177.94</c:v>
                </c:pt>
                <c:pt idx="1292">
                  <c:v>178.58</c:v>
                </c:pt>
                <c:pt idx="1293">
                  <c:v>178.6</c:v>
                </c:pt>
                <c:pt idx="1294">
                  <c:v>180.19</c:v>
                </c:pt>
                <c:pt idx="1295">
                  <c:v>178.6</c:v>
                </c:pt>
                <c:pt idx="1296">
                  <c:v>178.58</c:v>
                </c:pt>
                <c:pt idx="1297">
                  <c:v>178.75</c:v>
                </c:pt>
                <c:pt idx="1298">
                  <c:v>178.67</c:v>
                </c:pt>
                <c:pt idx="1299">
                  <c:v>178.99</c:v>
                </c:pt>
                <c:pt idx="1300">
                  <c:v>178.28</c:v>
                </c:pt>
                <c:pt idx="1301">
                  <c:v>179.49</c:v>
                </c:pt>
                <c:pt idx="1302">
                  <c:v>179.49</c:v>
                </c:pt>
                <c:pt idx="1303">
                  <c:v>179.49</c:v>
                </c:pt>
                <c:pt idx="1304">
                  <c:v>179.89000000000001</c:v>
                </c:pt>
                <c:pt idx="1305">
                  <c:v>179.28</c:v>
                </c:pt>
                <c:pt idx="1306">
                  <c:v>179.82000000000002</c:v>
                </c:pt>
                <c:pt idx="1307">
                  <c:v>180.83</c:v>
                </c:pt>
                <c:pt idx="1308">
                  <c:v>180.32000000000002</c:v>
                </c:pt>
                <c:pt idx="1309">
                  <c:v>182.34</c:v>
                </c:pt>
                <c:pt idx="1310">
                  <c:v>182.76999999999998</c:v>
                </c:pt>
                <c:pt idx="1311">
                  <c:v>183.19</c:v>
                </c:pt>
                <c:pt idx="1312">
                  <c:v>183.23999999999998</c:v>
                </c:pt>
                <c:pt idx="1313">
                  <c:v>183.17</c:v>
                </c:pt>
                <c:pt idx="1314">
                  <c:v>183.17</c:v>
                </c:pt>
                <c:pt idx="1315">
                  <c:v>183.76</c:v>
                </c:pt>
                <c:pt idx="1316">
                  <c:v>183.03</c:v>
                </c:pt>
                <c:pt idx="1317">
                  <c:v>180.07</c:v>
                </c:pt>
                <c:pt idx="1318">
                  <c:v>176.63</c:v>
                </c:pt>
                <c:pt idx="1319">
                  <c:v>177.53</c:v>
                </c:pt>
                <c:pt idx="1320">
                  <c:v>177.13</c:v>
                </c:pt>
                <c:pt idx="1321">
                  <c:v>176.78</c:v>
                </c:pt>
                <c:pt idx="1322">
                  <c:v>178.45000000000002</c:v>
                </c:pt>
                <c:pt idx="1323">
                  <c:v>179.32000000000002</c:v>
                </c:pt>
                <c:pt idx="1324">
                  <c:v>177.91</c:v>
                </c:pt>
                <c:pt idx="1325">
                  <c:v>175.67</c:v>
                </c:pt>
                <c:pt idx="1326">
                  <c:v>174.56</c:v>
                </c:pt>
                <c:pt idx="1327">
                  <c:v>174.92000000000002</c:v>
                </c:pt>
                <c:pt idx="1328">
                  <c:v>175.56</c:v>
                </c:pt>
                <c:pt idx="1329">
                  <c:v>176.12</c:v>
                </c:pt>
                <c:pt idx="1330">
                  <c:v>176.20999999999998</c:v>
                </c:pt>
                <c:pt idx="1331">
                  <c:v>177.34</c:v>
                </c:pt>
                <c:pt idx="1332">
                  <c:v>177.93</c:v>
                </c:pt>
                <c:pt idx="1333">
                  <c:v>177.54</c:v>
                </c:pt>
                <c:pt idx="1334">
                  <c:v>176.41</c:v>
                </c:pt>
                <c:pt idx="1335">
                  <c:v>176.08</c:v>
                </c:pt>
                <c:pt idx="1336">
                  <c:v>177.35000000000002</c:v>
                </c:pt>
                <c:pt idx="1337">
                  <c:v>177.20999999999998</c:v>
                </c:pt>
                <c:pt idx="1338">
                  <c:v>176.45000000000002</c:v>
                </c:pt>
                <c:pt idx="1339">
                  <c:v>176.68</c:v>
                </c:pt>
                <c:pt idx="1340">
                  <c:v>178.76</c:v>
                </c:pt>
                <c:pt idx="1341">
                  <c:v>179.67</c:v>
                </c:pt>
                <c:pt idx="1342">
                  <c:v>179.8</c:v>
                </c:pt>
                <c:pt idx="1343">
                  <c:v>180.60999999999999</c:v>
                </c:pt>
                <c:pt idx="1344">
                  <c:v>180.73999999999998</c:v>
                </c:pt>
                <c:pt idx="1345">
                  <c:v>180.54</c:v>
                </c:pt>
                <c:pt idx="1346">
                  <c:v>181.29</c:v>
                </c:pt>
                <c:pt idx="1347">
                  <c:v>181.32000000000002</c:v>
                </c:pt>
                <c:pt idx="1348">
                  <c:v>182.25</c:v>
                </c:pt>
                <c:pt idx="1349">
                  <c:v>182</c:v>
                </c:pt>
                <c:pt idx="1350">
                  <c:v>183.95000000000002</c:v>
                </c:pt>
                <c:pt idx="1351">
                  <c:v>183.47</c:v>
                </c:pt>
                <c:pt idx="1352">
                  <c:v>183.38000000000002</c:v>
                </c:pt>
                <c:pt idx="1353">
                  <c:v>182.91</c:v>
                </c:pt>
                <c:pt idx="1354">
                  <c:v>185.01</c:v>
                </c:pt>
                <c:pt idx="1355">
                  <c:v>184.48000000000002</c:v>
                </c:pt>
                <c:pt idx="1356">
                  <c:v>184.02</c:v>
                </c:pt>
                <c:pt idx="1357">
                  <c:v>185.42000000000002</c:v>
                </c:pt>
                <c:pt idx="1358">
                  <c:v>186.01</c:v>
                </c:pt>
                <c:pt idx="1359">
                  <c:v>187.25</c:v>
                </c:pt>
                <c:pt idx="1360">
                  <c:v>186.55</c:v>
                </c:pt>
                <c:pt idx="1361">
                  <c:v>188.12</c:v>
                </c:pt>
                <c:pt idx="1362">
                  <c:v>187.8</c:v>
                </c:pt>
                <c:pt idx="1363">
                  <c:v>188.54</c:v>
                </c:pt>
                <c:pt idx="1364">
                  <c:v>189.12</c:v>
                </c:pt>
                <c:pt idx="1365">
                  <c:v>189.97</c:v>
                </c:pt>
                <c:pt idx="1366">
                  <c:v>191.70999999999998</c:v>
                </c:pt>
                <c:pt idx="1367">
                  <c:v>189.32000000000002</c:v>
                </c:pt>
                <c:pt idx="1368">
                  <c:v>187.03</c:v>
                </c:pt>
                <c:pt idx="1369">
                  <c:v>189.03</c:v>
                </c:pt>
                <c:pt idx="1370">
                  <c:v>188.94</c:v>
                </c:pt>
                <c:pt idx="1371">
                  <c:v>188.79</c:v>
                </c:pt>
                <c:pt idx="1372">
                  <c:v>190.52</c:v>
                </c:pt>
                <c:pt idx="1373">
                  <c:v>190.28</c:v>
                </c:pt>
                <c:pt idx="1374">
                  <c:v>189.05</c:v>
                </c:pt>
                <c:pt idx="1375">
                  <c:v>190.31</c:v>
                </c:pt>
                <c:pt idx="1376">
                  <c:v>185.69</c:v>
                </c:pt>
                <c:pt idx="1377">
                  <c:v>187.8</c:v>
                </c:pt>
                <c:pt idx="1378">
                  <c:v>189.10999999999999</c:v>
                </c:pt>
                <c:pt idx="1379">
                  <c:v>188.85000000000002</c:v>
                </c:pt>
                <c:pt idx="1380">
                  <c:v>189.47</c:v>
                </c:pt>
                <c:pt idx="1381">
                  <c:v>189.93</c:v>
                </c:pt>
                <c:pt idx="1382">
                  <c:v>189.95000000000002</c:v>
                </c:pt>
                <c:pt idx="1383">
                  <c:v>188.97</c:v>
                </c:pt>
                <c:pt idx="1384">
                  <c:v>188.9</c:v>
                </c:pt>
                <c:pt idx="1385">
                  <c:v>188.76999999999998</c:v>
                </c:pt>
                <c:pt idx="1386">
                  <c:v>190.48000000000002</c:v>
                </c:pt>
                <c:pt idx="1387">
                  <c:v>190.94</c:v>
                </c:pt>
                <c:pt idx="1388">
                  <c:v>191.59</c:v>
                </c:pt>
                <c:pt idx="1389">
                  <c:v>192.09</c:v>
                </c:pt>
                <c:pt idx="1390">
                  <c:v>192.48000000000002</c:v>
                </c:pt>
                <c:pt idx="1391">
                  <c:v>193.09</c:v>
                </c:pt>
                <c:pt idx="1392">
                  <c:v>193.2</c:v>
                </c:pt>
                <c:pt idx="1393">
                  <c:v>193.12</c:v>
                </c:pt>
                <c:pt idx="1394">
                  <c:v>193.89000000000001</c:v>
                </c:pt>
                <c:pt idx="1395">
                  <c:v>193.62</c:v>
                </c:pt>
                <c:pt idx="1396">
                  <c:v>192.58</c:v>
                </c:pt>
                <c:pt idx="1397">
                  <c:v>192.15</c:v>
                </c:pt>
                <c:pt idx="1398">
                  <c:v>193.20999999999998</c:v>
                </c:pt>
                <c:pt idx="1399">
                  <c:v>193.23999999999998</c:v>
                </c:pt>
                <c:pt idx="1400">
                  <c:v>195.70999999999998</c:v>
                </c:pt>
                <c:pt idx="1401">
                  <c:v>194.8</c:v>
                </c:pt>
                <c:pt idx="1402">
                  <c:v>194.67</c:v>
                </c:pt>
                <c:pt idx="1403">
                  <c:v>194.72</c:v>
                </c:pt>
                <c:pt idx="1404">
                  <c:v>194.98000000000002</c:v>
                </c:pt>
                <c:pt idx="1405">
                  <c:v>194.97</c:v>
                </c:pt>
                <c:pt idx="1406">
                  <c:v>194.96</c:v>
                </c:pt>
                <c:pt idx="1407">
                  <c:v>196.43</c:v>
                </c:pt>
                <c:pt idx="1408">
                  <c:v>196.53</c:v>
                </c:pt>
                <c:pt idx="1409">
                  <c:v>196.3</c:v>
                </c:pt>
                <c:pt idx="1410">
                  <c:v>195.6</c:v>
                </c:pt>
                <c:pt idx="1411">
                  <c:v>194.58</c:v>
                </c:pt>
                <c:pt idx="1412">
                  <c:v>194</c:v>
                </c:pt>
                <c:pt idx="1413">
                  <c:v>194.25</c:v>
                </c:pt>
                <c:pt idx="1414">
                  <c:v>193.49</c:v>
                </c:pt>
                <c:pt idx="1415">
                  <c:v>195.04</c:v>
                </c:pt>
                <c:pt idx="1416">
                  <c:v>196.46</c:v>
                </c:pt>
                <c:pt idx="1417">
                  <c:v>197.46</c:v>
                </c:pt>
                <c:pt idx="1418">
                  <c:v>198.68</c:v>
                </c:pt>
                <c:pt idx="1419">
                  <c:v>200.49</c:v>
                </c:pt>
                <c:pt idx="1420">
                  <c:v>201.46</c:v>
                </c:pt>
                <c:pt idx="1421">
                  <c:v>201.03</c:v>
                </c:pt>
                <c:pt idx="1422">
                  <c:v>201.42000000000002</c:v>
                </c:pt>
                <c:pt idx="1423">
                  <c:v>201.49</c:v>
                </c:pt>
                <c:pt idx="1424">
                  <c:v>200.53</c:v>
                </c:pt>
                <c:pt idx="1425">
                  <c:v>201</c:v>
                </c:pt>
                <c:pt idx="1426">
                  <c:v>200.29</c:v>
                </c:pt>
                <c:pt idx="1427">
                  <c:v>201.26</c:v>
                </c:pt>
                <c:pt idx="1428">
                  <c:v>202.26999999999998</c:v>
                </c:pt>
                <c:pt idx="1429">
                  <c:v>201.69</c:v>
                </c:pt>
                <c:pt idx="1430">
                  <c:v>200.08</c:v>
                </c:pt>
                <c:pt idx="1431">
                  <c:v>198.91</c:v>
                </c:pt>
                <c:pt idx="1432">
                  <c:v>199.22</c:v>
                </c:pt>
                <c:pt idx="1433">
                  <c:v>200.46</c:v>
                </c:pt>
                <c:pt idx="1434">
                  <c:v>199.92000000000002</c:v>
                </c:pt>
                <c:pt idx="1435">
                  <c:v>200.73999999999998</c:v>
                </c:pt>
                <c:pt idx="1436">
                  <c:v>199.96</c:v>
                </c:pt>
                <c:pt idx="1437">
                  <c:v>200.29</c:v>
                </c:pt>
                <c:pt idx="1438">
                  <c:v>202.23999999999998</c:v>
                </c:pt>
                <c:pt idx="1439">
                  <c:v>202.7</c:v>
                </c:pt>
                <c:pt idx="1440">
                  <c:v>200.92000000000002</c:v>
                </c:pt>
                <c:pt idx="1441">
                  <c:v>197.23999999999998</c:v>
                </c:pt>
                <c:pt idx="1442">
                  <c:v>195.76</c:v>
                </c:pt>
                <c:pt idx="1443">
                  <c:v>196.49</c:v>
                </c:pt>
                <c:pt idx="1444">
                  <c:v>197.45000000000002</c:v>
                </c:pt>
                <c:pt idx="1445">
                  <c:v>195.8</c:v>
                </c:pt>
                <c:pt idx="1446">
                  <c:v>194.12</c:v>
                </c:pt>
                <c:pt idx="1447">
                  <c:v>193.87</c:v>
                </c:pt>
                <c:pt idx="1448">
                  <c:v>193.88000000000002</c:v>
                </c:pt>
                <c:pt idx="1449">
                  <c:v>193.57</c:v>
                </c:pt>
                <c:pt idx="1450">
                  <c:v>190.55</c:v>
                </c:pt>
                <c:pt idx="1451">
                  <c:v>191.7</c:v>
                </c:pt>
                <c:pt idx="1452">
                  <c:v>190.66</c:v>
                </c:pt>
                <c:pt idx="1453">
                  <c:v>192.54</c:v>
                </c:pt>
                <c:pt idx="1454">
                  <c:v>192.20999999999998</c:v>
                </c:pt>
                <c:pt idx="1455">
                  <c:v>192.63</c:v>
                </c:pt>
                <c:pt idx="1456">
                  <c:v>190.01</c:v>
                </c:pt>
                <c:pt idx="1457">
                  <c:v>190.07</c:v>
                </c:pt>
                <c:pt idx="1458">
                  <c:v>194.54</c:v>
                </c:pt>
                <c:pt idx="1459">
                  <c:v>195.07</c:v>
                </c:pt>
                <c:pt idx="1460">
                  <c:v>197.26999999999998</c:v>
                </c:pt>
                <c:pt idx="1461">
                  <c:v>200.62</c:v>
                </c:pt>
                <c:pt idx="1462">
                  <c:v>200.46</c:v>
                </c:pt>
                <c:pt idx="1463">
                  <c:v>201.78</c:v>
                </c:pt>
                <c:pt idx="1464">
                  <c:v>201.47</c:v>
                </c:pt>
                <c:pt idx="1465">
                  <c:v>201.7</c:v>
                </c:pt>
                <c:pt idx="1466">
                  <c:v>202.01</c:v>
                </c:pt>
                <c:pt idx="1467">
                  <c:v>203.44</c:v>
                </c:pt>
                <c:pt idx="1468">
                  <c:v>203.54</c:v>
                </c:pt>
                <c:pt idx="1469">
                  <c:v>202.93</c:v>
                </c:pt>
                <c:pt idx="1470">
                  <c:v>201.26999999999998</c:v>
                </c:pt>
                <c:pt idx="1471">
                  <c:v>202.05</c:v>
                </c:pt>
                <c:pt idx="1472">
                  <c:v>202.88000000000002</c:v>
                </c:pt>
                <c:pt idx="1473">
                  <c:v>203.94</c:v>
                </c:pt>
                <c:pt idx="1474">
                  <c:v>204.04</c:v>
                </c:pt>
                <c:pt idx="1475">
                  <c:v>205.29</c:v>
                </c:pt>
                <c:pt idx="1476">
                  <c:v>205.44</c:v>
                </c:pt>
                <c:pt idx="1477">
                  <c:v>206.13</c:v>
                </c:pt>
                <c:pt idx="1478">
                  <c:v>204.70999999999998</c:v>
                </c:pt>
                <c:pt idx="1479">
                  <c:v>205.6</c:v>
                </c:pt>
                <c:pt idx="1480">
                  <c:v>205.03</c:v>
                </c:pt>
                <c:pt idx="1481">
                  <c:v>207.72</c:v>
                </c:pt>
                <c:pt idx="1482">
                  <c:v>209.39000000000001</c:v>
                </c:pt>
                <c:pt idx="1483">
                  <c:v>209.18</c:v>
                </c:pt>
                <c:pt idx="1484">
                  <c:v>209.86</c:v>
                </c:pt>
                <c:pt idx="1485">
                  <c:v>210.45000000000002</c:v>
                </c:pt>
                <c:pt idx="1486">
                  <c:v>210.4</c:v>
                </c:pt>
                <c:pt idx="1487">
                  <c:v>211.08</c:v>
                </c:pt>
                <c:pt idx="1488">
                  <c:v>211.54</c:v>
                </c:pt>
                <c:pt idx="1489">
                  <c:v>211.70999999999998</c:v>
                </c:pt>
                <c:pt idx="1490">
                  <c:v>210.73</c:v>
                </c:pt>
                <c:pt idx="1491">
                  <c:v>211.3</c:v>
                </c:pt>
                <c:pt idx="1492">
                  <c:v>213.07</c:v>
                </c:pt>
                <c:pt idx="1493">
                  <c:v>212.76</c:v>
                </c:pt>
                <c:pt idx="1494">
                  <c:v>214.45000000000002</c:v>
                </c:pt>
                <c:pt idx="1495">
                  <c:v>215.37</c:v>
                </c:pt>
                <c:pt idx="1496">
                  <c:v>214.76999999999998</c:v>
                </c:pt>
                <c:pt idx="1497">
                  <c:v>215.3</c:v>
                </c:pt>
                <c:pt idx="1498">
                  <c:v>215.3</c:v>
                </c:pt>
                <c:pt idx="1499">
                  <c:v>215.59</c:v>
                </c:pt>
                <c:pt idx="1500">
                  <c:v>215.26</c:v>
                </c:pt>
                <c:pt idx="1501">
                  <c:v>217.2</c:v>
                </c:pt>
                <c:pt idx="1502">
                  <c:v>216.31</c:v>
                </c:pt>
                <c:pt idx="1503">
                  <c:v>216.73999999999998</c:v>
                </c:pt>
                <c:pt idx="1504">
                  <c:v>218.17</c:v>
                </c:pt>
                <c:pt idx="1505">
                  <c:v>220.31</c:v>
                </c:pt>
                <c:pt idx="1506">
                  <c:v>217.98000000000002</c:v>
                </c:pt>
                <c:pt idx="1507">
                  <c:v>219.57</c:v>
                </c:pt>
                <c:pt idx="1508">
                  <c:v>219.9</c:v>
                </c:pt>
                <c:pt idx="1509">
                  <c:v>218.34</c:v>
                </c:pt>
                <c:pt idx="1510">
                  <c:v>219.5</c:v>
                </c:pt>
                <c:pt idx="1511">
                  <c:v>220.57</c:v>
                </c:pt>
                <c:pt idx="1512">
                  <c:v>220.07</c:v>
                </c:pt>
                <c:pt idx="1513">
                  <c:v>219.84</c:v>
                </c:pt>
                <c:pt idx="1514">
                  <c:v>218.28</c:v>
                </c:pt>
                <c:pt idx="1515">
                  <c:v>217.15</c:v>
                </c:pt>
                <c:pt idx="1516">
                  <c:v>219.88000000000002</c:v>
                </c:pt>
                <c:pt idx="1517">
                  <c:v>220.33</c:v>
                </c:pt>
                <c:pt idx="1518">
                  <c:v>219.15</c:v>
                </c:pt>
                <c:pt idx="1519">
                  <c:v>218.93</c:v>
                </c:pt>
                <c:pt idx="1520">
                  <c:v>222.88000000000002</c:v>
                </c:pt>
                <c:pt idx="1521">
                  <c:v>224.67</c:v>
                </c:pt>
                <c:pt idx="1522">
                  <c:v>227.34</c:v>
                </c:pt>
                <c:pt idx="1523">
                  <c:v>226.92000000000002</c:v>
                </c:pt>
                <c:pt idx="1524">
                  <c:v>225.98000000000002</c:v>
                </c:pt>
                <c:pt idx="1525">
                  <c:v>229.69</c:v>
                </c:pt>
                <c:pt idx="1526">
                  <c:v>228.19</c:v>
                </c:pt>
                <c:pt idx="1527">
                  <c:v>228.73999999999998</c:v>
                </c:pt>
                <c:pt idx="1528">
                  <c:v>228.89000000000001</c:v>
                </c:pt>
                <c:pt idx="1529">
                  <c:v>228.10999999999999</c:v>
                </c:pt>
                <c:pt idx="1530">
                  <c:v>227.46</c:v>
                </c:pt>
                <c:pt idx="1531">
                  <c:v>230.08</c:v>
                </c:pt>
                <c:pt idx="1532">
                  <c:v>230.14</c:v>
                </c:pt>
                <c:pt idx="1533">
                  <c:v>231.23</c:v>
                </c:pt>
                <c:pt idx="1534">
                  <c:v>230.05</c:v>
                </c:pt>
                <c:pt idx="1535">
                  <c:v>231.39000000000001</c:v>
                </c:pt>
                <c:pt idx="1536">
                  <c:v>231.53</c:v>
                </c:pt>
                <c:pt idx="1537">
                  <c:v>234.34</c:v>
                </c:pt>
                <c:pt idx="1538">
                  <c:v>234.8</c:v>
                </c:pt>
                <c:pt idx="1539">
                  <c:v>236.5</c:v>
                </c:pt>
                <c:pt idx="1540">
                  <c:v>238.56</c:v>
                </c:pt>
                <c:pt idx="1541">
                  <c:v>238.4</c:v>
                </c:pt>
                <c:pt idx="1542">
                  <c:v>239.22</c:v>
                </c:pt>
                <c:pt idx="1543">
                  <c:v>239.97</c:v>
                </c:pt>
                <c:pt idx="1544">
                  <c:v>237.37</c:v>
                </c:pt>
                <c:pt idx="1545">
                  <c:v>239.12</c:v>
                </c:pt>
                <c:pt idx="1546">
                  <c:v>237.42000000000002</c:v>
                </c:pt>
                <c:pt idx="1547">
                  <c:v>236.84</c:v>
                </c:pt>
                <c:pt idx="1548">
                  <c:v>239.04</c:v>
                </c:pt>
                <c:pt idx="1549">
                  <c:v>237.38000000000002</c:v>
                </c:pt>
                <c:pt idx="1550">
                  <c:v>234.9</c:v>
                </c:pt>
                <c:pt idx="1551">
                  <c:v>236.69</c:v>
                </c:pt>
                <c:pt idx="1552">
                  <c:v>238.52</c:v>
                </c:pt>
                <c:pt idx="1553">
                  <c:v>240.63</c:v>
                </c:pt>
                <c:pt idx="1554">
                  <c:v>241.7</c:v>
                </c:pt>
                <c:pt idx="1555">
                  <c:v>242.86</c:v>
                </c:pt>
                <c:pt idx="1556">
                  <c:v>244.63</c:v>
                </c:pt>
                <c:pt idx="1557">
                  <c:v>244.42000000000002</c:v>
                </c:pt>
                <c:pt idx="1558">
                  <c:v>244.92000000000002</c:v>
                </c:pt>
                <c:pt idx="1559">
                  <c:v>246.46</c:v>
                </c:pt>
                <c:pt idx="1560">
                  <c:v>245.84</c:v>
                </c:pt>
                <c:pt idx="1561">
                  <c:v>246.02</c:v>
                </c:pt>
                <c:pt idx="1562">
                  <c:v>246.82000000000002</c:v>
                </c:pt>
                <c:pt idx="1563">
                  <c:v>245.37</c:v>
                </c:pt>
                <c:pt idx="1564">
                  <c:v>242.79</c:v>
                </c:pt>
                <c:pt idx="1565">
                  <c:v>243.48000000000002</c:v>
                </c:pt>
                <c:pt idx="1566">
                  <c:v>244.88000000000002</c:v>
                </c:pt>
                <c:pt idx="1567">
                  <c:v>243.67</c:v>
                </c:pt>
                <c:pt idx="1568">
                  <c:v>245.25</c:v>
                </c:pt>
                <c:pt idx="1569">
                  <c:v>244.46</c:v>
                </c:pt>
                <c:pt idx="1570">
                  <c:v>246.07</c:v>
                </c:pt>
                <c:pt idx="1571">
                  <c:v>245.75</c:v>
                </c:pt>
                <c:pt idx="1572">
                  <c:v>244.6</c:v>
                </c:pt>
                <c:pt idx="1573">
                  <c:v>245.62</c:v>
                </c:pt>
                <c:pt idx="1574">
                  <c:v>241.94</c:v>
                </c:pt>
                <c:pt idx="1575">
                  <c:v>241.96</c:v>
                </c:pt>
                <c:pt idx="1576">
                  <c:v>242.6</c:v>
                </c:pt>
                <c:pt idx="1577">
                  <c:v>242.6</c:v>
                </c:pt>
                <c:pt idx="1578">
                  <c:v>242.6</c:v>
                </c:pt>
                <c:pt idx="1579">
                  <c:v>241.91</c:v>
                </c:pt>
                <c:pt idx="1580">
                  <c:v>244.78</c:v>
                </c:pt>
                <c:pt idx="1581">
                  <c:v>246.06</c:v>
                </c:pt>
                <c:pt idx="1582">
                  <c:v>246.88000000000002</c:v>
                </c:pt>
                <c:pt idx="1583">
                  <c:v>246.9</c:v>
                </c:pt>
                <c:pt idx="1584">
                  <c:v>246.53</c:v>
                </c:pt>
                <c:pt idx="1585">
                  <c:v>247.91</c:v>
                </c:pt>
                <c:pt idx="1586">
                  <c:v>247.4</c:v>
                </c:pt>
                <c:pt idx="1587">
                  <c:v>245.66</c:v>
                </c:pt>
                <c:pt idx="1588">
                  <c:v>246.18</c:v>
                </c:pt>
                <c:pt idx="1589">
                  <c:v>247.7</c:v>
                </c:pt>
                <c:pt idx="1590">
                  <c:v>246.16</c:v>
                </c:pt>
                <c:pt idx="1591">
                  <c:v>247.13</c:v>
                </c:pt>
                <c:pt idx="1592">
                  <c:v>249.47</c:v>
                </c:pt>
                <c:pt idx="1593">
                  <c:v>250.22</c:v>
                </c:pt>
                <c:pt idx="1594">
                  <c:v>251.4</c:v>
                </c:pt>
                <c:pt idx="1595">
                  <c:v>251.07</c:v>
                </c:pt>
                <c:pt idx="1596">
                  <c:v>249.43</c:v>
                </c:pt>
                <c:pt idx="1597">
                  <c:v>244.76</c:v>
                </c:pt>
                <c:pt idx="1598">
                  <c:v>242.10999999999999</c:v>
                </c:pt>
                <c:pt idx="1599">
                  <c:v>242.3</c:v>
                </c:pt>
                <c:pt idx="1600">
                  <c:v>236.91</c:v>
                </c:pt>
                <c:pt idx="1601">
                  <c:v>234.70999999999998</c:v>
                </c:pt>
                <c:pt idx="1602">
                  <c:v>235.06</c:v>
                </c:pt>
                <c:pt idx="1603">
                  <c:v>229.17</c:v>
                </c:pt>
                <c:pt idx="1604">
                  <c:v>234.22</c:v>
                </c:pt>
                <c:pt idx="1605">
                  <c:v>231.43</c:v>
                </c:pt>
                <c:pt idx="1606">
                  <c:v>233.36</c:v>
                </c:pt>
                <c:pt idx="1607">
                  <c:v>237.96</c:v>
                </c:pt>
                <c:pt idx="1608">
                  <c:v>237.63</c:v>
                </c:pt>
                <c:pt idx="1609">
                  <c:v>233.15</c:v>
                </c:pt>
                <c:pt idx="1610">
                  <c:v>235.56</c:v>
                </c:pt>
                <c:pt idx="1611">
                  <c:v>237.32000000000002</c:v>
                </c:pt>
                <c:pt idx="1612">
                  <c:v>238.68</c:v>
                </c:pt>
                <c:pt idx="1613">
                  <c:v>237.35000000000002</c:v>
                </c:pt>
                <c:pt idx="1614">
                  <c:v>234.05</c:v>
                </c:pt>
                <c:pt idx="1615">
                  <c:v>235.7</c:v>
                </c:pt>
                <c:pt idx="1616">
                  <c:v>230.8</c:v>
                </c:pt>
                <c:pt idx="1617">
                  <c:v>234.53</c:v>
                </c:pt>
                <c:pt idx="1618">
                  <c:v>232.12</c:v>
                </c:pt>
                <c:pt idx="1619">
                  <c:v>226.76</c:v>
                </c:pt>
                <c:pt idx="1620">
                  <c:v>227.62</c:v>
                </c:pt>
                <c:pt idx="1621">
                  <c:v>231.36</c:v>
                </c:pt>
                <c:pt idx="1622">
                  <c:v>229.32000000000002</c:v>
                </c:pt>
                <c:pt idx="1623">
                  <c:v>230.67</c:v>
                </c:pt>
                <c:pt idx="1624">
                  <c:v>231.07</c:v>
                </c:pt>
                <c:pt idx="1625">
                  <c:v>231.07</c:v>
                </c:pt>
                <c:pt idx="1626">
                  <c:v>232.16</c:v>
                </c:pt>
                <c:pt idx="1627">
                  <c:v>232</c:v>
                </c:pt>
                <c:pt idx="1628">
                  <c:v>231.3</c:v>
                </c:pt>
                <c:pt idx="1629">
                  <c:v>229.95000000000002</c:v>
                </c:pt>
                <c:pt idx="1630">
                  <c:v>231.02</c:v>
                </c:pt>
                <c:pt idx="1631">
                  <c:v>234.96</c:v>
                </c:pt>
                <c:pt idx="1632">
                  <c:v>237.42000000000002</c:v>
                </c:pt>
                <c:pt idx="1633">
                  <c:v>238.42000000000002</c:v>
                </c:pt>
                <c:pt idx="1634">
                  <c:v>239.07</c:v>
                </c:pt>
                <c:pt idx="1635">
                  <c:v>236.46</c:v>
                </c:pt>
                <c:pt idx="1636">
                  <c:v>237.59</c:v>
                </c:pt>
                <c:pt idx="1637">
                  <c:v>237.51</c:v>
                </c:pt>
                <c:pt idx="1638">
                  <c:v>238.16</c:v>
                </c:pt>
                <c:pt idx="1639">
                  <c:v>236.58</c:v>
                </c:pt>
                <c:pt idx="1640">
                  <c:v>236.86</c:v>
                </c:pt>
                <c:pt idx="1641">
                  <c:v>233.94</c:v>
                </c:pt>
                <c:pt idx="1642">
                  <c:v>231.08</c:v>
                </c:pt>
                <c:pt idx="1643">
                  <c:v>230.6</c:v>
                </c:pt>
                <c:pt idx="1644">
                  <c:v>231.38000000000002</c:v>
                </c:pt>
                <c:pt idx="1645">
                  <c:v>236.39000000000001</c:v>
                </c:pt>
                <c:pt idx="1646">
                  <c:v>237.13</c:v>
                </c:pt>
                <c:pt idx="1647">
                  <c:v>235.38000000000002</c:v>
                </c:pt>
                <c:pt idx="1648">
                  <c:v>239.38000000000002</c:v>
                </c:pt>
                <c:pt idx="1649">
                  <c:v>240.05</c:v>
                </c:pt>
                <c:pt idx="1650">
                  <c:v>241.36</c:v>
                </c:pt>
                <c:pt idx="1651">
                  <c:v>244.15</c:v>
                </c:pt>
                <c:pt idx="1652">
                  <c:v>245.60999999999999</c:v>
                </c:pt>
                <c:pt idx="1653">
                  <c:v>244.76</c:v>
                </c:pt>
                <c:pt idx="1654">
                  <c:v>243.73999999999998</c:v>
                </c:pt>
                <c:pt idx="1655">
                  <c:v>245.68</c:v>
                </c:pt>
                <c:pt idx="1656">
                  <c:v>243.56</c:v>
                </c:pt>
                <c:pt idx="1657">
                  <c:v>246.64</c:v>
                </c:pt>
                <c:pt idx="1658">
                  <c:v>244.7</c:v>
                </c:pt>
                <c:pt idx="1659">
                  <c:v>245.06</c:v>
                </c:pt>
                <c:pt idx="1660">
                  <c:v>246.04</c:v>
                </c:pt>
                <c:pt idx="1661">
                  <c:v>244.99</c:v>
                </c:pt>
                <c:pt idx="1662">
                  <c:v>246.20999999999998</c:v>
                </c:pt>
                <c:pt idx="1663">
                  <c:v>247.92000000000002</c:v>
                </c:pt>
                <c:pt idx="1664">
                  <c:v>249.41</c:v>
                </c:pt>
                <c:pt idx="1665">
                  <c:v>249.93</c:v>
                </c:pt>
                <c:pt idx="1666">
                  <c:v>249.67</c:v>
                </c:pt>
                <c:pt idx="1667">
                  <c:v>248.9</c:v>
                </c:pt>
                <c:pt idx="1668">
                  <c:v>249.19</c:v>
                </c:pt>
                <c:pt idx="1669">
                  <c:v>249.96</c:v>
                </c:pt>
                <c:pt idx="1670">
                  <c:v>249.52</c:v>
                </c:pt>
                <c:pt idx="1671">
                  <c:v>250.41</c:v>
                </c:pt>
                <c:pt idx="1672">
                  <c:v>250.82000000000002</c:v>
                </c:pt>
                <c:pt idx="1673">
                  <c:v>251.7</c:v>
                </c:pt>
                <c:pt idx="1674">
                  <c:v>253</c:v>
                </c:pt>
                <c:pt idx="1675">
                  <c:v>254.58</c:v>
                </c:pt>
                <c:pt idx="1676">
                  <c:v>253.76999999999998</c:v>
                </c:pt>
                <c:pt idx="1677">
                  <c:v>255.64</c:v>
                </c:pt>
                <c:pt idx="1678">
                  <c:v>256.38</c:v>
                </c:pt>
                <c:pt idx="1679">
                  <c:v>255.39000000000001</c:v>
                </c:pt>
                <c:pt idx="1680">
                  <c:v>252.39000000000001</c:v>
                </c:pt>
                <c:pt idx="1681">
                  <c:v>251.37</c:v>
                </c:pt>
                <c:pt idx="1682">
                  <c:v>252.70999999999998</c:v>
                </c:pt>
                <c:pt idx="1683">
                  <c:v>252.10999999999999</c:v>
                </c:pt>
                <c:pt idx="1684">
                  <c:v>255.9</c:v>
                </c:pt>
                <c:pt idx="1685">
                  <c:v>256.86</c:v>
                </c:pt>
                <c:pt idx="1686">
                  <c:v>257.72000000000003</c:v>
                </c:pt>
                <c:pt idx="1687">
                  <c:v>259.18</c:v>
                </c:pt>
                <c:pt idx="1688">
                  <c:v>258.36</c:v>
                </c:pt>
                <c:pt idx="1689">
                  <c:v>257.10000000000002</c:v>
                </c:pt>
                <c:pt idx="1690">
                  <c:v>258.89</c:v>
                </c:pt>
                <c:pt idx="1691">
                  <c:v>261.12</c:v>
                </c:pt>
                <c:pt idx="1692">
                  <c:v>258.42999999999995</c:v>
                </c:pt>
                <c:pt idx="1693">
                  <c:v>258.83</c:v>
                </c:pt>
                <c:pt idx="1694">
                  <c:v>262.44</c:v>
                </c:pt>
                <c:pt idx="1695">
                  <c:v>263.31</c:v>
                </c:pt>
                <c:pt idx="1696">
                  <c:v>262.78999999999996</c:v>
                </c:pt>
                <c:pt idx="1697">
                  <c:v>262.41999999999996</c:v>
                </c:pt>
                <c:pt idx="1698">
                  <c:v>263.26</c:v>
                </c:pt>
                <c:pt idx="1699">
                  <c:v>262.83999999999992</c:v>
                </c:pt>
                <c:pt idx="1700">
                  <c:v>266.31</c:v>
                </c:pt>
                <c:pt idx="1701">
                  <c:v>267.5</c:v>
                </c:pt>
                <c:pt idx="1702">
                  <c:v>269.74</c:v>
                </c:pt>
                <c:pt idx="1703">
                  <c:v>268.52999999999992</c:v>
                </c:pt>
                <c:pt idx="1704">
                  <c:v>270.45999999999992</c:v>
                </c:pt>
                <c:pt idx="1705">
                  <c:v>271.14999999999998</c:v>
                </c:pt>
                <c:pt idx="1706">
                  <c:v>273.33</c:v>
                </c:pt>
                <c:pt idx="1707">
                  <c:v>274.61</c:v>
                </c:pt>
                <c:pt idx="1708">
                  <c:v>274.5</c:v>
                </c:pt>
                <c:pt idx="1709">
                  <c:v>270.72999999999996</c:v>
                </c:pt>
                <c:pt idx="1710">
                  <c:v>273.77</c:v>
                </c:pt>
                <c:pt idx="1711">
                  <c:v>272.78999999999996</c:v>
                </c:pt>
                <c:pt idx="1712">
                  <c:v>274.32</c:v>
                </c:pt>
                <c:pt idx="1713">
                  <c:v>274.20999999999992</c:v>
                </c:pt>
                <c:pt idx="1714">
                  <c:v>274.95999999999992</c:v>
                </c:pt>
                <c:pt idx="1715">
                  <c:v>276.10000000000002</c:v>
                </c:pt>
                <c:pt idx="1716">
                  <c:v>276.39</c:v>
                </c:pt>
                <c:pt idx="1717">
                  <c:v>276.05</c:v>
                </c:pt>
                <c:pt idx="1718">
                  <c:v>275.02999999999992</c:v>
                </c:pt>
                <c:pt idx="1719">
                  <c:v>275.81</c:v>
                </c:pt>
                <c:pt idx="1720">
                  <c:v>275.52</c:v>
                </c:pt>
                <c:pt idx="1721">
                  <c:v>275.63</c:v>
                </c:pt>
                <c:pt idx="1722">
                  <c:v>275.54000000000002</c:v>
                </c:pt>
                <c:pt idx="1723">
                  <c:v>278.41000000000003</c:v>
                </c:pt>
                <c:pt idx="1724">
                  <c:v>278.72999999999996</c:v>
                </c:pt>
                <c:pt idx="1725">
                  <c:v>280.22999999999996</c:v>
                </c:pt>
                <c:pt idx="1726">
                  <c:v>280.39999999999992</c:v>
                </c:pt>
                <c:pt idx="1727">
                  <c:v>282.33</c:v>
                </c:pt>
                <c:pt idx="1728">
                  <c:v>283.48999999999995</c:v>
                </c:pt>
                <c:pt idx="1729">
                  <c:v>282.19</c:v>
                </c:pt>
                <c:pt idx="1730">
                  <c:v>284.86</c:v>
                </c:pt>
                <c:pt idx="1731">
                  <c:v>286.83999999999992</c:v>
                </c:pt>
                <c:pt idx="1732">
                  <c:v>284.58999999999992</c:v>
                </c:pt>
                <c:pt idx="1733">
                  <c:v>285.48999999999995</c:v>
                </c:pt>
                <c:pt idx="1734">
                  <c:v>285.91999999999996</c:v>
                </c:pt>
                <c:pt idx="1735">
                  <c:v>284.20999999999992</c:v>
                </c:pt>
                <c:pt idx="1736">
                  <c:v>283.87</c:v>
                </c:pt>
                <c:pt idx="1737">
                  <c:v>282.63</c:v>
                </c:pt>
                <c:pt idx="1738">
                  <c:v>279.47000000000003</c:v>
                </c:pt>
                <c:pt idx="1739">
                  <c:v>278.75</c:v>
                </c:pt>
                <c:pt idx="1740">
                  <c:v>283.18</c:v>
                </c:pt>
                <c:pt idx="1741">
                  <c:v>283.02</c:v>
                </c:pt>
                <c:pt idx="1742">
                  <c:v>282.58</c:v>
                </c:pt>
                <c:pt idx="1743">
                  <c:v>284.41000000000003</c:v>
                </c:pt>
                <c:pt idx="1744">
                  <c:v>285.7</c:v>
                </c:pt>
                <c:pt idx="1745">
                  <c:v>284.82</c:v>
                </c:pt>
                <c:pt idx="1746">
                  <c:v>287.76</c:v>
                </c:pt>
                <c:pt idx="1747">
                  <c:v>287.94</c:v>
                </c:pt>
                <c:pt idx="1748">
                  <c:v>289.87</c:v>
                </c:pt>
                <c:pt idx="1749">
                  <c:v>290.48999999999995</c:v>
                </c:pt>
                <c:pt idx="1750">
                  <c:v>293.25</c:v>
                </c:pt>
                <c:pt idx="1751">
                  <c:v>294.27</c:v>
                </c:pt>
                <c:pt idx="1752">
                  <c:v>295.56</c:v>
                </c:pt>
                <c:pt idx="1753">
                  <c:v>294.63</c:v>
                </c:pt>
                <c:pt idx="1754">
                  <c:v>293.04000000000002</c:v>
                </c:pt>
                <c:pt idx="1755">
                  <c:v>293.72000000000003</c:v>
                </c:pt>
                <c:pt idx="1756">
                  <c:v>293.14000000000004</c:v>
                </c:pt>
                <c:pt idx="1757">
                  <c:v>292.44</c:v>
                </c:pt>
                <c:pt idx="1758">
                  <c:v>292.44</c:v>
                </c:pt>
                <c:pt idx="1759">
                  <c:v>292.44</c:v>
                </c:pt>
                <c:pt idx="1760">
                  <c:v>295.56</c:v>
                </c:pt>
                <c:pt idx="1761">
                  <c:v>295.88</c:v>
                </c:pt>
                <c:pt idx="1762">
                  <c:v>294.08999999999992</c:v>
                </c:pt>
                <c:pt idx="1763">
                  <c:v>294.08999999999992</c:v>
                </c:pt>
                <c:pt idx="1764">
                  <c:v>299.2</c:v>
                </c:pt>
                <c:pt idx="1765">
                  <c:v>298.12</c:v>
                </c:pt>
                <c:pt idx="1766">
                  <c:v>296.97999999999996</c:v>
                </c:pt>
                <c:pt idx="1767">
                  <c:v>294.7</c:v>
                </c:pt>
                <c:pt idx="1768">
                  <c:v>294.5</c:v>
                </c:pt>
                <c:pt idx="1769">
                  <c:v>296.39</c:v>
                </c:pt>
                <c:pt idx="1770">
                  <c:v>295.11</c:v>
                </c:pt>
                <c:pt idx="1771">
                  <c:v>301</c:v>
                </c:pt>
                <c:pt idx="1772">
                  <c:v>303.2</c:v>
                </c:pt>
                <c:pt idx="1773">
                  <c:v>305.39</c:v>
                </c:pt>
                <c:pt idx="1774">
                  <c:v>302.66000000000008</c:v>
                </c:pt>
                <c:pt idx="1775">
                  <c:v>303.39999999999992</c:v>
                </c:pt>
                <c:pt idx="1776">
                  <c:v>303.82</c:v>
                </c:pt>
                <c:pt idx="1777">
                  <c:v>305.08</c:v>
                </c:pt>
                <c:pt idx="1778">
                  <c:v>303.86</c:v>
                </c:pt>
                <c:pt idx="1779">
                  <c:v>303.77999999999992</c:v>
                </c:pt>
                <c:pt idx="1780">
                  <c:v>306.67</c:v>
                </c:pt>
                <c:pt idx="1781">
                  <c:v>305.98999999999995</c:v>
                </c:pt>
                <c:pt idx="1782">
                  <c:v>304.01</c:v>
                </c:pt>
                <c:pt idx="1783">
                  <c:v>304.35000000000002</c:v>
                </c:pt>
                <c:pt idx="1784">
                  <c:v>304.58</c:v>
                </c:pt>
                <c:pt idx="1785">
                  <c:v>302.24</c:v>
                </c:pt>
                <c:pt idx="1786">
                  <c:v>306.91999999999996</c:v>
                </c:pt>
                <c:pt idx="1787">
                  <c:v>309.57</c:v>
                </c:pt>
                <c:pt idx="1788">
                  <c:v>309.76</c:v>
                </c:pt>
                <c:pt idx="1789">
                  <c:v>312.37</c:v>
                </c:pt>
                <c:pt idx="1790">
                  <c:v>313.26</c:v>
                </c:pt>
                <c:pt idx="1791">
                  <c:v>309.86</c:v>
                </c:pt>
                <c:pt idx="1792">
                  <c:v>311.27</c:v>
                </c:pt>
                <c:pt idx="1793">
                  <c:v>310.25</c:v>
                </c:pt>
                <c:pt idx="1794">
                  <c:v>309.72000000000003</c:v>
                </c:pt>
                <c:pt idx="1795">
                  <c:v>312.89</c:v>
                </c:pt>
                <c:pt idx="1796">
                  <c:v>312.11</c:v>
                </c:pt>
                <c:pt idx="1797">
                  <c:v>312.19</c:v>
                </c:pt>
                <c:pt idx="1798">
                  <c:v>312.47999999999996</c:v>
                </c:pt>
                <c:pt idx="1799">
                  <c:v>311.95</c:v>
                </c:pt>
                <c:pt idx="1800">
                  <c:v>309.75</c:v>
                </c:pt>
                <c:pt idx="1801">
                  <c:v>310.58</c:v>
                </c:pt>
                <c:pt idx="1802">
                  <c:v>311.26</c:v>
                </c:pt>
                <c:pt idx="1803">
                  <c:v>312.27999999999992</c:v>
                </c:pt>
                <c:pt idx="1804">
                  <c:v>302.5</c:v>
                </c:pt>
                <c:pt idx="1805">
                  <c:v>297.70999999999992</c:v>
                </c:pt>
                <c:pt idx="1806">
                  <c:v>295.66000000000008</c:v>
                </c:pt>
                <c:pt idx="1807">
                  <c:v>294.31</c:v>
                </c:pt>
                <c:pt idx="1808">
                  <c:v>290.26</c:v>
                </c:pt>
                <c:pt idx="1809">
                  <c:v>294.26</c:v>
                </c:pt>
                <c:pt idx="1810">
                  <c:v>296.89999999999992</c:v>
                </c:pt>
                <c:pt idx="1811">
                  <c:v>300.83</c:v>
                </c:pt>
                <c:pt idx="1812">
                  <c:v>302.66000000000008</c:v>
                </c:pt>
                <c:pt idx="1813">
                  <c:v>300.69</c:v>
                </c:pt>
                <c:pt idx="1814">
                  <c:v>296.86</c:v>
                </c:pt>
                <c:pt idx="1815">
                  <c:v>288.54000000000002</c:v>
                </c:pt>
                <c:pt idx="1816">
                  <c:v>294.8</c:v>
                </c:pt>
                <c:pt idx="1817">
                  <c:v>295.22999999999996</c:v>
                </c:pt>
                <c:pt idx="1818">
                  <c:v>299.67</c:v>
                </c:pt>
                <c:pt idx="1819">
                  <c:v>301.85000000000002</c:v>
                </c:pt>
                <c:pt idx="1820">
                  <c:v>303.07</c:v>
                </c:pt>
                <c:pt idx="1821">
                  <c:v>308.11</c:v>
                </c:pt>
                <c:pt idx="1822">
                  <c:v>309.56</c:v>
                </c:pt>
                <c:pt idx="1823">
                  <c:v>306.78999999999996</c:v>
                </c:pt>
                <c:pt idx="1824">
                  <c:v>306.39999999999992</c:v>
                </c:pt>
                <c:pt idx="1825">
                  <c:v>305.26</c:v>
                </c:pt>
                <c:pt idx="1826">
                  <c:v>308.83</c:v>
                </c:pt>
                <c:pt idx="1827">
                  <c:v>309.20999999999992</c:v>
                </c:pt>
                <c:pt idx="1828">
                  <c:v>311.18</c:v>
                </c:pt>
                <c:pt idx="1829">
                  <c:v>314.39999999999992</c:v>
                </c:pt>
                <c:pt idx="1830">
                  <c:v>315.14999999999998</c:v>
                </c:pt>
                <c:pt idx="1831">
                  <c:v>315.07</c:v>
                </c:pt>
                <c:pt idx="1832">
                  <c:v>315.07</c:v>
                </c:pt>
                <c:pt idx="1833">
                  <c:v>315.07</c:v>
                </c:pt>
                <c:pt idx="1834">
                  <c:v>317.52999999999992</c:v>
                </c:pt>
                <c:pt idx="1835">
                  <c:v>317.61</c:v>
                </c:pt>
                <c:pt idx="1836">
                  <c:v>316.3</c:v>
                </c:pt>
                <c:pt idx="1837">
                  <c:v>318.3</c:v>
                </c:pt>
                <c:pt idx="1838">
                  <c:v>322.12</c:v>
                </c:pt>
                <c:pt idx="1839">
                  <c:v>322.61</c:v>
                </c:pt>
                <c:pt idx="1840">
                  <c:v>320.33</c:v>
                </c:pt>
                <c:pt idx="1841">
                  <c:v>319.51</c:v>
                </c:pt>
                <c:pt idx="1842">
                  <c:v>324.41999999999996</c:v>
                </c:pt>
                <c:pt idx="1843">
                  <c:v>324.60000000000002</c:v>
                </c:pt>
                <c:pt idx="1844">
                  <c:v>322.27999999999992</c:v>
                </c:pt>
                <c:pt idx="1845">
                  <c:v>324.89</c:v>
                </c:pt>
                <c:pt idx="1846">
                  <c:v>326.24</c:v>
                </c:pt>
                <c:pt idx="1847">
                  <c:v>325.51</c:v>
                </c:pt>
                <c:pt idx="1848">
                  <c:v>326.06</c:v>
                </c:pt>
                <c:pt idx="1849">
                  <c:v>325.91000000000003</c:v>
                </c:pt>
                <c:pt idx="1850">
                  <c:v>326.68</c:v>
                </c:pt>
                <c:pt idx="1851">
                  <c:v>325.91999999999996</c:v>
                </c:pt>
                <c:pt idx="1852">
                  <c:v>328.94</c:v>
                </c:pt>
                <c:pt idx="1853">
                  <c:v>330.17</c:v>
                </c:pt>
                <c:pt idx="1854">
                  <c:v>326.18</c:v>
                </c:pt>
                <c:pt idx="1855">
                  <c:v>325.83999999999992</c:v>
                </c:pt>
                <c:pt idx="1856">
                  <c:v>323.07</c:v>
                </c:pt>
                <c:pt idx="1857">
                  <c:v>325.83999999999992</c:v>
                </c:pt>
                <c:pt idx="1858">
                  <c:v>325.28999999999996</c:v>
                </c:pt>
                <c:pt idx="1859">
                  <c:v>326.7</c:v>
                </c:pt>
                <c:pt idx="1860">
                  <c:v>326.11</c:v>
                </c:pt>
                <c:pt idx="1861">
                  <c:v>325.89</c:v>
                </c:pt>
                <c:pt idx="1862">
                  <c:v>328.67</c:v>
                </c:pt>
                <c:pt idx="1863">
                  <c:v>328.75</c:v>
                </c:pt>
                <c:pt idx="1864">
                  <c:v>329.67</c:v>
                </c:pt>
                <c:pt idx="1865">
                  <c:v>333.27</c:v>
                </c:pt>
                <c:pt idx="1866">
                  <c:v>330.69</c:v>
                </c:pt>
                <c:pt idx="1867">
                  <c:v>330.41999999999996</c:v>
                </c:pt>
                <c:pt idx="1868">
                  <c:v>331.28999999999996</c:v>
                </c:pt>
                <c:pt idx="1869">
                  <c:v>331.56</c:v>
                </c:pt>
                <c:pt idx="1870">
                  <c:v>330.40999999999997</c:v>
                </c:pt>
                <c:pt idx="1871">
                  <c:v>332.59</c:v>
                </c:pt>
                <c:pt idx="1872">
                  <c:v>335.35</c:v>
                </c:pt>
                <c:pt idx="1873">
                  <c:v>333.67</c:v>
                </c:pt>
                <c:pt idx="1874">
                  <c:v>332.16</c:v>
                </c:pt>
                <c:pt idx="1875">
                  <c:v>326.28999999999996</c:v>
                </c:pt>
                <c:pt idx="1876">
                  <c:v>321.22999999999996</c:v>
                </c:pt>
                <c:pt idx="1877">
                  <c:v>320.92999999999995</c:v>
                </c:pt>
                <c:pt idx="1878">
                  <c:v>322.68</c:v>
                </c:pt>
                <c:pt idx="1879">
                  <c:v>320.95999999999992</c:v>
                </c:pt>
                <c:pt idx="1880">
                  <c:v>322.2</c:v>
                </c:pt>
                <c:pt idx="1881">
                  <c:v>327.58</c:v>
                </c:pt>
                <c:pt idx="1882">
                  <c:v>331.08</c:v>
                </c:pt>
                <c:pt idx="1883">
                  <c:v>329.11</c:v>
                </c:pt>
                <c:pt idx="1884">
                  <c:v>328.5</c:v>
                </c:pt>
                <c:pt idx="1885">
                  <c:v>328.46</c:v>
                </c:pt>
                <c:pt idx="1886">
                  <c:v>324.58</c:v>
                </c:pt>
                <c:pt idx="1887">
                  <c:v>323.38</c:v>
                </c:pt>
                <c:pt idx="1888">
                  <c:v>322.86</c:v>
                </c:pt>
                <c:pt idx="1889">
                  <c:v>321.56</c:v>
                </c:pt>
                <c:pt idx="1890">
                  <c:v>318.86</c:v>
                </c:pt>
                <c:pt idx="1891">
                  <c:v>321.98999999999995</c:v>
                </c:pt>
                <c:pt idx="1892">
                  <c:v>322.33</c:v>
                </c:pt>
                <c:pt idx="1893">
                  <c:v>320.04000000000002</c:v>
                </c:pt>
                <c:pt idx="1894">
                  <c:v>323.02999999999992</c:v>
                </c:pt>
                <c:pt idx="1895">
                  <c:v>325</c:v>
                </c:pt>
                <c:pt idx="1896">
                  <c:v>323.45</c:v>
                </c:pt>
                <c:pt idx="1897">
                  <c:v>324.41000000000003</c:v>
                </c:pt>
                <c:pt idx="1898">
                  <c:v>325.72000000000003</c:v>
                </c:pt>
                <c:pt idx="1899">
                  <c:v>321.62</c:v>
                </c:pt>
                <c:pt idx="1900">
                  <c:v>321.56</c:v>
                </c:pt>
                <c:pt idx="1901">
                  <c:v>325.48999999999995</c:v>
                </c:pt>
                <c:pt idx="1902">
                  <c:v>327.01</c:v>
                </c:pt>
                <c:pt idx="1903">
                  <c:v>328.02</c:v>
                </c:pt>
                <c:pt idx="1904">
                  <c:v>327.33999999999992</c:v>
                </c:pt>
                <c:pt idx="1905">
                  <c:v>325.66000000000008</c:v>
                </c:pt>
                <c:pt idx="1906">
                  <c:v>327.97999999999996</c:v>
                </c:pt>
                <c:pt idx="1907">
                  <c:v>325.01</c:v>
                </c:pt>
                <c:pt idx="1908">
                  <c:v>326.51</c:v>
                </c:pt>
                <c:pt idx="1909">
                  <c:v>320.87</c:v>
                </c:pt>
                <c:pt idx="1910">
                  <c:v>319.22000000000003</c:v>
                </c:pt>
                <c:pt idx="1911">
                  <c:v>309.3</c:v>
                </c:pt>
                <c:pt idx="1912">
                  <c:v>307.35000000000002</c:v>
                </c:pt>
                <c:pt idx="1913">
                  <c:v>305.82</c:v>
                </c:pt>
                <c:pt idx="1914">
                  <c:v>312.7</c:v>
                </c:pt>
                <c:pt idx="1915">
                  <c:v>307.02</c:v>
                </c:pt>
                <c:pt idx="1916">
                  <c:v>310.91000000000003</c:v>
                </c:pt>
                <c:pt idx="1917">
                  <c:v>307.61</c:v>
                </c:pt>
                <c:pt idx="1918">
                  <c:v>305.04000000000002</c:v>
                </c:pt>
                <c:pt idx="1919">
                  <c:v>310.33999999999992</c:v>
                </c:pt>
                <c:pt idx="1920">
                  <c:v>317.19</c:v>
                </c:pt>
                <c:pt idx="1921">
                  <c:v>313.88</c:v>
                </c:pt>
                <c:pt idx="1922">
                  <c:v>303.95</c:v>
                </c:pt>
                <c:pt idx="1923">
                  <c:v>310.02999999999992</c:v>
                </c:pt>
                <c:pt idx="1924">
                  <c:v>306.01</c:v>
                </c:pt>
                <c:pt idx="1925">
                  <c:v>305.66000000000008</c:v>
                </c:pt>
                <c:pt idx="1926">
                  <c:v>295.19</c:v>
                </c:pt>
                <c:pt idx="1927">
                  <c:v>302.97999999999996</c:v>
                </c:pt>
                <c:pt idx="1928">
                  <c:v>304.5</c:v>
                </c:pt>
                <c:pt idx="1929">
                  <c:v>303.58</c:v>
                </c:pt>
                <c:pt idx="1930">
                  <c:v>310.12</c:v>
                </c:pt>
                <c:pt idx="1931">
                  <c:v>310.64000000000004</c:v>
                </c:pt>
                <c:pt idx="1932">
                  <c:v>311.22000000000003</c:v>
                </c:pt>
                <c:pt idx="1933">
                  <c:v>311.44</c:v>
                </c:pt>
                <c:pt idx="1934">
                  <c:v>305.92999999999995</c:v>
                </c:pt>
                <c:pt idx="1935">
                  <c:v>308.33999999999992</c:v>
                </c:pt>
                <c:pt idx="1936">
                  <c:v>311.35000000000002</c:v>
                </c:pt>
                <c:pt idx="1937">
                  <c:v>315.37</c:v>
                </c:pt>
                <c:pt idx="1938">
                  <c:v>317</c:v>
                </c:pt>
                <c:pt idx="1939">
                  <c:v>317.54000000000002</c:v>
                </c:pt>
                <c:pt idx="1940">
                  <c:v>311.41000000000003</c:v>
                </c:pt>
                <c:pt idx="1941">
                  <c:v>310.92999999999995</c:v>
                </c:pt>
                <c:pt idx="1942">
                  <c:v>302.98999999999995</c:v>
                </c:pt>
                <c:pt idx="1943">
                  <c:v>300.39</c:v>
                </c:pt>
                <c:pt idx="1944">
                  <c:v>305.72000000000003</c:v>
                </c:pt>
                <c:pt idx="1945">
                  <c:v>305.82</c:v>
                </c:pt>
                <c:pt idx="1946">
                  <c:v>307.74</c:v>
                </c:pt>
                <c:pt idx="1947">
                  <c:v>302.02</c:v>
                </c:pt>
                <c:pt idx="1948">
                  <c:v>294.87</c:v>
                </c:pt>
                <c:pt idx="1949">
                  <c:v>300.62</c:v>
                </c:pt>
                <c:pt idx="1950">
                  <c:v>308.98999999999995</c:v>
                </c:pt>
                <c:pt idx="1951">
                  <c:v>306.05</c:v>
                </c:pt>
                <c:pt idx="1952">
                  <c:v>307.62</c:v>
                </c:pt>
                <c:pt idx="1953">
                  <c:v>305.72000000000003</c:v>
                </c:pt>
                <c:pt idx="1954">
                  <c:v>301.08999999999992</c:v>
                </c:pt>
                <c:pt idx="1955">
                  <c:v>304.39999999999992</c:v>
                </c:pt>
                <c:pt idx="1956">
                  <c:v>308.51</c:v>
                </c:pt>
                <c:pt idx="1957">
                  <c:v>308.78999999999996</c:v>
                </c:pt>
                <c:pt idx="1958">
                  <c:v>310.2</c:v>
                </c:pt>
                <c:pt idx="1959">
                  <c:v>316.08999999999992</c:v>
                </c:pt>
                <c:pt idx="1960">
                  <c:v>318.78999999999996</c:v>
                </c:pt>
                <c:pt idx="1961">
                  <c:v>318.22999999999996</c:v>
                </c:pt>
                <c:pt idx="1962">
                  <c:v>319.58999999999992</c:v>
                </c:pt>
                <c:pt idx="1963">
                  <c:v>318.52</c:v>
                </c:pt>
                <c:pt idx="1964">
                  <c:v>320.06</c:v>
                </c:pt>
                <c:pt idx="1965">
                  <c:v>321.02999999999992</c:v>
                </c:pt>
                <c:pt idx="1966">
                  <c:v>319.81</c:v>
                </c:pt>
                <c:pt idx="1967">
                  <c:v>319.47000000000003</c:v>
                </c:pt>
                <c:pt idx="1968">
                  <c:v>314.37</c:v>
                </c:pt>
                <c:pt idx="1969">
                  <c:v>311.5</c:v>
                </c:pt>
                <c:pt idx="1970">
                  <c:v>315.83999999999992</c:v>
                </c:pt>
                <c:pt idx="1971">
                  <c:v>311.3</c:v>
                </c:pt>
                <c:pt idx="1972">
                  <c:v>310.61</c:v>
                </c:pt>
                <c:pt idx="1973">
                  <c:v>306.81</c:v>
                </c:pt>
                <c:pt idx="1974">
                  <c:v>310.02</c:v>
                </c:pt>
                <c:pt idx="1975">
                  <c:v>309.33</c:v>
                </c:pt>
                <c:pt idx="1976">
                  <c:v>314.77</c:v>
                </c:pt>
                <c:pt idx="1977">
                  <c:v>316.27999999999992</c:v>
                </c:pt>
                <c:pt idx="1978">
                  <c:v>316.97999999999996</c:v>
                </c:pt>
                <c:pt idx="1979">
                  <c:v>317.76</c:v>
                </c:pt>
                <c:pt idx="1980">
                  <c:v>322.25</c:v>
                </c:pt>
                <c:pt idx="1981">
                  <c:v>317.27999999999992</c:v>
                </c:pt>
                <c:pt idx="1982">
                  <c:v>315.47000000000003</c:v>
                </c:pt>
                <c:pt idx="1983">
                  <c:v>312.78999999999996</c:v>
                </c:pt>
                <c:pt idx="1984">
                  <c:v>312.05</c:v>
                </c:pt>
                <c:pt idx="1985">
                  <c:v>307.58</c:v>
                </c:pt>
                <c:pt idx="1986">
                  <c:v>303.86</c:v>
                </c:pt>
                <c:pt idx="1987">
                  <c:v>298.33999999999992</c:v>
                </c:pt>
                <c:pt idx="1988">
                  <c:v>298.56</c:v>
                </c:pt>
                <c:pt idx="1989">
                  <c:v>300.82</c:v>
                </c:pt>
                <c:pt idx="1990">
                  <c:v>300.41999999999996</c:v>
                </c:pt>
                <c:pt idx="1991">
                  <c:v>297.58</c:v>
                </c:pt>
                <c:pt idx="1992">
                  <c:v>295.87</c:v>
                </c:pt>
                <c:pt idx="1993">
                  <c:v>287.51</c:v>
                </c:pt>
                <c:pt idx="1994">
                  <c:v>292.13</c:v>
                </c:pt>
                <c:pt idx="1995">
                  <c:v>282.64999999999998</c:v>
                </c:pt>
                <c:pt idx="1996">
                  <c:v>284.67</c:v>
                </c:pt>
                <c:pt idx="1997">
                  <c:v>290.39999999999992</c:v>
                </c:pt>
                <c:pt idx="1998">
                  <c:v>288.51</c:v>
                </c:pt>
                <c:pt idx="1999">
                  <c:v>286.17</c:v>
                </c:pt>
                <c:pt idx="2000">
                  <c:v>294.06</c:v>
                </c:pt>
                <c:pt idx="2001">
                  <c:v>293.33999999999992</c:v>
                </c:pt>
                <c:pt idx="2002">
                  <c:v>296.75</c:v>
                </c:pt>
                <c:pt idx="2003">
                  <c:v>296.47000000000003</c:v>
                </c:pt>
                <c:pt idx="2004">
                  <c:v>288.87</c:v>
                </c:pt>
                <c:pt idx="2005">
                  <c:v>293.10000000000002</c:v>
                </c:pt>
                <c:pt idx="2006">
                  <c:v>291.02</c:v>
                </c:pt>
                <c:pt idx="2007">
                  <c:v>294.89</c:v>
                </c:pt>
                <c:pt idx="2008">
                  <c:v>297.47999999999996</c:v>
                </c:pt>
                <c:pt idx="2009">
                  <c:v>296.64000000000004</c:v>
                </c:pt>
                <c:pt idx="2010">
                  <c:v>299.39999999999992</c:v>
                </c:pt>
                <c:pt idx="2011">
                  <c:v>291.06</c:v>
                </c:pt>
                <c:pt idx="2012">
                  <c:v>291.7</c:v>
                </c:pt>
                <c:pt idx="2013">
                  <c:v>285.69</c:v>
                </c:pt>
                <c:pt idx="2014">
                  <c:v>286.07</c:v>
                </c:pt>
                <c:pt idx="2015">
                  <c:v>284.42999999999995</c:v>
                </c:pt>
                <c:pt idx="2016">
                  <c:v>284.17</c:v>
                </c:pt>
                <c:pt idx="2017">
                  <c:v>287.02</c:v>
                </c:pt>
                <c:pt idx="2018">
                  <c:v>285.56</c:v>
                </c:pt>
                <c:pt idx="2019">
                  <c:v>284.42999999999995</c:v>
                </c:pt>
                <c:pt idx="2020">
                  <c:v>285.44</c:v>
                </c:pt>
                <c:pt idx="2021">
                  <c:v>282.60000000000002</c:v>
                </c:pt>
                <c:pt idx="2022">
                  <c:v>280.08</c:v>
                </c:pt>
                <c:pt idx="2023">
                  <c:v>271.91999999999996</c:v>
                </c:pt>
                <c:pt idx="2024">
                  <c:v>267.42999999999995</c:v>
                </c:pt>
                <c:pt idx="2025">
                  <c:v>268.88</c:v>
                </c:pt>
                <c:pt idx="2026">
                  <c:v>263.78999999999996</c:v>
                </c:pt>
                <c:pt idx="2027">
                  <c:v>259.27999999999992</c:v>
                </c:pt>
                <c:pt idx="2028">
                  <c:v>260.83999999999992</c:v>
                </c:pt>
                <c:pt idx="2029">
                  <c:v>263.48999999999995</c:v>
                </c:pt>
                <c:pt idx="2030">
                  <c:v>255.41</c:v>
                </c:pt>
                <c:pt idx="2031">
                  <c:v>254.17</c:v>
                </c:pt>
                <c:pt idx="2032">
                  <c:v>255.19</c:v>
                </c:pt>
                <c:pt idx="2033">
                  <c:v>252.97</c:v>
                </c:pt>
                <c:pt idx="2034">
                  <c:v>240.64</c:v>
                </c:pt>
                <c:pt idx="2035">
                  <c:v>250.48000000000002</c:v>
                </c:pt>
                <c:pt idx="2036">
                  <c:v>246.53</c:v>
                </c:pt>
                <c:pt idx="2037">
                  <c:v>260.44</c:v>
                </c:pt>
                <c:pt idx="2038">
                  <c:v>260.37</c:v>
                </c:pt>
                <c:pt idx="2039">
                  <c:v>255.34</c:v>
                </c:pt>
                <c:pt idx="2040">
                  <c:v>261.95999999999992</c:v>
                </c:pt>
                <c:pt idx="2041">
                  <c:v>258.91000000000003</c:v>
                </c:pt>
                <c:pt idx="2042">
                  <c:v>256.70999999999992</c:v>
                </c:pt>
                <c:pt idx="2043">
                  <c:v>261.08999999999992</c:v>
                </c:pt>
                <c:pt idx="2044">
                  <c:v>264.39</c:v>
                </c:pt>
                <c:pt idx="2045">
                  <c:v>253.76999999999998</c:v>
                </c:pt>
                <c:pt idx="2046">
                  <c:v>253.57</c:v>
                </c:pt>
                <c:pt idx="2047">
                  <c:v>247.88000000000002</c:v>
                </c:pt>
                <c:pt idx="2048">
                  <c:v>249.51</c:v>
                </c:pt>
                <c:pt idx="2049">
                  <c:v>246.34</c:v>
                </c:pt>
                <c:pt idx="2050">
                  <c:v>254.03</c:v>
                </c:pt>
                <c:pt idx="2051">
                  <c:v>252.37</c:v>
                </c:pt>
                <c:pt idx="2052">
                  <c:v>253.28</c:v>
                </c:pt>
                <c:pt idx="2053">
                  <c:v>247.57</c:v>
                </c:pt>
                <c:pt idx="2054">
                  <c:v>253.17</c:v>
                </c:pt>
                <c:pt idx="2055">
                  <c:v>253.60999999999999</c:v>
                </c:pt>
                <c:pt idx="2056">
                  <c:v>252.31</c:v>
                </c:pt>
                <c:pt idx="2057">
                  <c:v>255.26999999999998</c:v>
                </c:pt>
                <c:pt idx="2058">
                  <c:v>253.23</c:v>
                </c:pt>
                <c:pt idx="2059">
                  <c:v>259.66000000000008</c:v>
                </c:pt>
                <c:pt idx="2060">
                  <c:v>265.13</c:v>
                </c:pt>
                <c:pt idx="2061">
                  <c:v>264.20999999999992</c:v>
                </c:pt>
                <c:pt idx="2062">
                  <c:v>259.42999999999995</c:v>
                </c:pt>
                <c:pt idx="2063">
                  <c:v>255.49</c:v>
                </c:pt>
                <c:pt idx="2064">
                  <c:v>250.53</c:v>
                </c:pt>
                <c:pt idx="2065">
                  <c:v>248.23</c:v>
                </c:pt>
                <c:pt idx="2066">
                  <c:v>254.20999999999998</c:v>
                </c:pt>
                <c:pt idx="2067">
                  <c:v>249.54</c:v>
                </c:pt>
                <c:pt idx="2068">
                  <c:v>247.64</c:v>
                </c:pt>
                <c:pt idx="2069">
                  <c:v>244.20999999999998</c:v>
                </c:pt>
                <c:pt idx="2070">
                  <c:v>248.41</c:v>
                </c:pt>
                <c:pt idx="2071">
                  <c:v>253.48000000000002</c:v>
                </c:pt>
                <c:pt idx="2072">
                  <c:v>248.32000000000002</c:v>
                </c:pt>
                <c:pt idx="2073">
                  <c:v>245.65</c:v>
                </c:pt>
                <c:pt idx="2074">
                  <c:v>231.94</c:v>
                </c:pt>
                <c:pt idx="2075">
                  <c:v>242.36</c:v>
                </c:pt>
                <c:pt idx="2076">
                  <c:v>241.04</c:v>
                </c:pt>
                <c:pt idx="2077">
                  <c:v>241.96</c:v>
                </c:pt>
                <c:pt idx="2078">
                  <c:v>253.16</c:v>
                </c:pt>
                <c:pt idx="2079">
                  <c:v>252.42000000000002</c:v>
                </c:pt>
                <c:pt idx="2080">
                  <c:v>257.05</c:v>
                </c:pt>
                <c:pt idx="2081">
                  <c:v>257.13</c:v>
                </c:pt>
                <c:pt idx="2082">
                  <c:v>256.98999999999995</c:v>
                </c:pt>
                <c:pt idx="2083">
                  <c:v>265.82</c:v>
                </c:pt>
                <c:pt idx="2084">
                  <c:v>270.39</c:v>
                </c:pt>
                <c:pt idx="2085">
                  <c:v>266.10000000000002</c:v>
                </c:pt>
                <c:pt idx="2086">
                  <c:v>265.92999999999995</c:v>
                </c:pt>
                <c:pt idx="2087">
                  <c:v>269.69</c:v>
                </c:pt>
                <c:pt idx="2088">
                  <c:v>266.10000000000002</c:v>
                </c:pt>
                <c:pt idx="2089">
                  <c:v>264.92999999999995</c:v>
                </c:pt>
                <c:pt idx="2090">
                  <c:v>262.61</c:v>
                </c:pt>
                <c:pt idx="2091">
                  <c:v>260.57</c:v>
                </c:pt>
                <c:pt idx="2092">
                  <c:v>257.58</c:v>
                </c:pt>
                <c:pt idx="2093">
                  <c:v>257.32</c:v>
                </c:pt>
                <c:pt idx="2094">
                  <c:v>263.52</c:v>
                </c:pt>
                <c:pt idx="2095">
                  <c:v>262.08</c:v>
                </c:pt>
                <c:pt idx="2096">
                  <c:v>268.16000000000008</c:v>
                </c:pt>
                <c:pt idx="2097">
                  <c:v>265.62</c:v>
                </c:pt>
                <c:pt idx="2098">
                  <c:v>264.57</c:v>
                </c:pt>
                <c:pt idx="2099">
                  <c:v>264.77</c:v>
                </c:pt>
                <c:pt idx="2100">
                  <c:v>261.91999999999996</c:v>
                </c:pt>
                <c:pt idx="2101">
                  <c:v>266.02</c:v>
                </c:pt>
                <c:pt idx="2102">
                  <c:v>268.37</c:v>
                </c:pt>
                <c:pt idx="2103">
                  <c:v>265.74</c:v>
                </c:pt>
                <c:pt idx="2104">
                  <c:v>267.22999999999996</c:v>
                </c:pt>
                <c:pt idx="2105">
                  <c:v>266.94</c:v>
                </c:pt>
                <c:pt idx="2106">
                  <c:v>274.57</c:v>
                </c:pt>
                <c:pt idx="2107">
                  <c:v>274.44</c:v>
                </c:pt>
                <c:pt idx="2108">
                  <c:v>273.01</c:v>
                </c:pt>
                <c:pt idx="2109">
                  <c:v>276.2</c:v>
                </c:pt>
                <c:pt idx="2110">
                  <c:v>276.39</c:v>
                </c:pt>
                <c:pt idx="2111">
                  <c:v>272.25</c:v>
                </c:pt>
                <c:pt idx="2112">
                  <c:v>273.41999999999996</c:v>
                </c:pt>
                <c:pt idx="2113">
                  <c:v>273.67</c:v>
                </c:pt>
                <c:pt idx="2114">
                  <c:v>275.17</c:v>
                </c:pt>
                <c:pt idx="2115">
                  <c:v>276.38</c:v>
                </c:pt>
                <c:pt idx="2116">
                  <c:v>276.45</c:v>
                </c:pt>
                <c:pt idx="2117">
                  <c:v>277.47999999999996</c:v>
                </c:pt>
                <c:pt idx="2118">
                  <c:v>271.47000000000003</c:v>
                </c:pt>
                <c:pt idx="2119">
                  <c:v>268.45</c:v>
                </c:pt>
                <c:pt idx="2120">
                  <c:v>270.17</c:v>
                </c:pt>
                <c:pt idx="2121">
                  <c:v>265.86</c:v>
                </c:pt>
                <c:pt idx="2122">
                  <c:v>264.91999999999996</c:v>
                </c:pt>
                <c:pt idx="2123">
                  <c:v>263.61</c:v>
                </c:pt>
                <c:pt idx="2124">
                  <c:v>265.86</c:v>
                </c:pt>
                <c:pt idx="2125">
                  <c:v>264.76</c:v>
                </c:pt>
                <c:pt idx="2126">
                  <c:v>266.72000000000003</c:v>
                </c:pt>
                <c:pt idx="2127">
                  <c:v>263.56</c:v>
                </c:pt>
                <c:pt idx="2128">
                  <c:v>264.33999999999992</c:v>
                </c:pt>
                <c:pt idx="2129">
                  <c:v>261.28999999999996</c:v>
                </c:pt>
                <c:pt idx="2130">
                  <c:v>259.95</c:v>
                </c:pt>
                <c:pt idx="2131">
                  <c:v>255.48000000000002</c:v>
                </c:pt>
                <c:pt idx="2132">
                  <c:v>251.49</c:v>
                </c:pt>
                <c:pt idx="2133">
                  <c:v>248.35000000000002</c:v>
                </c:pt>
                <c:pt idx="2134">
                  <c:v>242.85000000000002</c:v>
                </c:pt>
                <c:pt idx="2135">
                  <c:v>245.64</c:v>
                </c:pt>
                <c:pt idx="2136">
                  <c:v>248.46</c:v>
                </c:pt>
                <c:pt idx="2137">
                  <c:v>248.26999999999998</c:v>
                </c:pt>
                <c:pt idx="2138">
                  <c:v>248.96</c:v>
                </c:pt>
                <c:pt idx="2139">
                  <c:v>243.48000000000002</c:v>
                </c:pt>
                <c:pt idx="2140">
                  <c:v>240.46</c:v>
                </c:pt>
                <c:pt idx="2141">
                  <c:v>237.1</c:v>
                </c:pt>
                <c:pt idx="2142">
                  <c:v>235.86</c:v>
                </c:pt>
                <c:pt idx="2143">
                  <c:v>233.44</c:v>
                </c:pt>
                <c:pt idx="2144">
                  <c:v>238.3</c:v>
                </c:pt>
                <c:pt idx="2145">
                  <c:v>231.03</c:v>
                </c:pt>
                <c:pt idx="2146">
                  <c:v>231.2</c:v>
                </c:pt>
                <c:pt idx="2147">
                  <c:v>231.94</c:v>
                </c:pt>
                <c:pt idx="2148">
                  <c:v>226.75</c:v>
                </c:pt>
                <c:pt idx="2149">
                  <c:v>224.38000000000002</c:v>
                </c:pt>
                <c:pt idx="2150">
                  <c:v>225.76999999999998</c:v>
                </c:pt>
                <c:pt idx="2151">
                  <c:v>221.41</c:v>
                </c:pt>
                <c:pt idx="2152">
                  <c:v>223.28</c:v>
                </c:pt>
                <c:pt idx="2153">
                  <c:v>221.87</c:v>
                </c:pt>
                <c:pt idx="2154">
                  <c:v>227.44</c:v>
                </c:pt>
                <c:pt idx="2155">
                  <c:v>222.5</c:v>
                </c:pt>
                <c:pt idx="2156">
                  <c:v>214.76999999999998</c:v>
                </c:pt>
                <c:pt idx="2157">
                  <c:v>220.49</c:v>
                </c:pt>
                <c:pt idx="2158">
                  <c:v>213.05</c:v>
                </c:pt>
                <c:pt idx="2159">
                  <c:v>219.14</c:v>
                </c:pt>
                <c:pt idx="2160">
                  <c:v>226.57</c:v>
                </c:pt>
                <c:pt idx="2161">
                  <c:v>232.64</c:v>
                </c:pt>
                <c:pt idx="2162">
                  <c:v>234.20999999999998</c:v>
                </c:pt>
                <c:pt idx="2163">
                  <c:v>232.49</c:v>
                </c:pt>
                <c:pt idx="2164">
                  <c:v>240.53</c:v>
                </c:pt>
                <c:pt idx="2165">
                  <c:v>234.45000000000002</c:v>
                </c:pt>
                <c:pt idx="2166">
                  <c:v>234.17</c:v>
                </c:pt>
                <c:pt idx="2167">
                  <c:v>230.22</c:v>
                </c:pt>
                <c:pt idx="2168">
                  <c:v>233.32000000000002</c:v>
                </c:pt>
                <c:pt idx="2169">
                  <c:v>237.65</c:v>
                </c:pt>
                <c:pt idx="2170">
                  <c:v>234.58</c:v>
                </c:pt>
                <c:pt idx="2171">
                  <c:v>233.4</c:v>
                </c:pt>
                <c:pt idx="2172">
                  <c:v>231.4</c:v>
                </c:pt>
                <c:pt idx="2173">
                  <c:v>240.3</c:v>
                </c:pt>
                <c:pt idx="2174">
                  <c:v>242</c:v>
                </c:pt>
                <c:pt idx="2175">
                  <c:v>240.18</c:v>
                </c:pt>
                <c:pt idx="2176">
                  <c:v>245.89000000000001</c:v>
                </c:pt>
                <c:pt idx="2177">
                  <c:v>251.36</c:v>
                </c:pt>
                <c:pt idx="2178">
                  <c:v>251.15</c:v>
                </c:pt>
                <c:pt idx="2179">
                  <c:v>241.58</c:v>
                </c:pt>
                <c:pt idx="2180">
                  <c:v>241.03</c:v>
                </c:pt>
                <c:pt idx="2181">
                  <c:v>244.41</c:v>
                </c:pt>
                <c:pt idx="2182">
                  <c:v>243.22</c:v>
                </c:pt>
                <c:pt idx="2183">
                  <c:v>236.26</c:v>
                </c:pt>
                <c:pt idx="2184">
                  <c:v>237.01</c:v>
                </c:pt>
                <c:pt idx="2185">
                  <c:v>233.76999999999998</c:v>
                </c:pt>
                <c:pt idx="2186">
                  <c:v>239.36</c:v>
                </c:pt>
                <c:pt idx="2187">
                  <c:v>238.70999999999998</c:v>
                </c:pt>
                <c:pt idx="2188">
                  <c:v>238.34</c:v>
                </c:pt>
                <c:pt idx="2189">
                  <c:v>237.92000000000002</c:v>
                </c:pt>
                <c:pt idx="2190">
                  <c:v>242.65</c:v>
                </c:pt>
                <c:pt idx="2191">
                  <c:v>243.04</c:v>
                </c:pt>
                <c:pt idx="2192">
                  <c:v>243.12</c:v>
                </c:pt>
                <c:pt idx="2193">
                  <c:v>248.22</c:v>
                </c:pt>
                <c:pt idx="2194">
                  <c:v>245.4</c:v>
                </c:pt>
                <c:pt idx="2195">
                  <c:v>238.99</c:v>
                </c:pt>
                <c:pt idx="2196">
                  <c:v>234.57</c:v>
                </c:pt>
                <c:pt idx="2197">
                  <c:v>244.52</c:v>
                </c:pt>
                <c:pt idx="2198">
                  <c:v>244.83</c:v>
                </c:pt>
                <c:pt idx="2199">
                  <c:v>240.60999999999999</c:v>
                </c:pt>
                <c:pt idx="2200">
                  <c:v>237.88000000000002</c:v>
                </c:pt>
                <c:pt idx="2201">
                  <c:v>240.97</c:v>
                </c:pt>
                <c:pt idx="2202">
                  <c:v>233.94</c:v>
                </c:pt>
                <c:pt idx="2203">
                  <c:v>229.49</c:v>
                </c:pt>
                <c:pt idx="2204">
                  <c:v>225.35000000000002</c:v>
                </c:pt>
                <c:pt idx="2205">
                  <c:v>223.83</c:v>
                </c:pt>
                <c:pt idx="2206">
                  <c:v>243.41</c:v>
                </c:pt>
                <c:pt idx="2207">
                  <c:v>237.46</c:v>
                </c:pt>
                <c:pt idx="2208">
                  <c:v>232.31</c:v>
                </c:pt>
                <c:pt idx="2209">
                  <c:v>231.26999999999998</c:v>
                </c:pt>
                <c:pt idx="2210">
                  <c:v>235.72</c:v>
                </c:pt>
                <c:pt idx="2211">
                  <c:v>231.98000000000002</c:v>
                </c:pt>
                <c:pt idx="2212">
                  <c:v>221.48000000000002</c:v>
                </c:pt>
                <c:pt idx="2213">
                  <c:v>225.88000000000002</c:v>
                </c:pt>
                <c:pt idx="2214">
                  <c:v>226.02</c:v>
                </c:pt>
                <c:pt idx="2215">
                  <c:v>226.23</c:v>
                </c:pt>
                <c:pt idx="2216">
                  <c:v>231.15</c:v>
                </c:pt>
                <c:pt idx="2217">
                  <c:v>217.72</c:v>
                </c:pt>
                <c:pt idx="2218">
                  <c:v>220.22</c:v>
                </c:pt>
                <c:pt idx="2219">
                  <c:v>209.26999999999998</c:v>
                </c:pt>
                <c:pt idx="2220">
                  <c:v>204.81</c:v>
                </c:pt>
                <c:pt idx="2221">
                  <c:v>192.81</c:v>
                </c:pt>
                <c:pt idx="2222">
                  <c:v>209.3</c:v>
                </c:pt>
                <c:pt idx="2223">
                  <c:v>215.4</c:v>
                </c:pt>
                <c:pt idx="2224">
                  <c:v>204.1</c:v>
                </c:pt>
                <c:pt idx="2225">
                  <c:v>195.55</c:v>
                </c:pt>
                <c:pt idx="2226">
                  <c:v>199.89000000000001</c:v>
                </c:pt>
                <c:pt idx="2227">
                  <c:v>206.23</c:v>
                </c:pt>
                <c:pt idx="2228">
                  <c:v>203</c:v>
                </c:pt>
                <c:pt idx="2229">
                  <c:v>193.46</c:v>
                </c:pt>
                <c:pt idx="2230">
                  <c:v>194.17</c:v>
                </c:pt>
                <c:pt idx="2231">
                  <c:v>186.08</c:v>
                </c:pt>
                <c:pt idx="2232">
                  <c:v>184.23999999999998</c:v>
                </c:pt>
                <c:pt idx="2233">
                  <c:v>186.25</c:v>
                </c:pt>
                <c:pt idx="2234">
                  <c:v>199.44</c:v>
                </c:pt>
                <c:pt idx="2235">
                  <c:v>202.94</c:v>
                </c:pt>
                <c:pt idx="2236">
                  <c:v>204.73</c:v>
                </c:pt>
                <c:pt idx="2237">
                  <c:v>206.22</c:v>
                </c:pt>
                <c:pt idx="2238">
                  <c:v>214.5</c:v>
                </c:pt>
                <c:pt idx="2239">
                  <c:v>212.5</c:v>
                </c:pt>
                <c:pt idx="2240">
                  <c:v>204.62</c:v>
                </c:pt>
                <c:pt idx="2241">
                  <c:v>208.37</c:v>
                </c:pt>
                <c:pt idx="2242">
                  <c:v>208.69</c:v>
                </c:pt>
                <c:pt idx="2243">
                  <c:v>203.03</c:v>
                </c:pt>
                <c:pt idx="2244">
                  <c:v>197.18</c:v>
                </c:pt>
                <c:pt idx="2245">
                  <c:v>194.75</c:v>
                </c:pt>
                <c:pt idx="2246">
                  <c:v>194.85000000000002</c:v>
                </c:pt>
                <c:pt idx="2247">
                  <c:v>190.73</c:v>
                </c:pt>
                <c:pt idx="2248">
                  <c:v>193.70999999999998</c:v>
                </c:pt>
                <c:pt idx="2249">
                  <c:v>189.22</c:v>
                </c:pt>
                <c:pt idx="2250">
                  <c:v>184.56</c:v>
                </c:pt>
                <c:pt idx="2251">
                  <c:v>182.12</c:v>
                </c:pt>
                <c:pt idx="2252">
                  <c:v>193.49</c:v>
                </c:pt>
                <c:pt idx="2253">
                  <c:v>193.87</c:v>
                </c:pt>
                <c:pt idx="2254">
                  <c:v>194.29</c:v>
                </c:pt>
                <c:pt idx="2255">
                  <c:v>198.63</c:v>
                </c:pt>
                <c:pt idx="2256">
                  <c:v>201.62</c:v>
                </c:pt>
                <c:pt idx="2257">
                  <c:v>190.10999999999999</c:v>
                </c:pt>
                <c:pt idx="2258">
                  <c:v>192.73999999999998</c:v>
                </c:pt>
                <c:pt idx="2259">
                  <c:v>193.47</c:v>
                </c:pt>
                <c:pt idx="2260">
                  <c:v>191.7</c:v>
                </c:pt>
                <c:pt idx="2261">
                  <c:v>186.66</c:v>
                </c:pt>
                <c:pt idx="2262">
                  <c:v>196.41</c:v>
                </c:pt>
                <c:pt idx="2263">
                  <c:v>200.98000000000002</c:v>
                </c:pt>
                <c:pt idx="2264">
                  <c:v>200.08</c:v>
                </c:pt>
                <c:pt idx="2265">
                  <c:v>198.63</c:v>
                </c:pt>
                <c:pt idx="2266">
                  <c:v>193.45000000000002</c:v>
                </c:pt>
                <c:pt idx="2267">
                  <c:v>193.54</c:v>
                </c:pt>
                <c:pt idx="2268">
                  <c:v>193.96</c:v>
                </c:pt>
                <c:pt idx="2269">
                  <c:v>191.86</c:v>
                </c:pt>
                <c:pt idx="2270">
                  <c:v>192.17</c:v>
                </c:pt>
                <c:pt idx="2271">
                  <c:v>192.76</c:v>
                </c:pt>
                <c:pt idx="2272">
                  <c:v>189.6</c:v>
                </c:pt>
                <c:pt idx="2273">
                  <c:v>189.52</c:v>
                </c:pt>
                <c:pt idx="2274">
                  <c:v>188.78</c:v>
                </c:pt>
                <c:pt idx="2275">
                  <c:v>189.81</c:v>
                </c:pt>
                <c:pt idx="2276">
                  <c:v>192.23999999999998</c:v>
                </c:pt>
                <c:pt idx="2277">
                  <c:v>194.07</c:v>
                </c:pt>
                <c:pt idx="2278">
                  <c:v>201.9</c:v>
                </c:pt>
                <c:pt idx="2279">
                  <c:v>206.82000000000002</c:v>
                </c:pt>
                <c:pt idx="2280">
                  <c:v>213.82000000000002</c:v>
                </c:pt>
                <c:pt idx="2281">
                  <c:v>210.29</c:v>
                </c:pt>
                <c:pt idx="2282">
                  <c:v>207.47</c:v>
                </c:pt>
                <c:pt idx="2283">
                  <c:v>207.73999999999998</c:v>
                </c:pt>
                <c:pt idx="2284">
                  <c:v>204.34</c:v>
                </c:pt>
                <c:pt idx="2285">
                  <c:v>200.23999999999998</c:v>
                </c:pt>
                <c:pt idx="2286">
                  <c:v>192.38000000000002</c:v>
                </c:pt>
                <c:pt idx="2287">
                  <c:v>191.41</c:v>
                </c:pt>
                <c:pt idx="2288">
                  <c:v>192.52</c:v>
                </c:pt>
                <c:pt idx="2289">
                  <c:v>191.14</c:v>
                </c:pt>
                <c:pt idx="2290">
                  <c:v>186.59</c:v>
                </c:pt>
                <c:pt idx="2291">
                  <c:v>186.35000000000002</c:v>
                </c:pt>
                <c:pt idx="2292">
                  <c:v>184.51</c:v>
                </c:pt>
                <c:pt idx="2293">
                  <c:v>184.6</c:v>
                </c:pt>
                <c:pt idx="2294">
                  <c:v>188.48000000000002</c:v>
                </c:pt>
                <c:pt idx="2295">
                  <c:v>190.43</c:v>
                </c:pt>
                <c:pt idx="2296">
                  <c:v>196.54</c:v>
                </c:pt>
                <c:pt idx="2297">
                  <c:v>193.72</c:v>
                </c:pt>
                <c:pt idx="2298">
                  <c:v>194.56</c:v>
                </c:pt>
                <c:pt idx="2299">
                  <c:v>187.81</c:v>
                </c:pt>
                <c:pt idx="2300">
                  <c:v>191.23999999999998</c:v>
                </c:pt>
                <c:pt idx="2301">
                  <c:v>198.14</c:v>
                </c:pt>
                <c:pt idx="2302">
                  <c:v>199.91</c:v>
                </c:pt>
                <c:pt idx="2303">
                  <c:v>204.72</c:v>
                </c:pt>
                <c:pt idx="2304">
                  <c:v>206.86</c:v>
                </c:pt>
                <c:pt idx="2305">
                  <c:v>199.64</c:v>
                </c:pt>
                <c:pt idx="2306">
                  <c:v>198.54</c:v>
                </c:pt>
                <c:pt idx="2307">
                  <c:v>194.95000000000002</c:v>
                </c:pt>
                <c:pt idx="2308">
                  <c:v>194.79</c:v>
                </c:pt>
                <c:pt idx="2309">
                  <c:v>192.04</c:v>
                </c:pt>
                <c:pt idx="2310">
                  <c:v>188.55</c:v>
                </c:pt>
                <c:pt idx="2311">
                  <c:v>188.04</c:v>
                </c:pt>
                <c:pt idx="2312">
                  <c:v>187.64</c:v>
                </c:pt>
                <c:pt idx="2313">
                  <c:v>181.87</c:v>
                </c:pt>
                <c:pt idx="2314">
                  <c:v>179.95000000000002</c:v>
                </c:pt>
                <c:pt idx="2315">
                  <c:v>177.33</c:v>
                </c:pt>
                <c:pt idx="2316">
                  <c:v>176.46</c:v>
                </c:pt>
                <c:pt idx="2317">
                  <c:v>179.78</c:v>
                </c:pt>
                <c:pt idx="2318">
                  <c:v>176.84</c:v>
                </c:pt>
                <c:pt idx="2319">
                  <c:v>168.73999999999998</c:v>
                </c:pt>
                <c:pt idx="2320">
                  <c:v>166.94</c:v>
                </c:pt>
                <c:pt idx="2321">
                  <c:v>175.01</c:v>
                </c:pt>
                <c:pt idx="2322">
                  <c:v>170.1</c:v>
                </c:pt>
                <c:pt idx="2323">
                  <c:v>167.84</c:v>
                </c:pt>
                <c:pt idx="2324">
                  <c:v>165.84</c:v>
                </c:pt>
                <c:pt idx="2325">
                  <c:v>172.75</c:v>
                </c:pt>
                <c:pt idx="2326">
                  <c:v>172.76</c:v>
                </c:pt>
                <c:pt idx="2327">
                  <c:v>173.65</c:v>
                </c:pt>
                <c:pt idx="2328">
                  <c:v>175.75</c:v>
                </c:pt>
                <c:pt idx="2329">
                  <c:v>179.31</c:v>
                </c:pt>
                <c:pt idx="2330">
                  <c:v>177.45000000000002</c:v>
                </c:pt>
                <c:pt idx="2331">
                  <c:v>175.52</c:v>
                </c:pt>
                <c:pt idx="2332">
                  <c:v>175.47</c:v>
                </c:pt>
                <c:pt idx="2333">
                  <c:v>176.85000000000002</c:v>
                </c:pt>
                <c:pt idx="2334">
                  <c:v>182.79</c:v>
                </c:pt>
                <c:pt idx="2335">
                  <c:v>182.23999999999998</c:v>
                </c:pt>
                <c:pt idx="2336">
                  <c:v>183.87</c:v>
                </c:pt>
                <c:pt idx="2337">
                  <c:v>183.73999999999998</c:v>
                </c:pt>
                <c:pt idx="2338">
                  <c:v>180.41</c:v>
                </c:pt>
                <c:pt idx="2339">
                  <c:v>171.73</c:v>
                </c:pt>
                <c:pt idx="2340">
                  <c:v>178.1</c:v>
                </c:pt>
                <c:pt idx="2341">
                  <c:v>182.35000000000002</c:v>
                </c:pt>
                <c:pt idx="2342">
                  <c:v>192.58</c:v>
                </c:pt>
                <c:pt idx="2343">
                  <c:v>194.85000000000002</c:v>
                </c:pt>
                <c:pt idx="2344">
                  <c:v>193.13</c:v>
                </c:pt>
                <c:pt idx="2345">
                  <c:v>190.73999999999998</c:v>
                </c:pt>
                <c:pt idx="2346">
                  <c:v>192.05</c:v>
                </c:pt>
                <c:pt idx="2347">
                  <c:v>196.88000000000002</c:v>
                </c:pt>
                <c:pt idx="2348">
                  <c:v>201.9</c:v>
                </c:pt>
                <c:pt idx="2349">
                  <c:v>200.47</c:v>
                </c:pt>
                <c:pt idx="2350">
                  <c:v>204.66</c:v>
                </c:pt>
                <c:pt idx="2351">
                  <c:v>208.98000000000002</c:v>
                </c:pt>
                <c:pt idx="2352">
                  <c:v>199.05</c:v>
                </c:pt>
                <c:pt idx="2353">
                  <c:v>199.78</c:v>
                </c:pt>
                <c:pt idx="2354">
                  <c:v>204.39000000000001</c:v>
                </c:pt>
                <c:pt idx="2355">
                  <c:v>204.51</c:v>
                </c:pt>
                <c:pt idx="2356">
                  <c:v>210.59</c:v>
                </c:pt>
                <c:pt idx="2357">
                  <c:v>211.84</c:v>
                </c:pt>
                <c:pt idx="2358">
                  <c:v>206.67</c:v>
                </c:pt>
                <c:pt idx="2359">
                  <c:v>210.89000000000001</c:v>
                </c:pt>
                <c:pt idx="2360">
                  <c:v>215.14</c:v>
                </c:pt>
                <c:pt idx="2361">
                  <c:v>215.07</c:v>
                </c:pt>
                <c:pt idx="2362">
                  <c:v>222.86</c:v>
                </c:pt>
                <c:pt idx="2363">
                  <c:v>225.02</c:v>
                </c:pt>
                <c:pt idx="2364">
                  <c:v>228.53</c:v>
                </c:pt>
                <c:pt idx="2365">
                  <c:v>226.1</c:v>
                </c:pt>
                <c:pt idx="2366">
                  <c:v>230.87</c:v>
                </c:pt>
                <c:pt idx="2367">
                  <c:v>225.47</c:v>
                </c:pt>
                <c:pt idx="2368">
                  <c:v>223.41</c:v>
                </c:pt>
                <c:pt idx="2369">
                  <c:v>214.88000000000002</c:v>
                </c:pt>
                <c:pt idx="2370">
                  <c:v>216.72</c:v>
                </c:pt>
                <c:pt idx="2371">
                  <c:v>219.06</c:v>
                </c:pt>
                <c:pt idx="2372">
                  <c:v>223.16</c:v>
                </c:pt>
                <c:pt idx="2373">
                  <c:v>228.33</c:v>
                </c:pt>
                <c:pt idx="2374">
                  <c:v>229.17</c:v>
                </c:pt>
                <c:pt idx="2375">
                  <c:v>223.97</c:v>
                </c:pt>
                <c:pt idx="2376">
                  <c:v>223.01</c:v>
                </c:pt>
                <c:pt idx="2377">
                  <c:v>222.45000000000002</c:v>
                </c:pt>
                <c:pt idx="2378">
                  <c:v>223.20999999999998</c:v>
                </c:pt>
                <c:pt idx="2379">
                  <c:v>225.26999999999998</c:v>
                </c:pt>
                <c:pt idx="2380">
                  <c:v>221.51</c:v>
                </c:pt>
                <c:pt idx="2381">
                  <c:v>220.22</c:v>
                </c:pt>
                <c:pt idx="2382">
                  <c:v>230.15</c:v>
                </c:pt>
                <c:pt idx="2383">
                  <c:v>230.76</c:v>
                </c:pt>
                <c:pt idx="2384">
                  <c:v>225.3</c:v>
                </c:pt>
                <c:pt idx="2385">
                  <c:v>223.73999999999998</c:v>
                </c:pt>
                <c:pt idx="2386">
                  <c:v>224.58</c:v>
                </c:pt>
                <c:pt idx="2387">
                  <c:v>221.39000000000001</c:v>
                </c:pt>
                <c:pt idx="2388">
                  <c:v>221.9</c:v>
                </c:pt>
                <c:pt idx="2389">
                  <c:v>224.88000000000002</c:v>
                </c:pt>
                <c:pt idx="2390">
                  <c:v>227.3</c:v>
                </c:pt>
                <c:pt idx="2391">
                  <c:v>225.76999999999998</c:v>
                </c:pt>
                <c:pt idx="2392">
                  <c:v>219.10999999999999</c:v>
                </c:pt>
                <c:pt idx="2393">
                  <c:v>218.8</c:v>
                </c:pt>
                <c:pt idx="2394">
                  <c:v>212.37</c:v>
                </c:pt>
                <c:pt idx="2395">
                  <c:v>212.97</c:v>
                </c:pt>
                <c:pt idx="2396">
                  <c:v>215.20999999999998</c:v>
                </c:pt>
                <c:pt idx="2397">
                  <c:v>210.09</c:v>
                </c:pt>
                <c:pt idx="2398">
                  <c:v>208.67</c:v>
                </c:pt>
                <c:pt idx="2399">
                  <c:v>213.2</c:v>
                </c:pt>
                <c:pt idx="2400">
                  <c:v>213.95000000000002</c:v>
                </c:pt>
                <c:pt idx="2401">
                  <c:v>215.45000000000002</c:v>
                </c:pt>
                <c:pt idx="2402">
                  <c:v>219.62</c:v>
                </c:pt>
                <c:pt idx="2403">
                  <c:v>216.9</c:v>
                </c:pt>
                <c:pt idx="2404">
                  <c:v>217.84</c:v>
                </c:pt>
                <c:pt idx="2405">
                  <c:v>213.94</c:v>
                </c:pt>
                <c:pt idx="2406">
                  <c:v>213.95000000000002</c:v>
                </c:pt>
                <c:pt idx="2407">
                  <c:v>211.76999999999998</c:v>
                </c:pt>
                <c:pt idx="2408">
                  <c:v>209.23999999999998</c:v>
                </c:pt>
                <c:pt idx="2409">
                  <c:v>205.9</c:v>
                </c:pt>
                <c:pt idx="2410">
                  <c:v>206.63</c:v>
                </c:pt>
                <c:pt idx="2411">
                  <c:v>205.26999999999998</c:v>
                </c:pt>
                <c:pt idx="2412">
                  <c:v>209.33</c:v>
                </c:pt>
                <c:pt idx="2413">
                  <c:v>213.28</c:v>
                </c:pt>
                <c:pt idx="2414">
                  <c:v>216.98000000000002</c:v>
                </c:pt>
                <c:pt idx="2415">
                  <c:v>217.22</c:v>
                </c:pt>
                <c:pt idx="2416">
                  <c:v>216.98000000000002</c:v>
                </c:pt>
                <c:pt idx="2417">
                  <c:v>218.60999999999999</c:v>
                </c:pt>
                <c:pt idx="2418">
                  <c:v>220.17</c:v>
                </c:pt>
                <c:pt idx="2419">
                  <c:v>221.73</c:v>
                </c:pt>
                <c:pt idx="2420">
                  <c:v>224.51</c:v>
                </c:pt>
                <c:pt idx="2421">
                  <c:v>224.6</c:v>
                </c:pt>
                <c:pt idx="2422">
                  <c:v>224.8</c:v>
                </c:pt>
                <c:pt idx="2423">
                  <c:v>223.37</c:v>
                </c:pt>
                <c:pt idx="2424">
                  <c:v>226.03</c:v>
                </c:pt>
                <c:pt idx="2425">
                  <c:v>230.43</c:v>
                </c:pt>
                <c:pt idx="2426">
                  <c:v>230.06</c:v>
                </c:pt>
                <c:pt idx="2427">
                  <c:v>232.16</c:v>
                </c:pt>
                <c:pt idx="2428">
                  <c:v>233.97</c:v>
                </c:pt>
                <c:pt idx="2429">
                  <c:v>234.96</c:v>
                </c:pt>
                <c:pt idx="2430">
                  <c:v>236.56</c:v>
                </c:pt>
                <c:pt idx="2431">
                  <c:v>237</c:v>
                </c:pt>
                <c:pt idx="2432">
                  <c:v>237.67</c:v>
                </c:pt>
                <c:pt idx="2433">
                  <c:v>233.81</c:v>
                </c:pt>
                <c:pt idx="2434">
                  <c:v>236.64</c:v>
                </c:pt>
                <c:pt idx="2435">
                  <c:v>239.5</c:v>
                </c:pt>
                <c:pt idx="2436">
                  <c:v>239.81</c:v>
                </c:pt>
                <c:pt idx="2437">
                  <c:v>234.88000000000002</c:v>
                </c:pt>
                <c:pt idx="2438">
                  <c:v>238.60999999999999</c:v>
                </c:pt>
                <c:pt idx="2439">
                  <c:v>237.57</c:v>
                </c:pt>
                <c:pt idx="2440">
                  <c:v>240.75</c:v>
                </c:pt>
                <c:pt idx="2441">
                  <c:v>245.18</c:v>
                </c:pt>
                <c:pt idx="2442">
                  <c:v>248.85000000000002</c:v>
                </c:pt>
                <c:pt idx="2443">
                  <c:v>250.04</c:v>
                </c:pt>
                <c:pt idx="2444">
                  <c:v>248.17</c:v>
                </c:pt>
                <c:pt idx="2445">
                  <c:v>246.76</c:v>
                </c:pt>
                <c:pt idx="2446">
                  <c:v>248.22</c:v>
                </c:pt>
                <c:pt idx="2447">
                  <c:v>247.46</c:v>
                </c:pt>
                <c:pt idx="2448">
                  <c:v>242.47</c:v>
                </c:pt>
                <c:pt idx="2449">
                  <c:v>240.01</c:v>
                </c:pt>
                <c:pt idx="2450">
                  <c:v>241.95000000000002</c:v>
                </c:pt>
                <c:pt idx="2451">
                  <c:v>245.33</c:v>
                </c:pt>
                <c:pt idx="2452">
                  <c:v>249.98000000000002</c:v>
                </c:pt>
                <c:pt idx="2453">
                  <c:v>250.09</c:v>
                </c:pt>
                <c:pt idx="2454">
                  <c:v>251.43</c:v>
                </c:pt>
                <c:pt idx="2455">
                  <c:v>252.70999999999998</c:v>
                </c:pt>
                <c:pt idx="2456">
                  <c:v>255.29</c:v>
                </c:pt>
                <c:pt idx="2457">
                  <c:v>254.34</c:v>
                </c:pt>
                <c:pt idx="2458">
                  <c:v>254.58</c:v>
                </c:pt>
                <c:pt idx="2459">
                  <c:v>258.8</c:v>
                </c:pt>
                <c:pt idx="2460">
                  <c:v>259.64999999999998</c:v>
                </c:pt>
                <c:pt idx="2461">
                  <c:v>258.3</c:v>
                </c:pt>
                <c:pt idx="2462">
                  <c:v>256.87</c:v>
                </c:pt>
                <c:pt idx="2463">
                  <c:v>256.33</c:v>
                </c:pt>
                <c:pt idx="2464">
                  <c:v>257.27</c:v>
                </c:pt>
                <c:pt idx="2465">
                  <c:v>252.53</c:v>
                </c:pt>
                <c:pt idx="2466">
                  <c:v>251.13</c:v>
                </c:pt>
                <c:pt idx="2467">
                  <c:v>254.49</c:v>
                </c:pt>
                <c:pt idx="2468">
                  <c:v>255.69</c:v>
                </c:pt>
                <c:pt idx="2469">
                  <c:v>257.08</c:v>
                </c:pt>
                <c:pt idx="2470">
                  <c:v>254.46</c:v>
                </c:pt>
                <c:pt idx="2471">
                  <c:v>250.76999999999998</c:v>
                </c:pt>
                <c:pt idx="2472">
                  <c:v>252.97</c:v>
                </c:pt>
                <c:pt idx="2473">
                  <c:v>256.14999999999998</c:v>
                </c:pt>
                <c:pt idx="2474">
                  <c:v>256.05</c:v>
                </c:pt>
                <c:pt idx="2475">
                  <c:v>258.70999999999992</c:v>
                </c:pt>
                <c:pt idx="2476">
                  <c:v>257.47999999999996</c:v>
                </c:pt>
                <c:pt idx="2477">
                  <c:v>257.77999999999992</c:v>
                </c:pt>
                <c:pt idx="2478">
                  <c:v>256.33</c:v>
                </c:pt>
                <c:pt idx="2479">
                  <c:v>258.58999999999992</c:v>
                </c:pt>
                <c:pt idx="2480">
                  <c:v>260.88</c:v>
                </c:pt>
                <c:pt idx="2481">
                  <c:v>260.3</c:v>
                </c:pt>
                <c:pt idx="2482">
                  <c:v>263.39</c:v>
                </c:pt>
                <c:pt idx="2483">
                  <c:v>264.51</c:v>
                </c:pt>
                <c:pt idx="2484">
                  <c:v>265.74</c:v>
                </c:pt>
                <c:pt idx="2485">
                  <c:v>263.08</c:v>
                </c:pt>
                <c:pt idx="2486">
                  <c:v>259.74</c:v>
                </c:pt>
                <c:pt idx="2487">
                  <c:v>258.97999999999996</c:v>
                </c:pt>
                <c:pt idx="2488">
                  <c:v>260.54000000000002</c:v>
                </c:pt>
                <c:pt idx="2489">
                  <c:v>256.37</c:v>
                </c:pt>
                <c:pt idx="2490">
                  <c:v>259.17</c:v>
                </c:pt>
                <c:pt idx="2491">
                  <c:v>255.88000000000002</c:v>
                </c:pt>
                <c:pt idx="2492">
                  <c:v>255.3</c:v>
                </c:pt>
                <c:pt idx="2493">
                  <c:v>254.99</c:v>
                </c:pt>
                <c:pt idx="2494">
                  <c:v>259.18</c:v>
                </c:pt>
                <c:pt idx="2495">
                  <c:v>259.39999999999992</c:v>
                </c:pt>
                <c:pt idx="2496">
                  <c:v>260.54000000000002</c:v>
                </c:pt>
                <c:pt idx="2497">
                  <c:v>264.08999999999992</c:v>
                </c:pt>
                <c:pt idx="2498">
                  <c:v>264.07</c:v>
                </c:pt>
                <c:pt idx="2499">
                  <c:v>264.39999999999992</c:v>
                </c:pt>
                <c:pt idx="2500">
                  <c:v>265.83999999999992</c:v>
                </c:pt>
                <c:pt idx="2501">
                  <c:v>268.27999999999992</c:v>
                </c:pt>
                <c:pt idx="2502">
                  <c:v>270.67</c:v>
                </c:pt>
                <c:pt idx="2503">
                  <c:v>271.08</c:v>
                </c:pt>
                <c:pt idx="2504">
                  <c:v>270.06</c:v>
                </c:pt>
                <c:pt idx="2505">
                  <c:v>266.06</c:v>
                </c:pt>
                <c:pt idx="2506">
                  <c:v>264.28999999999996</c:v>
                </c:pt>
                <c:pt idx="2507">
                  <c:v>267.60000000000002</c:v>
                </c:pt>
                <c:pt idx="2508">
                  <c:v>266.58999999999992</c:v>
                </c:pt>
                <c:pt idx="2509">
                  <c:v>266.91000000000003</c:v>
                </c:pt>
                <c:pt idx="2510">
                  <c:v>260.35000000000002</c:v>
                </c:pt>
                <c:pt idx="2511">
                  <c:v>261.75</c:v>
                </c:pt>
                <c:pt idx="2512">
                  <c:v>258</c:v>
                </c:pt>
                <c:pt idx="2513">
                  <c:v>265.19</c:v>
                </c:pt>
                <c:pt idx="2514">
                  <c:v>266.83999999999992</c:v>
                </c:pt>
                <c:pt idx="2515">
                  <c:v>265.39</c:v>
                </c:pt>
                <c:pt idx="2516">
                  <c:v>269.39999999999992</c:v>
                </c:pt>
                <c:pt idx="2517">
                  <c:v>268.25</c:v>
                </c:pt>
                <c:pt idx="2518">
                  <c:v>264.89</c:v>
                </c:pt>
                <c:pt idx="2519">
                  <c:v>261.24</c:v>
                </c:pt>
                <c:pt idx="2520">
                  <c:v>264.28999999999996</c:v>
                </c:pt>
                <c:pt idx="2521">
                  <c:v>266.22000000000003</c:v>
                </c:pt>
                <c:pt idx="2522">
                  <c:v>268.41000000000003</c:v>
                </c:pt>
                <c:pt idx="2523">
                  <c:v>269.33999999999992</c:v>
                </c:pt>
                <c:pt idx="2524">
                  <c:v>272.20999999999992</c:v>
                </c:pt>
                <c:pt idx="2525">
                  <c:v>268.68</c:v>
                </c:pt>
                <c:pt idx="2526">
                  <c:v>267.97999999999996</c:v>
                </c:pt>
                <c:pt idx="2527">
                  <c:v>271.01</c:v>
                </c:pt>
                <c:pt idx="2528">
                  <c:v>272.82</c:v>
                </c:pt>
                <c:pt idx="2529">
                  <c:v>273.22000000000003</c:v>
                </c:pt>
                <c:pt idx="2530">
                  <c:v>272.8</c:v>
                </c:pt>
                <c:pt idx="2531">
                  <c:v>273.54000000000002</c:v>
                </c:pt>
                <c:pt idx="2532">
                  <c:v>275.07</c:v>
                </c:pt>
                <c:pt idx="2533">
                  <c:v>275.66000000000008</c:v>
                </c:pt>
                <c:pt idx="2534">
                  <c:v>276.8</c:v>
                </c:pt>
                <c:pt idx="2535">
                  <c:v>278.97000000000003</c:v>
                </c:pt>
                <c:pt idx="2536">
                  <c:v>278.7</c:v>
                </c:pt>
                <c:pt idx="2537">
                  <c:v>279.45999999999992</c:v>
                </c:pt>
                <c:pt idx="2538">
                  <c:v>278.57</c:v>
                </c:pt>
                <c:pt idx="2539">
                  <c:v>280.18</c:v>
                </c:pt>
                <c:pt idx="2540">
                  <c:v>280.56</c:v>
                </c:pt>
                <c:pt idx="2541">
                  <c:v>278.35000000000002</c:v>
                </c:pt>
                <c:pt idx="2542">
                  <c:v>280.18</c:v>
                </c:pt>
                <c:pt idx="2543">
                  <c:v>282.20999999999992</c:v>
                </c:pt>
                <c:pt idx="2544">
                  <c:v>281.27999999999992</c:v>
                </c:pt>
                <c:pt idx="2545">
                  <c:v>283.42999999999995</c:v>
                </c:pt>
                <c:pt idx="2546">
                  <c:v>288.07</c:v>
                </c:pt>
                <c:pt idx="2547">
                  <c:v>286.2</c:v>
                </c:pt>
                <c:pt idx="2548">
                  <c:v>283.5</c:v>
                </c:pt>
                <c:pt idx="2549">
                  <c:v>279.57</c:v>
                </c:pt>
                <c:pt idx="2550">
                  <c:v>280.35000000000002</c:v>
                </c:pt>
                <c:pt idx="2551">
                  <c:v>282.04000000000002</c:v>
                </c:pt>
                <c:pt idx="2552">
                  <c:v>281.52999999999992</c:v>
                </c:pt>
                <c:pt idx="2553">
                  <c:v>280.24</c:v>
                </c:pt>
                <c:pt idx="2554">
                  <c:v>280.95</c:v>
                </c:pt>
                <c:pt idx="2555">
                  <c:v>281.08999999999992</c:v>
                </c:pt>
                <c:pt idx="2556">
                  <c:v>284.01</c:v>
                </c:pt>
                <c:pt idx="2557">
                  <c:v>283.83999999999992</c:v>
                </c:pt>
                <c:pt idx="2558">
                  <c:v>277.7</c:v>
                </c:pt>
                <c:pt idx="2559">
                  <c:v>273.05</c:v>
                </c:pt>
                <c:pt idx="2560">
                  <c:v>274.14999999999998</c:v>
                </c:pt>
                <c:pt idx="2561">
                  <c:v>273.32</c:v>
                </c:pt>
                <c:pt idx="2562">
                  <c:v>275.45</c:v>
                </c:pt>
                <c:pt idx="2563">
                  <c:v>276.58</c:v>
                </c:pt>
                <c:pt idx="2564">
                  <c:v>275.89</c:v>
                </c:pt>
                <c:pt idx="2565">
                  <c:v>276.51</c:v>
                </c:pt>
                <c:pt idx="2566">
                  <c:v>276.95</c:v>
                </c:pt>
                <c:pt idx="2567">
                  <c:v>280.91000000000003</c:v>
                </c:pt>
                <c:pt idx="2568">
                  <c:v>282.08999999999992</c:v>
                </c:pt>
                <c:pt idx="2569">
                  <c:v>283.92999999999995</c:v>
                </c:pt>
                <c:pt idx="2570">
                  <c:v>283.19</c:v>
                </c:pt>
                <c:pt idx="2571">
                  <c:v>281.01</c:v>
                </c:pt>
                <c:pt idx="2572">
                  <c:v>280.33</c:v>
                </c:pt>
                <c:pt idx="2573">
                  <c:v>276.47999999999996</c:v>
                </c:pt>
                <c:pt idx="2574">
                  <c:v>279</c:v>
                </c:pt>
                <c:pt idx="2575">
                  <c:v>281.58</c:v>
                </c:pt>
                <c:pt idx="2576">
                  <c:v>283.33999999999992</c:v>
                </c:pt>
                <c:pt idx="2577">
                  <c:v>285.28999999999996</c:v>
                </c:pt>
                <c:pt idx="2578">
                  <c:v>286.47999999999996</c:v>
                </c:pt>
                <c:pt idx="2579">
                  <c:v>289.52999999999992</c:v>
                </c:pt>
                <c:pt idx="2580">
                  <c:v>288.54000000000002</c:v>
                </c:pt>
                <c:pt idx="2581">
                  <c:v>287.85000000000002</c:v>
                </c:pt>
                <c:pt idx="2582">
                  <c:v>288.38</c:v>
                </c:pt>
                <c:pt idx="2583">
                  <c:v>289.54000000000002</c:v>
                </c:pt>
                <c:pt idx="2584">
                  <c:v>291.52999999999992</c:v>
                </c:pt>
                <c:pt idx="2585">
                  <c:v>289.33</c:v>
                </c:pt>
                <c:pt idx="2586">
                  <c:v>291.22999999999996</c:v>
                </c:pt>
                <c:pt idx="2587">
                  <c:v>294.62</c:v>
                </c:pt>
                <c:pt idx="2588">
                  <c:v>295.18</c:v>
                </c:pt>
                <c:pt idx="2589">
                  <c:v>293.32</c:v>
                </c:pt>
                <c:pt idx="2590">
                  <c:v>292.47000000000003</c:v>
                </c:pt>
                <c:pt idx="2591">
                  <c:v>294.27</c:v>
                </c:pt>
                <c:pt idx="2592">
                  <c:v>293.94</c:v>
                </c:pt>
                <c:pt idx="2593">
                  <c:v>296.89999999999992</c:v>
                </c:pt>
                <c:pt idx="2594">
                  <c:v>296.5</c:v>
                </c:pt>
                <c:pt idx="2595">
                  <c:v>298.20999999999992</c:v>
                </c:pt>
                <c:pt idx="2596">
                  <c:v>298.92999999999995</c:v>
                </c:pt>
                <c:pt idx="2597">
                  <c:v>298.64999999999998</c:v>
                </c:pt>
                <c:pt idx="2598">
                  <c:v>302.01</c:v>
                </c:pt>
                <c:pt idx="2599">
                  <c:v>303.41000000000003</c:v>
                </c:pt>
                <c:pt idx="2600">
                  <c:v>303.39</c:v>
                </c:pt>
                <c:pt idx="2601">
                  <c:v>301.47000000000003</c:v>
                </c:pt>
                <c:pt idx="2602">
                  <c:v>305.27</c:v>
                </c:pt>
                <c:pt idx="2603">
                  <c:v>305.56</c:v>
                </c:pt>
                <c:pt idx="2604">
                  <c:v>305.24</c:v>
                </c:pt>
                <c:pt idx="2605">
                  <c:v>307.25</c:v>
                </c:pt>
                <c:pt idx="2606">
                  <c:v>308.63</c:v>
                </c:pt>
                <c:pt idx="2607">
                  <c:v>304.62</c:v>
                </c:pt>
                <c:pt idx="2608">
                  <c:v>302.06</c:v>
                </c:pt>
                <c:pt idx="2609">
                  <c:v>305.83</c:v>
                </c:pt>
                <c:pt idx="2610">
                  <c:v>304.77999999999992</c:v>
                </c:pt>
                <c:pt idx="2611">
                  <c:v>302.48999999999995</c:v>
                </c:pt>
                <c:pt idx="2612">
                  <c:v>304.08</c:v>
                </c:pt>
                <c:pt idx="2613">
                  <c:v>304.98999999999995</c:v>
                </c:pt>
                <c:pt idx="2614">
                  <c:v>295.41000000000003</c:v>
                </c:pt>
                <c:pt idx="2615">
                  <c:v>292.08</c:v>
                </c:pt>
                <c:pt idx="2616">
                  <c:v>296.48999999999995</c:v>
                </c:pt>
                <c:pt idx="2617">
                  <c:v>296.11</c:v>
                </c:pt>
                <c:pt idx="2618">
                  <c:v>297.41000000000003</c:v>
                </c:pt>
                <c:pt idx="2619">
                  <c:v>290.8</c:v>
                </c:pt>
                <c:pt idx="2620">
                  <c:v>288.18</c:v>
                </c:pt>
                <c:pt idx="2621">
                  <c:v>283.78999999999996</c:v>
                </c:pt>
                <c:pt idx="2622">
                  <c:v>272.31</c:v>
                </c:pt>
                <c:pt idx="2623">
                  <c:v>289.77999999999992</c:v>
                </c:pt>
                <c:pt idx="2624">
                  <c:v>289.97000000000003</c:v>
                </c:pt>
                <c:pt idx="2625">
                  <c:v>297.27999999999992</c:v>
                </c:pt>
                <c:pt idx="2626">
                  <c:v>298.22999999999996</c:v>
                </c:pt>
                <c:pt idx="2627">
                  <c:v>289.66000000000008</c:v>
                </c:pt>
                <c:pt idx="2628">
                  <c:v>289.42999999999995</c:v>
                </c:pt>
                <c:pt idx="2629">
                  <c:v>292.25</c:v>
                </c:pt>
                <c:pt idx="2630">
                  <c:v>283.75</c:v>
                </c:pt>
                <c:pt idx="2631">
                  <c:v>277.83</c:v>
                </c:pt>
                <c:pt idx="2632">
                  <c:v>276.33999999999992</c:v>
                </c:pt>
                <c:pt idx="2633">
                  <c:v>277.64999999999998</c:v>
                </c:pt>
                <c:pt idx="2634">
                  <c:v>271.41000000000003</c:v>
                </c:pt>
                <c:pt idx="2635">
                  <c:v>276.97000000000003</c:v>
                </c:pt>
                <c:pt idx="2636">
                  <c:v>285.14999999999998</c:v>
                </c:pt>
                <c:pt idx="2637">
                  <c:v>285.69</c:v>
                </c:pt>
                <c:pt idx="2638">
                  <c:v>286.10000000000002</c:v>
                </c:pt>
                <c:pt idx="2639">
                  <c:v>288.7</c:v>
                </c:pt>
                <c:pt idx="2640">
                  <c:v>289.62</c:v>
                </c:pt>
                <c:pt idx="2641">
                  <c:v>293.33</c:v>
                </c:pt>
                <c:pt idx="2642">
                  <c:v>288.95</c:v>
                </c:pt>
                <c:pt idx="2643">
                  <c:v>287.06</c:v>
                </c:pt>
                <c:pt idx="2644">
                  <c:v>283.78999999999996</c:v>
                </c:pt>
                <c:pt idx="2645">
                  <c:v>288.02999999999992</c:v>
                </c:pt>
                <c:pt idx="2646">
                  <c:v>292.60000000000002</c:v>
                </c:pt>
                <c:pt idx="2647">
                  <c:v>293.14000000000004</c:v>
                </c:pt>
                <c:pt idx="2648">
                  <c:v>296.86</c:v>
                </c:pt>
                <c:pt idx="2649">
                  <c:v>299.47999999999996</c:v>
                </c:pt>
                <c:pt idx="2650">
                  <c:v>299.97000000000003</c:v>
                </c:pt>
                <c:pt idx="2651">
                  <c:v>299.39</c:v>
                </c:pt>
                <c:pt idx="2652">
                  <c:v>300.37</c:v>
                </c:pt>
                <c:pt idx="2653">
                  <c:v>302.75</c:v>
                </c:pt>
                <c:pt idx="2654">
                  <c:v>302.33</c:v>
                </c:pt>
                <c:pt idx="2655">
                  <c:v>299.75</c:v>
                </c:pt>
                <c:pt idx="2656">
                  <c:v>294.64000000000004</c:v>
                </c:pt>
                <c:pt idx="2657">
                  <c:v>291.2</c:v>
                </c:pt>
                <c:pt idx="2658">
                  <c:v>293.91999999999996</c:v>
                </c:pt>
                <c:pt idx="2659">
                  <c:v>286.61</c:v>
                </c:pt>
                <c:pt idx="2660">
                  <c:v>283.36</c:v>
                </c:pt>
                <c:pt idx="2661">
                  <c:v>278.64000000000004</c:v>
                </c:pt>
                <c:pt idx="2662">
                  <c:v>280.06</c:v>
                </c:pt>
                <c:pt idx="2663">
                  <c:v>281.60000000000002</c:v>
                </c:pt>
                <c:pt idx="2664">
                  <c:v>287.83</c:v>
                </c:pt>
                <c:pt idx="2665">
                  <c:v>291.45</c:v>
                </c:pt>
                <c:pt idx="2666">
                  <c:v>293.75</c:v>
                </c:pt>
                <c:pt idx="2667">
                  <c:v>294.97000000000003</c:v>
                </c:pt>
                <c:pt idx="2668">
                  <c:v>295.33999999999992</c:v>
                </c:pt>
                <c:pt idx="2669">
                  <c:v>300.44</c:v>
                </c:pt>
                <c:pt idx="2670">
                  <c:v>299.74</c:v>
                </c:pt>
                <c:pt idx="2671">
                  <c:v>297.58999999999992</c:v>
                </c:pt>
                <c:pt idx="2672">
                  <c:v>293.58999999999992</c:v>
                </c:pt>
                <c:pt idx="2673">
                  <c:v>291.57</c:v>
                </c:pt>
                <c:pt idx="2674">
                  <c:v>291.67</c:v>
                </c:pt>
                <c:pt idx="2675">
                  <c:v>295.45999999999992</c:v>
                </c:pt>
                <c:pt idx="2676">
                  <c:v>300.14999999999998</c:v>
                </c:pt>
                <c:pt idx="2677">
                  <c:v>303.14000000000004</c:v>
                </c:pt>
                <c:pt idx="2678">
                  <c:v>304.45999999999992</c:v>
                </c:pt>
                <c:pt idx="2679">
                  <c:v>305.16000000000008</c:v>
                </c:pt>
                <c:pt idx="2680">
                  <c:v>304.91999999999996</c:v>
                </c:pt>
                <c:pt idx="2681">
                  <c:v>305.27</c:v>
                </c:pt>
                <c:pt idx="2682">
                  <c:v>302.61</c:v>
                </c:pt>
                <c:pt idx="2683">
                  <c:v>310.13</c:v>
                </c:pt>
                <c:pt idx="2684">
                  <c:v>311.81</c:v>
                </c:pt>
                <c:pt idx="2685">
                  <c:v>312.76</c:v>
                </c:pt>
                <c:pt idx="2686">
                  <c:v>310.95</c:v>
                </c:pt>
                <c:pt idx="2687">
                  <c:v>306.98999999999995</c:v>
                </c:pt>
                <c:pt idx="2688">
                  <c:v>310.95</c:v>
                </c:pt>
                <c:pt idx="2689">
                  <c:v>307.45999999999992</c:v>
                </c:pt>
                <c:pt idx="2690">
                  <c:v>302.64000000000004</c:v>
                </c:pt>
                <c:pt idx="2691">
                  <c:v>301.63</c:v>
                </c:pt>
                <c:pt idx="2692">
                  <c:v>303.13</c:v>
                </c:pt>
                <c:pt idx="2693">
                  <c:v>303.02999999999992</c:v>
                </c:pt>
                <c:pt idx="2694">
                  <c:v>306.51</c:v>
                </c:pt>
                <c:pt idx="2695">
                  <c:v>305.70999999999992</c:v>
                </c:pt>
                <c:pt idx="2696">
                  <c:v>301.64000000000004</c:v>
                </c:pt>
                <c:pt idx="2697">
                  <c:v>299.20999999999992</c:v>
                </c:pt>
                <c:pt idx="2698">
                  <c:v>301.52</c:v>
                </c:pt>
                <c:pt idx="2699">
                  <c:v>296.72999999999996</c:v>
                </c:pt>
                <c:pt idx="2700">
                  <c:v>295.12</c:v>
                </c:pt>
                <c:pt idx="2701">
                  <c:v>296.04000000000002</c:v>
                </c:pt>
                <c:pt idx="2702">
                  <c:v>298.25</c:v>
                </c:pt>
                <c:pt idx="2703">
                  <c:v>298.74</c:v>
                </c:pt>
                <c:pt idx="2704">
                  <c:v>297.39999999999992</c:v>
                </c:pt>
                <c:pt idx="2705">
                  <c:v>305.51</c:v>
                </c:pt>
                <c:pt idx="2706">
                  <c:v>306.95</c:v>
                </c:pt>
                <c:pt idx="2707">
                  <c:v>308.91000000000003</c:v>
                </c:pt>
                <c:pt idx="2708">
                  <c:v>310.68</c:v>
                </c:pt>
                <c:pt idx="2709">
                  <c:v>307.98999999999995</c:v>
                </c:pt>
                <c:pt idx="2710">
                  <c:v>312.38</c:v>
                </c:pt>
                <c:pt idx="2711">
                  <c:v>314.75</c:v>
                </c:pt>
                <c:pt idx="2712">
                  <c:v>314.28999999999996</c:v>
                </c:pt>
                <c:pt idx="2713">
                  <c:v>315.17</c:v>
                </c:pt>
                <c:pt idx="2714">
                  <c:v>314.13</c:v>
                </c:pt>
                <c:pt idx="2715">
                  <c:v>314.5</c:v>
                </c:pt>
                <c:pt idx="2716">
                  <c:v>312.10000000000002</c:v>
                </c:pt>
                <c:pt idx="2717">
                  <c:v>309.63</c:v>
                </c:pt>
                <c:pt idx="2718">
                  <c:v>312.32</c:v>
                </c:pt>
                <c:pt idx="2719">
                  <c:v>311.22999999999996</c:v>
                </c:pt>
                <c:pt idx="2720">
                  <c:v>305.95</c:v>
                </c:pt>
                <c:pt idx="2721">
                  <c:v>307.18</c:v>
                </c:pt>
                <c:pt idx="2722">
                  <c:v>309.2</c:v>
                </c:pt>
                <c:pt idx="2723">
                  <c:v>308.62</c:v>
                </c:pt>
                <c:pt idx="2724">
                  <c:v>306.64000000000004</c:v>
                </c:pt>
                <c:pt idx="2725">
                  <c:v>305.67</c:v>
                </c:pt>
                <c:pt idx="2726">
                  <c:v>304.63</c:v>
                </c:pt>
                <c:pt idx="2727">
                  <c:v>303.75</c:v>
                </c:pt>
                <c:pt idx="2728">
                  <c:v>303.83999999999992</c:v>
                </c:pt>
                <c:pt idx="2729">
                  <c:v>307.14999999999998</c:v>
                </c:pt>
                <c:pt idx="2730">
                  <c:v>308.77999999999992</c:v>
                </c:pt>
                <c:pt idx="2731">
                  <c:v>310.33</c:v>
                </c:pt>
                <c:pt idx="2732">
                  <c:v>310.05</c:v>
                </c:pt>
                <c:pt idx="2733">
                  <c:v>312.02</c:v>
                </c:pt>
                <c:pt idx="2734">
                  <c:v>309.64999999999998</c:v>
                </c:pt>
                <c:pt idx="2735">
                  <c:v>313.66000000000008</c:v>
                </c:pt>
                <c:pt idx="2736">
                  <c:v>313.67</c:v>
                </c:pt>
                <c:pt idx="2737">
                  <c:v>314.05</c:v>
                </c:pt>
                <c:pt idx="2738">
                  <c:v>314.76</c:v>
                </c:pt>
                <c:pt idx="2739">
                  <c:v>313.48999999999995</c:v>
                </c:pt>
                <c:pt idx="2740">
                  <c:v>313.33</c:v>
                </c:pt>
                <c:pt idx="2741">
                  <c:v>314.48999999999995</c:v>
                </c:pt>
                <c:pt idx="2742">
                  <c:v>314.70999999999992</c:v>
                </c:pt>
                <c:pt idx="2743">
                  <c:v>316.45999999999992</c:v>
                </c:pt>
                <c:pt idx="2744">
                  <c:v>318.02999999999992</c:v>
                </c:pt>
                <c:pt idx="2745">
                  <c:v>315</c:v>
                </c:pt>
                <c:pt idx="2746">
                  <c:v>318.38</c:v>
                </c:pt>
                <c:pt idx="2747">
                  <c:v>321.27999999999992</c:v>
                </c:pt>
                <c:pt idx="2748">
                  <c:v>321.32</c:v>
                </c:pt>
                <c:pt idx="2749">
                  <c:v>321.89999999999992</c:v>
                </c:pt>
                <c:pt idx="2750">
                  <c:v>319.82</c:v>
                </c:pt>
                <c:pt idx="2751">
                  <c:v>323.45999999999992</c:v>
                </c:pt>
                <c:pt idx="2752">
                  <c:v>324.10000000000002</c:v>
                </c:pt>
                <c:pt idx="2753">
                  <c:v>323.47000000000003</c:v>
                </c:pt>
                <c:pt idx="2754">
                  <c:v>326.74</c:v>
                </c:pt>
                <c:pt idx="2755">
                  <c:v>324.76</c:v>
                </c:pt>
                <c:pt idx="2756">
                  <c:v>323.74</c:v>
                </c:pt>
                <c:pt idx="2757">
                  <c:v>322.17</c:v>
                </c:pt>
                <c:pt idx="2758">
                  <c:v>325.63</c:v>
                </c:pt>
                <c:pt idx="2759">
                  <c:v>318.63</c:v>
                </c:pt>
                <c:pt idx="2760">
                  <c:v>320.05</c:v>
                </c:pt>
                <c:pt idx="2761">
                  <c:v>323.04000000000002</c:v>
                </c:pt>
                <c:pt idx="2762">
                  <c:v>321.37</c:v>
                </c:pt>
                <c:pt idx="2763">
                  <c:v>318.18</c:v>
                </c:pt>
                <c:pt idx="2764">
                  <c:v>314.62</c:v>
                </c:pt>
                <c:pt idx="2765">
                  <c:v>315.5</c:v>
                </c:pt>
                <c:pt idx="2766">
                  <c:v>316.11</c:v>
                </c:pt>
                <c:pt idx="2767">
                  <c:v>314.97000000000003</c:v>
                </c:pt>
                <c:pt idx="2768">
                  <c:v>309.89999999999992</c:v>
                </c:pt>
                <c:pt idx="2769">
                  <c:v>309.38</c:v>
                </c:pt>
                <c:pt idx="2770">
                  <c:v>314.41000000000003</c:v>
                </c:pt>
                <c:pt idx="2771">
                  <c:v>318.07</c:v>
                </c:pt>
                <c:pt idx="2772">
                  <c:v>317.52999999999992</c:v>
                </c:pt>
                <c:pt idx="2773">
                  <c:v>318.95999999999992</c:v>
                </c:pt>
                <c:pt idx="2774">
                  <c:v>321.31</c:v>
                </c:pt>
                <c:pt idx="2775">
                  <c:v>323.18</c:v>
                </c:pt>
                <c:pt idx="2776">
                  <c:v>325.11</c:v>
                </c:pt>
                <c:pt idx="2777">
                  <c:v>325.06</c:v>
                </c:pt>
                <c:pt idx="2778">
                  <c:v>325.52999999999992</c:v>
                </c:pt>
                <c:pt idx="2779">
                  <c:v>325.82</c:v>
                </c:pt>
                <c:pt idx="2780">
                  <c:v>323.41000000000003</c:v>
                </c:pt>
                <c:pt idx="2781">
                  <c:v>324.26</c:v>
                </c:pt>
                <c:pt idx="2782">
                  <c:v>321.57</c:v>
                </c:pt>
                <c:pt idx="2783">
                  <c:v>325.13</c:v>
                </c:pt>
                <c:pt idx="2784">
                  <c:v>327.66000000000008</c:v>
                </c:pt>
                <c:pt idx="2785">
                  <c:v>328.02</c:v>
                </c:pt>
                <c:pt idx="2786">
                  <c:v>329.21</c:v>
                </c:pt>
                <c:pt idx="2787">
                  <c:v>328.96999999999997</c:v>
                </c:pt>
                <c:pt idx="2788">
                  <c:v>326.32</c:v>
                </c:pt>
                <c:pt idx="2789">
                  <c:v>326.94</c:v>
                </c:pt>
                <c:pt idx="2790">
                  <c:v>327.97999999999996</c:v>
                </c:pt>
                <c:pt idx="2791">
                  <c:v>323.35000000000002</c:v>
                </c:pt>
                <c:pt idx="2792">
                  <c:v>322.51</c:v>
                </c:pt>
                <c:pt idx="2793">
                  <c:v>321.98999999999995</c:v>
                </c:pt>
                <c:pt idx="2794">
                  <c:v>325.12</c:v>
                </c:pt>
                <c:pt idx="2795">
                  <c:v>325.44</c:v>
                </c:pt>
                <c:pt idx="2796">
                  <c:v>327.45</c:v>
                </c:pt>
                <c:pt idx="2797">
                  <c:v>326.28999999999996</c:v>
                </c:pt>
                <c:pt idx="2798">
                  <c:v>324.27</c:v>
                </c:pt>
                <c:pt idx="2799">
                  <c:v>328.24</c:v>
                </c:pt>
                <c:pt idx="2800">
                  <c:v>332.22999999999996</c:v>
                </c:pt>
                <c:pt idx="2801">
                  <c:v>329.16</c:v>
                </c:pt>
                <c:pt idx="2802">
                  <c:v>329</c:v>
                </c:pt>
                <c:pt idx="2803">
                  <c:v>331.46</c:v>
                </c:pt>
                <c:pt idx="2804">
                  <c:v>333.88</c:v>
                </c:pt>
                <c:pt idx="2805">
                  <c:v>329.92999999999995</c:v>
                </c:pt>
                <c:pt idx="2806">
                  <c:v>326.13</c:v>
                </c:pt>
                <c:pt idx="2807">
                  <c:v>328.08</c:v>
                </c:pt>
                <c:pt idx="2808">
                  <c:v>329.26</c:v>
                </c:pt>
                <c:pt idx="2809">
                  <c:v>327.13</c:v>
                </c:pt>
                <c:pt idx="2810">
                  <c:v>330.15000000000003</c:v>
                </c:pt>
                <c:pt idx="2811">
                  <c:v>330.78</c:v>
                </c:pt>
                <c:pt idx="2812">
                  <c:v>328.17</c:v>
                </c:pt>
                <c:pt idx="2813">
                  <c:v>327.63</c:v>
                </c:pt>
                <c:pt idx="2814">
                  <c:v>330.94</c:v>
                </c:pt>
                <c:pt idx="2815">
                  <c:v>333.13</c:v>
                </c:pt>
                <c:pt idx="2816">
                  <c:v>333.87</c:v>
                </c:pt>
                <c:pt idx="2817">
                  <c:v>335.17</c:v>
                </c:pt>
                <c:pt idx="2818">
                  <c:v>339.38</c:v>
                </c:pt>
                <c:pt idx="2819">
                  <c:v>338.21</c:v>
                </c:pt>
                <c:pt idx="2820">
                  <c:v>335.96999999999997</c:v>
                </c:pt>
                <c:pt idx="2821">
                  <c:v>334.8</c:v>
                </c:pt>
                <c:pt idx="2822">
                  <c:v>336.97999999999996</c:v>
                </c:pt>
                <c:pt idx="2823">
                  <c:v>338.71</c:v>
                </c:pt>
                <c:pt idx="2824">
                  <c:v>338.28999999999996</c:v>
                </c:pt>
                <c:pt idx="2825">
                  <c:v>339.72999999999996</c:v>
                </c:pt>
                <c:pt idx="2826">
                  <c:v>340.81</c:v>
                </c:pt>
                <c:pt idx="2827">
                  <c:v>342.52</c:v>
                </c:pt>
                <c:pt idx="2828">
                  <c:v>337.96</c:v>
                </c:pt>
                <c:pt idx="2829">
                  <c:v>335.34000000000003</c:v>
                </c:pt>
                <c:pt idx="2830">
                  <c:v>331.55</c:v>
                </c:pt>
                <c:pt idx="2831">
                  <c:v>329.64000000000004</c:v>
                </c:pt>
                <c:pt idx="2832">
                  <c:v>334.19</c:v>
                </c:pt>
                <c:pt idx="2833">
                  <c:v>336.92999999999995</c:v>
                </c:pt>
                <c:pt idx="2834">
                  <c:v>335.27</c:v>
                </c:pt>
                <c:pt idx="2835">
                  <c:v>332.91999999999996</c:v>
                </c:pt>
                <c:pt idx="2836">
                  <c:v>333.57</c:v>
                </c:pt>
                <c:pt idx="2837">
                  <c:v>331.87</c:v>
                </c:pt>
                <c:pt idx="2838">
                  <c:v>330.66</c:v>
                </c:pt>
                <c:pt idx="2839">
                  <c:v>332.06</c:v>
                </c:pt>
                <c:pt idx="2840">
                  <c:v>333.6</c:v>
                </c:pt>
                <c:pt idx="2841">
                  <c:v>328.42999999999995</c:v>
                </c:pt>
                <c:pt idx="2842">
                  <c:v>325.25</c:v>
                </c:pt>
                <c:pt idx="2843">
                  <c:v>321.77999999999992</c:v>
                </c:pt>
                <c:pt idx="2844">
                  <c:v>315.55</c:v>
                </c:pt>
                <c:pt idx="2845">
                  <c:v>312.05</c:v>
                </c:pt>
                <c:pt idx="2846">
                  <c:v>317.19</c:v>
                </c:pt>
                <c:pt idx="2847">
                  <c:v>317.89</c:v>
                </c:pt>
                <c:pt idx="2848">
                  <c:v>323.67</c:v>
                </c:pt>
                <c:pt idx="2849">
                  <c:v>322.38</c:v>
                </c:pt>
                <c:pt idx="2850">
                  <c:v>323.83</c:v>
                </c:pt>
                <c:pt idx="2851">
                  <c:v>323.27</c:v>
                </c:pt>
                <c:pt idx="2852">
                  <c:v>323.37</c:v>
                </c:pt>
                <c:pt idx="2853">
                  <c:v>323.81</c:v>
                </c:pt>
                <c:pt idx="2854">
                  <c:v>323.06</c:v>
                </c:pt>
                <c:pt idx="2855">
                  <c:v>324.54000000000002</c:v>
                </c:pt>
                <c:pt idx="2856">
                  <c:v>322.8</c:v>
                </c:pt>
                <c:pt idx="2857">
                  <c:v>326.85000000000002</c:v>
                </c:pt>
                <c:pt idx="2858">
                  <c:v>326.95999999999992</c:v>
                </c:pt>
                <c:pt idx="2859">
                  <c:v>327.08999999999992</c:v>
                </c:pt>
                <c:pt idx="2860">
                  <c:v>327.66000000000008</c:v>
                </c:pt>
                <c:pt idx="2861">
                  <c:v>326.45999999999992</c:v>
                </c:pt>
                <c:pt idx="2862">
                  <c:v>327.41999999999996</c:v>
                </c:pt>
                <c:pt idx="2863">
                  <c:v>327.22000000000003</c:v>
                </c:pt>
                <c:pt idx="2864">
                  <c:v>323.77999999999992</c:v>
                </c:pt>
                <c:pt idx="2865">
                  <c:v>326.41999999999996</c:v>
                </c:pt>
                <c:pt idx="2866">
                  <c:v>323.97999999999996</c:v>
                </c:pt>
                <c:pt idx="2867">
                  <c:v>324.47999999999996</c:v>
                </c:pt>
                <c:pt idx="2868">
                  <c:v>320.55</c:v>
                </c:pt>
                <c:pt idx="2869">
                  <c:v>320.33999999999992</c:v>
                </c:pt>
                <c:pt idx="2870">
                  <c:v>324.07</c:v>
                </c:pt>
                <c:pt idx="2871">
                  <c:v>324.14000000000004</c:v>
                </c:pt>
                <c:pt idx="2872">
                  <c:v>325.61</c:v>
                </c:pt>
                <c:pt idx="2873">
                  <c:v>326.14999999999998</c:v>
                </c:pt>
                <c:pt idx="2874">
                  <c:v>329.19</c:v>
                </c:pt>
                <c:pt idx="2875">
                  <c:v>329.77</c:v>
                </c:pt>
                <c:pt idx="2876">
                  <c:v>330.3</c:v>
                </c:pt>
                <c:pt idx="2877">
                  <c:v>328.59</c:v>
                </c:pt>
                <c:pt idx="2878">
                  <c:v>327.08</c:v>
                </c:pt>
                <c:pt idx="2879">
                  <c:v>327.2</c:v>
                </c:pt>
                <c:pt idx="2880">
                  <c:v>329.51</c:v>
                </c:pt>
                <c:pt idx="2881">
                  <c:v>328.87</c:v>
                </c:pt>
                <c:pt idx="2882">
                  <c:v>330.76</c:v>
                </c:pt>
                <c:pt idx="2883">
                  <c:v>333.01</c:v>
                </c:pt>
                <c:pt idx="2884">
                  <c:v>330.7</c:v>
                </c:pt>
                <c:pt idx="2885">
                  <c:v>328.66</c:v>
                </c:pt>
                <c:pt idx="2886">
                  <c:v>327.22999999999996</c:v>
                </c:pt>
                <c:pt idx="2887">
                  <c:v>324.74</c:v>
                </c:pt>
                <c:pt idx="2888">
                  <c:v>324.83</c:v>
                </c:pt>
                <c:pt idx="2889">
                  <c:v>326.05</c:v>
                </c:pt>
                <c:pt idx="2890">
                  <c:v>325.89999999999992</c:v>
                </c:pt>
                <c:pt idx="2891">
                  <c:v>321.74</c:v>
                </c:pt>
                <c:pt idx="2892">
                  <c:v>321.64000000000004</c:v>
                </c:pt>
                <c:pt idx="2893">
                  <c:v>320.87</c:v>
                </c:pt>
                <c:pt idx="2894">
                  <c:v>321.2</c:v>
                </c:pt>
                <c:pt idx="2895">
                  <c:v>322.12</c:v>
                </c:pt>
                <c:pt idx="2896">
                  <c:v>321.47999999999996</c:v>
                </c:pt>
                <c:pt idx="2897">
                  <c:v>323.77</c:v>
                </c:pt>
                <c:pt idx="2898">
                  <c:v>322.3</c:v>
                </c:pt>
                <c:pt idx="2899">
                  <c:v>319.55</c:v>
                </c:pt>
                <c:pt idx="2900">
                  <c:v>318.52</c:v>
                </c:pt>
                <c:pt idx="2901">
                  <c:v>316.48999999999995</c:v>
                </c:pt>
                <c:pt idx="2902">
                  <c:v>316.76</c:v>
                </c:pt>
                <c:pt idx="2903">
                  <c:v>313.83999999999992</c:v>
                </c:pt>
                <c:pt idx="2904">
                  <c:v>314.66000000000008</c:v>
                </c:pt>
                <c:pt idx="2905">
                  <c:v>311.27999999999992</c:v>
                </c:pt>
                <c:pt idx="2906">
                  <c:v>311.74</c:v>
                </c:pt>
                <c:pt idx="2907">
                  <c:v>313.97000000000003</c:v>
                </c:pt>
                <c:pt idx="2908">
                  <c:v>310.28999999999996</c:v>
                </c:pt>
                <c:pt idx="2909">
                  <c:v>308.47999999999996</c:v>
                </c:pt>
                <c:pt idx="2910">
                  <c:v>309.07</c:v>
                </c:pt>
                <c:pt idx="2911">
                  <c:v>305.44</c:v>
                </c:pt>
                <c:pt idx="2912">
                  <c:v>308.27</c:v>
                </c:pt>
                <c:pt idx="2913">
                  <c:v>307.89999999999992</c:v>
                </c:pt>
                <c:pt idx="2914">
                  <c:v>304.77999999999992</c:v>
                </c:pt>
                <c:pt idx="2915">
                  <c:v>304.13</c:v>
                </c:pt>
                <c:pt idx="2916">
                  <c:v>304.92999999999995</c:v>
                </c:pt>
                <c:pt idx="2917">
                  <c:v>306.13</c:v>
                </c:pt>
                <c:pt idx="2918">
                  <c:v>312.22999999999996</c:v>
                </c:pt>
                <c:pt idx="2919">
                  <c:v>316.22999999999996</c:v>
                </c:pt>
                <c:pt idx="2920">
                  <c:v>319.14999999999998</c:v>
                </c:pt>
                <c:pt idx="2921">
                  <c:v>320.02999999999992</c:v>
                </c:pt>
                <c:pt idx="2922">
                  <c:v>320.91000000000003</c:v>
                </c:pt>
                <c:pt idx="2923">
                  <c:v>319.81</c:v>
                </c:pt>
                <c:pt idx="2924">
                  <c:v>321.14000000000004</c:v>
                </c:pt>
                <c:pt idx="2925">
                  <c:v>320.3</c:v>
                </c:pt>
                <c:pt idx="2926">
                  <c:v>315.48999999999995</c:v>
                </c:pt>
                <c:pt idx="2927">
                  <c:v>313.89</c:v>
                </c:pt>
                <c:pt idx="2928">
                  <c:v>316.12</c:v>
                </c:pt>
                <c:pt idx="2929">
                  <c:v>313.41000000000003</c:v>
                </c:pt>
                <c:pt idx="2930">
                  <c:v>313.76</c:v>
                </c:pt>
                <c:pt idx="2931">
                  <c:v>308.24</c:v>
                </c:pt>
                <c:pt idx="2932">
                  <c:v>311.31</c:v>
                </c:pt>
                <c:pt idx="2933">
                  <c:v>315.83999999999992</c:v>
                </c:pt>
                <c:pt idx="2934">
                  <c:v>318.39</c:v>
                </c:pt>
                <c:pt idx="2935">
                  <c:v>321</c:v>
                </c:pt>
                <c:pt idx="2936">
                  <c:v>320.18</c:v>
                </c:pt>
                <c:pt idx="2937">
                  <c:v>318.57</c:v>
                </c:pt>
                <c:pt idx="2938">
                  <c:v>314.64000000000004</c:v>
                </c:pt>
                <c:pt idx="2939">
                  <c:v>315.14999999999998</c:v>
                </c:pt>
                <c:pt idx="2940">
                  <c:v>314.32</c:v>
                </c:pt>
                <c:pt idx="2941">
                  <c:v>310.06</c:v>
                </c:pt>
                <c:pt idx="2942">
                  <c:v>305.27999999999992</c:v>
                </c:pt>
                <c:pt idx="2943">
                  <c:v>302.81</c:v>
                </c:pt>
                <c:pt idx="2944">
                  <c:v>293.52</c:v>
                </c:pt>
                <c:pt idx="2945">
                  <c:v>287.48999999999995</c:v>
                </c:pt>
                <c:pt idx="2946">
                  <c:v>277.11</c:v>
                </c:pt>
                <c:pt idx="2947">
                  <c:v>277.81</c:v>
                </c:pt>
                <c:pt idx="2948">
                  <c:v>272.85000000000002</c:v>
                </c:pt>
                <c:pt idx="2949">
                  <c:v>279.68</c:v>
                </c:pt>
                <c:pt idx="2950">
                  <c:v>290.76</c:v>
                </c:pt>
                <c:pt idx="2951">
                  <c:v>290.85000000000002</c:v>
                </c:pt>
                <c:pt idx="2952">
                  <c:v>287.47999999999996</c:v>
                </c:pt>
                <c:pt idx="2953">
                  <c:v>288.35000000000002</c:v>
                </c:pt>
                <c:pt idx="2954">
                  <c:v>276.24</c:v>
                </c:pt>
                <c:pt idx="2955">
                  <c:v>274.45999999999992</c:v>
                </c:pt>
                <c:pt idx="2956">
                  <c:v>278.27999999999992</c:v>
                </c:pt>
                <c:pt idx="2957">
                  <c:v>278.85000000000002</c:v>
                </c:pt>
                <c:pt idx="2958">
                  <c:v>284.19</c:v>
                </c:pt>
                <c:pt idx="2959">
                  <c:v>281.36</c:v>
                </c:pt>
                <c:pt idx="2960">
                  <c:v>279.08</c:v>
                </c:pt>
                <c:pt idx="2961">
                  <c:v>282.38</c:v>
                </c:pt>
                <c:pt idx="2962">
                  <c:v>285.83</c:v>
                </c:pt>
                <c:pt idx="2963">
                  <c:v>293.3</c:v>
                </c:pt>
                <c:pt idx="2964">
                  <c:v>294.88</c:v>
                </c:pt>
                <c:pt idx="2965">
                  <c:v>290.36</c:v>
                </c:pt>
                <c:pt idx="2966">
                  <c:v>281.10000000000002</c:v>
                </c:pt>
                <c:pt idx="2967">
                  <c:v>278.35000000000002</c:v>
                </c:pt>
                <c:pt idx="2968">
                  <c:v>286.14000000000004</c:v>
                </c:pt>
                <c:pt idx="2969">
                  <c:v>289.51</c:v>
                </c:pt>
                <c:pt idx="2970">
                  <c:v>283.47000000000003</c:v>
                </c:pt>
                <c:pt idx="2971">
                  <c:v>277.36</c:v>
                </c:pt>
                <c:pt idx="2972">
                  <c:v>279.5</c:v>
                </c:pt>
                <c:pt idx="2973">
                  <c:v>283.58</c:v>
                </c:pt>
                <c:pt idx="2974">
                  <c:v>287.58</c:v>
                </c:pt>
                <c:pt idx="2975">
                  <c:v>289.52999999999992</c:v>
                </c:pt>
                <c:pt idx="2976">
                  <c:v>284.47999999999996</c:v>
                </c:pt>
                <c:pt idx="2977">
                  <c:v>289.45</c:v>
                </c:pt>
                <c:pt idx="2978">
                  <c:v>285.97999999999996</c:v>
                </c:pt>
                <c:pt idx="2979">
                  <c:v>274.45</c:v>
                </c:pt>
                <c:pt idx="2980">
                  <c:v>275.94</c:v>
                </c:pt>
                <c:pt idx="2981">
                  <c:v>282.41999999999996</c:v>
                </c:pt>
                <c:pt idx="2982">
                  <c:v>292.47999999999996</c:v>
                </c:pt>
                <c:pt idx="2983">
                  <c:v>291.47999999999996</c:v>
                </c:pt>
                <c:pt idx="2984">
                  <c:v>294.7</c:v>
                </c:pt>
                <c:pt idx="2985">
                  <c:v>292.31</c:v>
                </c:pt>
                <c:pt idx="2986">
                  <c:v>289.10000000000002</c:v>
                </c:pt>
                <c:pt idx="2987">
                  <c:v>283.72999999999996</c:v>
                </c:pt>
                <c:pt idx="2988">
                  <c:v>288.38</c:v>
                </c:pt>
                <c:pt idx="2989">
                  <c:v>294.20999999999992</c:v>
                </c:pt>
                <c:pt idx="2990">
                  <c:v>296.32</c:v>
                </c:pt>
                <c:pt idx="2991">
                  <c:v>302.14000000000004</c:v>
                </c:pt>
                <c:pt idx="2992">
                  <c:v>299.77</c:v>
                </c:pt>
                <c:pt idx="2993">
                  <c:v>305.91999999999996</c:v>
                </c:pt>
                <c:pt idx="2994">
                  <c:v>302.67</c:v>
                </c:pt>
                <c:pt idx="2995">
                  <c:v>305.14999999999998</c:v>
                </c:pt>
                <c:pt idx="2996">
                  <c:v>301.33999999999992</c:v>
                </c:pt>
                <c:pt idx="2997">
                  <c:v>298.28999999999996</c:v>
                </c:pt>
                <c:pt idx="2998">
                  <c:v>300.18</c:v>
                </c:pt>
                <c:pt idx="2999">
                  <c:v>293.16000000000008</c:v>
                </c:pt>
                <c:pt idx="3000">
                  <c:v>299.74</c:v>
                </c:pt>
                <c:pt idx="3001">
                  <c:v>302.10000000000002</c:v>
                </c:pt>
                <c:pt idx="3002">
                  <c:v>298.44</c:v>
                </c:pt>
                <c:pt idx="3003">
                  <c:v>297.83</c:v>
                </c:pt>
                <c:pt idx="3004">
                  <c:v>309.86</c:v>
                </c:pt>
                <c:pt idx="3005">
                  <c:v>305.44</c:v>
                </c:pt>
                <c:pt idx="3006">
                  <c:v>298.39</c:v>
                </c:pt>
                <c:pt idx="3007">
                  <c:v>285.13</c:v>
                </c:pt>
                <c:pt idx="3008">
                  <c:v>287.07</c:v>
                </c:pt>
                <c:pt idx="3009">
                  <c:v>292.95999999999992</c:v>
                </c:pt>
                <c:pt idx="3010">
                  <c:v>287.39999999999992</c:v>
                </c:pt>
                <c:pt idx="3011">
                  <c:v>288.72999999999996</c:v>
                </c:pt>
                <c:pt idx="3012">
                  <c:v>288.77999999999992</c:v>
                </c:pt>
                <c:pt idx="3013">
                  <c:v>282.45</c:v>
                </c:pt>
                <c:pt idx="3014">
                  <c:v>281.77999999999992</c:v>
                </c:pt>
                <c:pt idx="3015">
                  <c:v>288.98999999999995</c:v>
                </c:pt>
                <c:pt idx="3016">
                  <c:v>284.64000000000004</c:v>
                </c:pt>
                <c:pt idx="3017">
                  <c:v>281.91000000000003</c:v>
                </c:pt>
                <c:pt idx="3018">
                  <c:v>282.31</c:v>
                </c:pt>
                <c:pt idx="3019">
                  <c:v>280.41000000000003</c:v>
                </c:pt>
                <c:pt idx="3020">
                  <c:v>279.61</c:v>
                </c:pt>
                <c:pt idx="3021">
                  <c:v>270.69</c:v>
                </c:pt>
                <c:pt idx="3022">
                  <c:v>267.33999999999992</c:v>
                </c:pt>
                <c:pt idx="3023">
                  <c:v>262.42999999999995</c:v>
                </c:pt>
                <c:pt idx="3024">
                  <c:v>260.08999999999992</c:v>
                </c:pt>
                <c:pt idx="3025">
                  <c:v>261.55</c:v>
                </c:pt>
                <c:pt idx="3026">
                  <c:v>272.42999999999995</c:v>
                </c:pt>
                <c:pt idx="3027">
                  <c:v>274.31</c:v>
                </c:pt>
                <c:pt idx="3028">
                  <c:v>284.5</c:v>
                </c:pt>
                <c:pt idx="3029">
                  <c:v>281.18</c:v>
                </c:pt>
                <c:pt idx="3030">
                  <c:v>284.58</c:v>
                </c:pt>
                <c:pt idx="3031">
                  <c:v>289.56</c:v>
                </c:pt>
                <c:pt idx="3032">
                  <c:v>287.35000000000002</c:v>
                </c:pt>
                <c:pt idx="3033">
                  <c:v>286.70999999999992</c:v>
                </c:pt>
                <c:pt idx="3034">
                  <c:v>280.01</c:v>
                </c:pt>
                <c:pt idx="3035">
                  <c:v>284.7</c:v>
                </c:pt>
                <c:pt idx="3036">
                  <c:v>279.04000000000002</c:v>
                </c:pt>
                <c:pt idx="3037">
                  <c:v>278.41000000000003</c:v>
                </c:pt>
                <c:pt idx="3038">
                  <c:v>273.02</c:v>
                </c:pt>
                <c:pt idx="3039">
                  <c:v>274.92999999999995</c:v>
                </c:pt>
                <c:pt idx="3040">
                  <c:v>274.97999999999996</c:v>
                </c:pt>
                <c:pt idx="3041">
                  <c:v>275.68</c:v>
                </c:pt>
                <c:pt idx="3042">
                  <c:v>280.26</c:v>
                </c:pt>
                <c:pt idx="3043">
                  <c:v>279.16000000000008</c:v>
                </c:pt>
                <c:pt idx="3044">
                  <c:v>281.2</c:v>
                </c:pt>
                <c:pt idx="3045">
                  <c:v>283.97000000000003</c:v>
                </c:pt>
                <c:pt idx="3046">
                  <c:v>284.18</c:v>
                </c:pt>
                <c:pt idx="3047">
                  <c:v>281.91999999999996</c:v>
                </c:pt>
                <c:pt idx="3048">
                  <c:v>284.57</c:v>
                </c:pt>
                <c:pt idx="3049">
                  <c:v>286.72999999999996</c:v>
                </c:pt>
                <c:pt idx="3050">
                  <c:v>289.3</c:v>
                </c:pt>
                <c:pt idx="3051">
                  <c:v>293.78999999999996</c:v>
                </c:pt>
                <c:pt idx="3052">
                  <c:v>292.8</c:v>
                </c:pt>
                <c:pt idx="3053">
                  <c:v>289.66000000000008</c:v>
                </c:pt>
                <c:pt idx="3054">
                  <c:v>290.07</c:v>
                </c:pt>
                <c:pt idx="3055">
                  <c:v>288.70999999999992</c:v>
                </c:pt>
                <c:pt idx="3056">
                  <c:v>293.16000000000008</c:v>
                </c:pt>
                <c:pt idx="3057">
                  <c:v>292.22999999999996</c:v>
                </c:pt>
                <c:pt idx="3058">
                  <c:v>291.95999999999992</c:v>
                </c:pt>
                <c:pt idx="3059">
                  <c:v>292.62</c:v>
                </c:pt>
                <c:pt idx="3060">
                  <c:v>294.45999999999992</c:v>
                </c:pt>
                <c:pt idx="3061">
                  <c:v>296.64999999999998</c:v>
                </c:pt>
                <c:pt idx="3062">
                  <c:v>295.81</c:v>
                </c:pt>
                <c:pt idx="3063">
                  <c:v>298.91999999999996</c:v>
                </c:pt>
                <c:pt idx="3064">
                  <c:v>297.98999999999995</c:v>
                </c:pt>
                <c:pt idx="3065">
                  <c:v>297.91999999999996</c:v>
                </c:pt>
                <c:pt idx="3066">
                  <c:v>297.48999999999995</c:v>
                </c:pt>
                <c:pt idx="3067">
                  <c:v>295.7</c:v>
                </c:pt>
                <c:pt idx="3068">
                  <c:v>298.95</c:v>
                </c:pt>
                <c:pt idx="3069">
                  <c:v>296.24</c:v>
                </c:pt>
                <c:pt idx="3070">
                  <c:v>292.51</c:v>
                </c:pt>
                <c:pt idx="3071">
                  <c:v>294.83999999999992</c:v>
                </c:pt>
                <c:pt idx="3072">
                  <c:v>299.89</c:v>
                </c:pt>
                <c:pt idx="3073">
                  <c:v>300.32</c:v>
                </c:pt>
                <c:pt idx="3074">
                  <c:v>305.88</c:v>
                </c:pt>
                <c:pt idx="3075">
                  <c:v>305.47999999999996</c:v>
                </c:pt>
                <c:pt idx="3076">
                  <c:v>305.14999999999998</c:v>
                </c:pt>
                <c:pt idx="3077">
                  <c:v>304.27999999999992</c:v>
                </c:pt>
                <c:pt idx="3078">
                  <c:v>304.70999999999992</c:v>
                </c:pt>
                <c:pt idx="3079">
                  <c:v>302.69</c:v>
                </c:pt>
                <c:pt idx="3080">
                  <c:v>304.5</c:v>
                </c:pt>
                <c:pt idx="3081">
                  <c:v>303.75</c:v>
                </c:pt>
                <c:pt idx="3082">
                  <c:v>305.57</c:v>
                </c:pt>
                <c:pt idx="3083">
                  <c:v>305.57</c:v>
                </c:pt>
                <c:pt idx="3084">
                  <c:v>307.27999999999992</c:v>
                </c:pt>
                <c:pt idx="3085">
                  <c:v>309.33</c:v>
                </c:pt>
                <c:pt idx="3086">
                  <c:v>307.04000000000002</c:v>
                </c:pt>
                <c:pt idx="3087">
                  <c:v>304.91000000000003</c:v>
                </c:pt>
                <c:pt idx="3088">
                  <c:v>303.17</c:v>
                </c:pt>
                <c:pt idx="3089">
                  <c:v>304.02</c:v>
                </c:pt>
                <c:pt idx="3090">
                  <c:v>303.64999999999998</c:v>
                </c:pt>
                <c:pt idx="3091">
                  <c:v>303.16000000000008</c:v>
                </c:pt>
                <c:pt idx="3092">
                  <c:v>303.83</c:v>
                </c:pt>
                <c:pt idx="3093">
                  <c:v>306.47000000000003</c:v>
                </c:pt>
                <c:pt idx="3094">
                  <c:v>307.11</c:v>
                </c:pt>
                <c:pt idx="3095">
                  <c:v>305.51</c:v>
                </c:pt>
                <c:pt idx="3096">
                  <c:v>297.47999999999996</c:v>
                </c:pt>
                <c:pt idx="3097">
                  <c:v>299.26</c:v>
                </c:pt>
                <c:pt idx="3098">
                  <c:v>303.08</c:v>
                </c:pt>
                <c:pt idx="3099">
                  <c:v>304.77999999999992</c:v>
                </c:pt>
                <c:pt idx="3100">
                  <c:v>303.41999999999996</c:v>
                </c:pt>
                <c:pt idx="3101">
                  <c:v>309.20999999999992</c:v>
                </c:pt>
                <c:pt idx="3102">
                  <c:v>309.33</c:v>
                </c:pt>
                <c:pt idx="3103">
                  <c:v>311.11</c:v>
                </c:pt>
                <c:pt idx="3104">
                  <c:v>312.83</c:v>
                </c:pt>
                <c:pt idx="3105">
                  <c:v>314.08999999999992</c:v>
                </c:pt>
                <c:pt idx="3106">
                  <c:v>311.14999999999998</c:v>
                </c:pt>
                <c:pt idx="3107">
                  <c:v>309.45999999999992</c:v>
                </c:pt>
                <c:pt idx="3108">
                  <c:v>305.7</c:v>
                </c:pt>
                <c:pt idx="3109">
                  <c:v>306.94</c:v>
                </c:pt>
                <c:pt idx="3110">
                  <c:v>309.83</c:v>
                </c:pt>
                <c:pt idx="3111">
                  <c:v>309.02999999999992</c:v>
                </c:pt>
                <c:pt idx="3112">
                  <c:v>305.72999999999996</c:v>
                </c:pt>
                <c:pt idx="3113">
                  <c:v>300.06</c:v>
                </c:pt>
                <c:pt idx="3114">
                  <c:v>303.82</c:v>
                </c:pt>
                <c:pt idx="3115">
                  <c:v>305.17</c:v>
                </c:pt>
                <c:pt idx="3116">
                  <c:v>301.33</c:v>
                </c:pt>
                <c:pt idx="3117">
                  <c:v>292</c:v>
                </c:pt>
                <c:pt idx="3118">
                  <c:v>292.16000000000008</c:v>
                </c:pt>
                <c:pt idx="3119">
                  <c:v>283.7</c:v>
                </c:pt>
                <c:pt idx="3120">
                  <c:v>285.70999999999992</c:v>
                </c:pt>
                <c:pt idx="3121">
                  <c:v>286.60000000000002</c:v>
                </c:pt>
                <c:pt idx="3122">
                  <c:v>280.33</c:v>
                </c:pt>
                <c:pt idx="3123">
                  <c:v>280.55</c:v>
                </c:pt>
                <c:pt idx="3124">
                  <c:v>288.45999999999992</c:v>
                </c:pt>
                <c:pt idx="3125">
                  <c:v>283.14000000000004</c:v>
                </c:pt>
                <c:pt idx="3126">
                  <c:v>279.07</c:v>
                </c:pt>
                <c:pt idx="3127">
                  <c:v>281.77</c:v>
                </c:pt>
                <c:pt idx="3128">
                  <c:v>273.77999999999992</c:v>
                </c:pt>
                <c:pt idx="3129">
                  <c:v>279.78999999999996</c:v>
                </c:pt>
                <c:pt idx="3130">
                  <c:v>285.97999999999996</c:v>
                </c:pt>
                <c:pt idx="3131">
                  <c:v>284.82</c:v>
                </c:pt>
                <c:pt idx="3132">
                  <c:v>288.63</c:v>
                </c:pt>
                <c:pt idx="3133">
                  <c:v>285.74</c:v>
                </c:pt>
                <c:pt idx="3134">
                  <c:v>285.91999999999996</c:v>
                </c:pt>
                <c:pt idx="3135">
                  <c:v>283.12</c:v>
                </c:pt>
                <c:pt idx="3136">
                  <c:v>283.01</c:v>
                </c:pt>
                <c:pt idx="3137">
                  <c:v>278.44</c:v>
                </c:pt>
                <c:pt idx="3138">
                  <c:v>281.95</c:v>
                </c:pt>
                <c:pt idx="3139">
                  <c:v>279.76</c:v>
                </c:pt>
                <c:pt idx="3140">
                  <c:v>278.37</c:v>
                </c:pt>
                <c:pt idx="3141">
                  <c:v>281.42999999999995</c:v>
                </c:pt>
                <c:pt idx="3142">
                  <c:v>281.01</c:v>
                </c:pt>
                <c:pt idx="3143">
                  <c:v>273.58999999999992</c:v>
                </c:pt>
                <c:pt idx="3144">
                  <c:v>270.83999999999992</c:v>
                </c:pt>
                <c:pt idx="3145">
                  <c:v>270.91999999999996</c:v>
                </c:pt>
                <c:pt idx="3146">
                  <c:v>268.33999999999992</c:v>
                </c:pt>
                <c:pt idx="3147">
                  <c:v>266.14999999999998</c:v>
                </c:pt>
                <c:pt idx="3148">
                  <c:v>268.97000000000003</c:v>
                </c:pt>
                <c:pt idx="3149">
                  <c:v>274.41000000000003</c:v>
                </c:pt>
                <c:pt idx="3150">
                  <c:v>266.3</c:v>
                </c:pt>
                <c:pt idx="3151">
                  <c:v>269.11</c:v>
                </c:pt>
                <c:pt idx="3152">
                  <c:v>268.88</c:v>
                </c:pt>
                <c:pt idx="3153">
                  <c:v>267.48999999999995</c:v>
                </c:pt>
                <c:pt idx="3154">
                  <c:v>268.77</c:v>
                </c:pt>
                <c:pt idx="3155">
                  <c:v>264.64000000000004</c:v>
                </c:pt>
                <c:pt idx="3156">
                  <c:v>262.91999999999996</c:v>
                </c:pt>
                <c:pt idx="3157">
                  <c:v>258.10000000000002</c:v>
                </c:pt>
                <c:pt idx="3158">
                  <c:v>257.51</c:v>
                </c:pt>
                <c:pt idx="3159">
                  <c:v>257.08</c:v>
                </c:pt>
                <c:pt idx="3160">
                  <c:v>263.81</c:v>
                </c:pt>
                <c:pt idx="3161">
                  <c:v>265.54000000000002</c:v>
                </c:pt>
                <c:pt idx="3162">
                  <c:v>266.48999999999995</c:v>
                </c:pt>
                <c:pt idx="3163">
                  <c:v>265.18</c:v>
                </c:pt>
                <c:pt idx="3164">
                  <c:v>265.56</c:v>
                </c:pt>
                <c:pt idx="3165">
                  <c:v>264.05</c:v>
                </c:pt>
                <c:pt idx="3166">
                  <c:v>264.44</c:v>
                </c:pt>
                <c:pt idx="3167">
                  <c:v>269.24</c:v>
                </c:pt>
                <c:pt idx="3168">
                  <c:v>267.06</c:v>
                </c:pt>
                <c:pt idx="3169">
                  <c:v>271.32</c:v>
                </c:pt>
                <c:pt idx="3170">
                  <c:v>275.52</c:v>
                </c:pt>
                <c:pt idx="3171">
                  <c:v>274.83</c:v>
                </c:pt>
              </c:numCache>
            </c:numRef>
          </c:val>
        </c:ser>
        <c:ser>
          <c:idx val="1"/>
          <c:order val="1"/>
          <c:tx>
            <c:strRef>
              <c:f>Sheet1!$C$1</c:f>
              <c:strCache>
                <c:ptCount val="1"/>
                <c:pt idx="0">
                  <c:v>stoxxEu600</c:v>
                </c:pt>
              </c:strCache>
            </c:strRef>
          </c:tx>
          <c:marker>
            <c:symbol val="none"/>
          </c:marker>
          <c:cat>
            <c:numRef>
              <c:f>Sheet1!$A$2:$A$3173</c:f>
              <c:numCache>
                <c:formatCode>m/d/yyyy</c:formatCode>
                <c:ptCount val="3172"/>
                <c:pt idx="0">
                  <c:v>36605</c:v>
                </c:pt>
                <c:pt idx="1">
                  <c:v>36606</c:v>
                </c:pt>
                <c:pt idx="2">
                  <c:v>36607</c:v>
                </c:pt>
                <c:pt idx="3">
                  <c:v>36608</c:v>
                </c:pt>
                <c:pt idx="4">
                  <c:v>36609</c:v>
                </c:pt>
                <c:pt idx="5">
                  <c:v>36612</c:v>
                </c:pt>
                <c:pt idx="6">
                  <c:v>36613</c:v>
                </c:pt>
                <c:pt idx="7">
                  <c:v>36614</c:v>
                </c:pt>
                <c:pt idx="8">
                  <c:v>36615</c:v>
                </c:pt>
                <c:pt idx="9">
                  <c:v>36616</c:v>
                </c:pt>
                <c:pt idx="10">
                  <c:v>36619</c:v>
                </c:pt>
                <c:pt idx="11">
                  <c:v>36620</c:v>
                </c:pt>
                <c:pt idx="12">
                  <c:v>36621</c:v>
                </c:pt>
                <c:pt idx="13">
                  <c:v>36622</c:v>
                </c:pt>
                <c:pt idx="14">
                  <c:v>36623</c:v>
                </c:pt>
                <c:pt idx="15">
                  <c:v>36626</c:v>
                </c:pt>
                <c:pt idx="16">
                  <c:v>36627</c:v>
                </c:pt>
                <c:pt idx="17">
                  <c:v>36628</c:v>
                </c:pt>
                <c:pt idx="18">
                  <c:v>36629</c:v>
                </c:pt>
                <c:pt idx="19">
                  <c:v>36630</c:v>
                </c:pt>
                <c:pt idx="20">
                  <c:v>36633</c:v>
                </c:pt>
                <c:pt idx="21">
                  <c:v>36634</c:v>
                </c:pt>
                <c:pt idx="22">
                  <c:v>36635</c:v>
                </c:pt>
                <c:pt idx="23">
                  <c:v>36636</c:v>
                </c:pt>
                <c:pt idx="24">
                  <c:v>36637</c:v>
                </c:pt>
                <c:pt idx="25">
                  <c:v>36640</c:v>
                </c:pt>
                <c:pt idx="26">
                  <c:v>36641</c:v>
                </c:pt>
                <c:pt idx="27">
                  <c:v>36642</c:v>
                </c:pt>
                <c:pt idx="28">
                  <c:v>36643</c:v>
                </c:pt>
                <c:pt idx="29">
                  <c:v>36644</c:v>
                </c:pt>
                <c:pt idx="30">
                  <c:v>36647</c:v>
                </c:pt>
                <c:pt idx="31">
                  <c:v>36648</c:v>
                </c:pt>
                <c:pt idx="32">
                  <c:v>36649</c:v>
                </c:pt>
                <c:pt idx="33">
                  <c:v>36650</c:v>
                </c:pt>
                <c:pt idx="34">
                  <c:v>36651</c:v>
                </c:pt>
                <c:pt idx="35">
                  <c:v>36654</c:v>
                </c:pt>
                <c:pt idx="36">
                  <c:v>36655</c:v>
                </c:pt>
                <c:pt idx="37">
                  <c:v>36656</c:v>
                </c:pt>
                <c:pt idx="38">
                  <c:v>36657</c:v>
                </c:pt>
                <c:pt idx="39">
                  <c:v>36658</c:v>
                </c:pt>
                <c:pt idx="40">
                  <c:v>36661</c:v>
                </c:pt>
                <c:pt idx="41">
                  <c:v>36662</c:v>
                </c:pt>
                <c:pt idx="42">
                  <c:v>36663</c:v>
                </c:pt>
                <c:pt idx="43">
                  <c:v>36664</c:v>
                </c:pt>
                <c:pt idx="44">
                  <c:v>36665</c:v>
                </c:pt>
                <c:pt idx="45">
                  <c:v>36668</c:v>
                </c:pt>
                <c:pt idx="46">
                  <c:v>36669</c:v>
                </c:pt>
                <c:pt idx="47">
                  <c:v>36670</c:v>
                </c:pt>
                <c:pt idx="48">
                  <c:v>36671</c:v>
                </c:pt>
                <c:pt idx="49">
                  <c:v>36672</c:v>
                </c:pt>
                <c:pt idx="50">
                  <c:v>36675</c:v>
                </c:pt>
                <c:pt idx="51">
                  <c:v>36676</c:v>
                </c:pt>
                <c:pt idx="52">
                  <c:v>36677</c:v>
                </c:pt>
                <c:pt idx="53">
                  <c:v>36678</c:v>
                </c:pt>
                <c:pt idx="54">
                  <c:v>36679</c:v>
                </c:pt>
                <c:pt idx="55">
                  <c:v>36682</c:v>
                </c:pt>
                <c:pt idx="56">
                  <c:v>36683</c:v>
                </c:pt>
                <c:pt idx="57">
                  <c:v>36684</c:v>
                </c:pt>
                <c:pt idx="58">
                  <c:v>36685</c:v>
                </c:pt>
                <c:pt idx="59">
                  <c:v>36686</c:v>
                </c:pt>
                <c:pt idx="60">
                  <c:v>36689</c:v>
                </c:pt>
                <c:pt idx="61">
                  <c:v>36690</c:v>
                </c:pt>
                <c:pt idx="62">
                  <c:v>36691</c:v>
                </c:pt>
                <c:pt idx="63">
                  <c:v>36692</c:v>
                </c:pt>
                <c:pt idx="64">
                  <c:v>36693</c:v>
                </c:pt>
                <c:pt idx="65">
                  <c:v>36696</c:v>
                </c:pt>
                <c:pt idx="66">
                  <c:v>36697</c:v>
                </c:pt>
                <c:pt idx="67">
                  <c:v>36698</c:v>
                </c:pt>
                <c:pt idx="68">
                  <c:v>36699</c:v>
                </c:pt>
                <c:pt idx="69">
                  <c:v>36700</c:v>
                </c:pt>
                <c:pt idx="70">
                  <c:v>36703</c:v>
                </c:pt>
                <c:pt idx="71">
                  <c:v>36704</c:v>
                </c:pt>
                <c:pt idx="72">
                  <c:v>36705</c:v>
                </c:pt>
                <c:pt idx="73">
                  <c:v>36706</c:v>
                </c:pt>
                <c:pt idx="74">
                  <c:v>36707</c:v>
                </c:pt>
                <c:pt idx="75">
                  <c:v>36710</c:v>
                </c:pt>
                <c:pt idx="76">
                  <c:v>36711</c:v>
                </c:pt>
                <c:pt idx="77">
                  <c:v>36712</c:v>
                </c:pt>
                <c:pt idx="78">
                  <c:v>36713</c:v>
                </c:pt>
                <c:pt idx="79">
                  <c:v>36714</c:v>
                </c:pt>
                <c:pt idx="80">
                  <c:v>36717</c:v>
                </c:pt>
                <c:pt idx="81">
                  <c:v>36718</c:v>
                </c:pt>
                <c:pt idx="82">
                  <c:v>36719</c:v>
                </c:pt>
                <c:pt idx="83">
                  <c:v>36720</c:v>
                </c:pt>
                <c:pt idx="84">
                  <c:v>36721</c:v>
                </c:pt>
                <c:pt idx="85">
                  <c:v>36724</c:v>
                </c:pt>
                <c:pt idx="86">
                  <c:v>36725</c:v>
                </c:pt>
                <c:pt idx="87">
                  <c:v>36726</c:v>
                </c:pt>
                <c:pt idx="88">
                  <c:v>36727</c:v>
                </c:pt>
                <c:pt idx="89">
                  <c:v>36728</c:v>
                </c:pt>
                <c:pt idx="90">
                  <c:v>36731</c:v>
                </c:pt>
                <c:pt idx="91">
                  <c:v>36732</c:v>
                </c:pt>
                <c:pt idx="92">
                  <c:v>36733</c:v>
                </c:pt>
                <c:pt idx="93">
                  <c:v>36734</c:v>
                </c:pt>
                <c:pt idx="94">
                  <c:v>36735</c:v>
                </c:pt>
                <c:pt idx="95">
                  <c:v>36738</c:v>
                </c:pt>
                <c:pt idx="96">
                  <c:v>36739</c:v>
                </c:pt>
                <c:pt idx="97">
                  <c:v>36740</c:v>
                </c:pt>
                <c:pt idx="98">
                  <c:v>36741</c:v>
                </c:pt>
                <c:pt idx="99">
                  <c:v>36742</c:v>
                </c:pt>
                <c:pt idx="100">
                  <c:v>36745</c:v>
                </c:pt>
                <c:pt idx="101">
                  <c:v>36746</c:v>
                </c:pt>
                <c:pt idx="102">
                  <c:v>36747</c:v>
                </c:pt>
                <c:pt idx="103">
                  <c:v>36748</c:v>
                </c:pt>
                <c:pt idx="104">
                  <c:v>36749</c:v>
                </c:pt>
                <c:pt idx="105">
                  <c:v>36752</c:v>
                </c:pt>
                <c:pt idx="106">
                  <c:v>36753</c:v>
                </c:pt>
                <c:pt idx="107">
                  <c:v>36754</c:v>
                </c:pt>
                <c:pt idx="108">
                  <c:v>36755</c:v>
                </c:pt>
                <c:pt idx="109">
                  <c:v>36756</c:v>
                </c:pt>
                <c:pt idx="110">
                  <c:v>36759</c:v>
                </c:pt>
                <c:pt idx="111">
                  <c:v>36760</c:v>
                </c:pt>
                <c:pt idx="112">
                  <c:v>36761</c:v>
                </c:pt>
                <c:pt idx="113">
                  <c:v>36762</c:v>
                </c:pt>
                <c:pt idx="114">
                  <c:v>36763</c:v>
                </c:pt>
                <c:pt idx="115">
                  <c:v>36766</c:v>
                </c:pt>
                <c:pt idx="116">
                  <c:v>36767</c:v>
                </c:pt>
                <c:pt idx="117">
                  <c:v>36768</c:v>
                </c:pt>
                <c:pt idx="118">
                  <c:v>36769</c:v>
                </c:pt>
                <c:pt idx="119">
                  <c:v>36770</c:v>
                </c:pt>
                <c:pt idx="120">
                  <c:v>36773</c:v>
                </c:pt>
                <c:pt idx="121">
                  <c:v>36774</c:v>
                </c:pt>
                <c:pt idx="122">
                  <c:v>36775</c:v>
                </c:pt>
                <c:pt idx="123">
                  <c:v>36776</c:v>
                </c:pt>
                <c:pt idx="124">
                  <c:v>36777</c:v>
                </c:pt>
                <c:pt idx="125">
                  <c:v>36780</c:v>
                </c:pt>
                <c:pt idx="126">
                  <c:v>36781</c:v>
                </c:pt>
                <c:pt idx="127">
                  <c:v>36782</c:v>
                </c:pt>
                <c:pt idx="128">
                  <c:v>36783</c:v>
                </c:pt>
                <c:pt idx="129">
                  <c:v>36784</c:v>
                </c:pt>
                <c:pt idx="130">
                  <c:v>36787</c:v>
                </c:pt>
                <c:pt idx="131">
                  <c:v>36788</c:v>
                </c:pt>
                <c:pt idx="132">
                  <c:v>36789</c:v>
                </c:pt>
                <c:pt idx="133">
                  <c:v>36790</c:v>
                </c:pt>
                <c:pt idx="134">
                  <c:v>36791</c:v>
                </c:pt>
                <c:pt idx="135">
                  <c:v>36794</c:v>
                </c:pt>
                <c:pt idx="136">
                  <c:v>36795</c:v>
                </c:pt>
                <c:pt idx="137">
                  <c:v>36796</c:v>
                </c:pt>
                <c:pt idx="138">
                  <c:v>36797</c:v>
                </c:pt>
                <c:pt idx="139">
                  <c:v>36798</c:v>
                </c:pt>
                <c:pt idx="140">
                  <c:v>36801</c:v>
                </c:pt>
                <c:pt idx="141">
                  <c:v>36802</c:v>
                </c:pt>
                <c:pt idx="142">
                  <c:v>36803</c:v>
                </c:pt>
                <c:pt idx="143">
                  <c:v>36804</c:v>
                </c:pt>
                <c:pt idx="144">
                  <c:v>36805</c:v>
                </c:pt>
                <c:pt idx="145">
                  <c:v>36808</c:v>
                </c:pt>
                <c:pt idx="146">
                  <c:v>36809</c:v>
                </c:pt>
                <c:pt idx="147">
                  <c:v>36810</c:v>
                </c:pt>
                <c:pt idx="148">
                  <c:v>36811</c:v>
                </c:pt>
                <c:pt idx="149">
                  <c:v>36812</c:v>
                </c:pt>
                <c:pt idx="150">
                  <c:v>36815</c:v>
                </c:pt>
                <c:pt idx="151">
                  <c:v>36816</c:v>
                </c:pt>
                <c:pt idx="152">
                  <c:v>36817</c:v>
                </c:pt>
                <c:pt idx="153">
                  <c:v>36818</c:v>
                </c:pt>
                <c:pt idx="154">
                  <c:v>36819</c:v>
                </c:pt>
                <c:pt idx="155">
                  <c:v>36822</c:v>
                </c:pt>
                <c:pt idx="156">
                  <c:v>36823</c:v>
                </c:pt>
                <c:pt idx="157">
                  <c:v>36824</c:v>
                </c:pt>
                <c:pt idx="158">
                  <c:v>36825</c:v>
                </c:pt>
                <c:pt idx="159">
                  <c:v>36826</c:v>
                </c:pt>
                <c:pt idx="160">
                  <c:v>36829</c:v>
                </c:pt>
                <c:pt idx="161">
                  <c:v>36830</c:v>
                </c:pt>
                <c:pt idx="162">
                  <c:v>36831</c:v>
                </c:pt>
                <c:pt idx="163">
                  <c:v>36832</c:v>
                </c:pt>
                <c:pt idx="164">
                  <c:v>36833</c:v>
                </c:pt>
                <c:pt idx="165">
                  <c:v>36836</c:v>
                </c:pt>
                <c:pt idx="166">
                  <c:v>36837</c:v>
                </c:pt>
                <c:pt idx="167">
                  <c:v>36838</c:v>
                </c:pt>
                <c:pt idx="168">
                  <c:v>36839</c:v>
                </c:pt>
                <c:pt idx="169">
                  <c:v>36840</c:v>
                </c:pt>
                <c:pt idx="170">
                  <c:v>36843</c:v>
                </c:pt>
                <c:pt idx="171">
                  <c:v>36844</c:v>
                </c:pt>
                <c:pt idx="172">
                  <c:v>36845</c:v>
                </c:pt>
                <c:pt idx="173">
                  <c:v>36846</c:v>
                </c:pt>
                <c:pt idx="174">
                  <c:v>36847</c:v>
                </c:pt>
                <c:pt idx="175">
                  <c:v>36850</c:v>
                </c:pt>
                <c:pt idx="176">
                  <c:v>36851</c:v>
                </c:pt>
                <c:pt idx="177">
                  <c:v>36852</c:v>
                </c:pt>
                <c:pt idx="178">
                  <c:v>36853</c:v>
                </c:pt>
                <c:pt idx="179">
                  <c:v>36854</c:v>
                </c:pt>
                <c:pt idx="180">
                  <c:v>36857</c:v>
                </c:pt>
                <c:pt idx="181">
                  <c:v>36858</c:v>
                </c:pt>
                <c:pt idx="182">
                  <c:v>36859</c:v>
                </c:pt>
                <c:pt idx="183">
                  <c:v>36860</c:v>
                </c:pt>
                <c:pt idx="184">
                  <c:v>36861</c:v>
                </c:pt>
                <c:pt idx="185">
                  <c:v>36864</c:v>
                </c:pt>
                <c:pt idx="186">
                  <c:v>36865</c:v>
                </c:pt>
                <c:pt idx="187">
                  <c:v>36866</c:v>
                </c:pt>
                <c:pt idx="188">
                  <c:v>36867</c:v>
                </c:pt>
                <c:pt idx="189">
                  <c:v>36868</c:v>
                </c:pt>
                <c:pt idx="190">
                  <c:v>36871</c:v>
                </c:pt>
                <c:pt idx="191">
                  <c:v>36872</c:v>
                </c:pt>
                <c:pt idx="192">
                  <c:v>36873</c:v>
                </c:pt>
                <c:pt idx="193">
                  <c:v>36874</c:v>
                </c:pt>
                <c:pt idx="194">
                  <c:v>36875</c:v>
                </c:pt>
                <c:pt idx="195">
                  <c:v>36878</c:v>
                </c:pt>
                <c:pt idx="196">
                  <c:v>36879</c:v>
                </c:pt>
                <c:pt idx="197">
                  <c:v>36880</c:v>
                </c:pt>
                <c:pt idx="198">
                  <c:v>36881</c:v>
                </c:pt>
                <c:pt idx="199">
                  <c:v>36882</c:v>
                </c:pt>
                <c:pt idx="200">
                  <c:v>36885</c:v>
                </c:pt>
                <c:pt idx="201">
                  <c:v>36886</c:v>
                </c:pt>
                <c:pt idx="202">
                  <c:v>36887</c:v>
                </c:pt>
                <c:pt idx="203">
                  <c:v>36888</c:v>
                </c:pt>
                <c:pt idx="204">
                  <c:v>36889</c:v>
                </c:pt>
                <c:pt idx="205">
                  <c:v>36892</c:v>
                </c:pt>
                <c:pt idx="206">
                  <c:v>36893</c:v>
                </c:pt>
                <c:pt idx="207">
                  <c:v>36894</c:v>
                </c:pt>
                <c:pt idx="208">
                  <c:v>36895</c:v>
                </c:pt>
                <c:pt idx="209">
                  <c:v>36896</c:v>
                </c:pt>
                <c:pt idx="210">
                  <c:v>36899</c:v>
                </c:pt>
                <c:pt idx="211">
                  <c:v>36900</c:v>
                </c:pt>
                <c:pt idx="212">
                  <c:v>36901</c:v>
                </c:pt>
                <c:pt idx="213">
                  <c:v>36902</c:v>
                </c:pt>
                <c:pt idx="214">
                  <c:v>36903</c:v>
                </c:pt>
                <c:pt idx="215">
                  <c:v>36906</c:v>
                </c:pt>
                <c:pt idx="216">
                  <c:v>36907</c:v>
                </c:pt>
                <c:pt idx="217">
                  <c:v>36908</c:v>
                </c:pt>
                <c:pt idx="218">
                  <c:v>36909</c:v>
                </c:pt>
                <c:pt idx="219">
                  <c:v>36910</c:v>
                </c:pt>
                <c:pt idx="220">
                  <c:v>36913</c:v>
                </c:pt>
                <c:pt idx="221">
                  <c:v>36914</c:v>
                </c:pt>
                <c:pt idx="222">
                  <c:v>36915</c:v>
                </c:pt>
                <c:pt idx="223">
                  <c:v>36916</c:v>
                </c:pt>
                <c:pt idx="224">
                  <c:v>36917</c:v>
                </c:pt>
                <c:pt idx="225">
                  <c:v>36920</c:v>
                </c:pt>
                <c:pt idx="226">
                  <c:v>36921</c:v>
                </c:pt>
                <c:pt idx="227">
                  <c:v>36922</c:v>
                </c:pt>
                <c:pt idx="228">
                  <c:v>36923</c:v>
                </c:pt>
                <c:pt idx="229">
                  <c:v>36924</c:v>
                </c:pt>
                <c:pt idx="230">
                  <c:v>36927</c:v>
                </c:pt>
                <c:pt idx="231">
                  <c:v>36928</c:v>
                </c:pt>
                <c:pt idx="232">
                  <c:v>36929</c:v>
                </c:pt>
                <c:pt idx="233">
                  <c:v>36930</c:v>
                </c:pt>
                <c:pt idx="234">
                  <c:v>36931</c:v>
                </c:pt>
                <c:pt idx="235">
                  <c:v>36934</c:v>
                </c:pt>
                <c:pt idx="236">
                  <c:v>36935</c:v>
                </c:pt>
                <c:pt idx="237">
                  <c:v>36936</c:v>
                </c:pt>
                <c:pt idx="238">
                  <c:v>36937</c:v>
                </c:pt>
                <c:pt idx="239">
                  <c:v>36938</c:v>
                </c:pt>
                <c:pt idx="240">
                  <c:v>36941</c:v>
                </c:pt>
                <c:pt idx="241">
                  <c:v>36942</c:v>
                </c:pt>
                <c:pt idx="242">
                  <c:v>36943</c:v>
                </c:pt>
                <c:pt idx="243">
                  <c:v>36944</c:v>
                </c:pt>
                <c:pt idx="244">
                  <c:v>36945</c:v>
                </c:pt>
                <c:pt idx="245">
                  <c:v>36948</c:v>
                </c:pt>
                <c:pt idx="246">
                  <c:v>36949</c:v>
                </c:pt>
                <c:pt idx="247">
                  <c:v>36950</c:v>
                </c:pt>
                <c:pt idx="248">
                  <c:v>36951</c:v>
                </c:pt>
                <c:pt idx="249">
                  <c:v>36952</c:v>
                </c:pt>
                <c:pt idx="250">
                  <c:v>36955</c:v>
                </c:pt>
                <c:pt idx="251">
                  <c:v>36956</c:v>
                </c:pt>
                <c:pt idx="252">
                  <c:v>36957</c:v>
                </c:pt>
                <c:pt idx="253">
                  <c:v>36958</c:v>
                </c:pt>
                <c:pt idx="254">
                  <c:v>36959</c:v>
                </c:pt>
                <c:pt idx="255">
                  <c:v>36962</c:v>
                </c:pt>
                <c:pt idx="256">
                  <c:v>36963</c:v>
                </c:pt>
                <c:pt idx="257">
                  <c:v>36964</c:v>
                </c:pt>
                <c:pt idx="258">
                  <c:v>36965</c:v>
                </c:pt>
                <c:pt idx="259">
                  <c:v>36966</c:v>
                </c:pt>
                <c:pt idx="260">
                  <c:v>36969</c:v>
                </c:pt>
                <c:pt idx="261">
                  <c:v>36970</c:v>
                </c:pt>
                <c:pt idx="262">
                  <c:v>36971</c:v>
                </c:pt>
                <c:pt idx="263">
                  <c:v>36972</c:v>
                </c:pt>
                <c:pt idx="264">
                  <c:v>36973</c:v>
                </c:pt>
                <c:pt idx="265">
                  <c:v>36976</c:v>
                </c:pt>
                <c:pt idx="266">
                  <c:v>36977</c:v>
                </c:pt>
                <c:pt idx="267">
                  <c:v>36978</c:v>
                </c:pt>
                <c:pt idx="268">
                  <c:v>36979</c:v>
                </c:pt>
                <c:pt idx="269">
                  <c:v>36980</c:v>
                </c:pt>
                <c:pt idx="270">
                  <c:v>36983</c:v>
                </c:pt>
                <c:pt idx="271">
                  <c:v>36984</c:v>
                </c:pt>
                <c:pt idx="272">
                  <c:v>36985</c:v>
                </c:pt>
                <c:pt idx="273">
                  <c:v>36986</c:v>
                </c:pt>
                <c:pt idx="274">
                  <c:v>36987</c:v>
                </c:pt>
                <c:pt idx="275">
                  <c:v>36990</c:v>
                </c:pt>
                <c:pt idx="276">
                  <c:v>36991</c:v>
                </c:pt>
                <c:pt idx="277">
                  <c:v>36992</c:v>
                </c:pt>
                <c:pt idx="278">
                  <c:v>36993</c:v>
                </c:pt>
                <c:pt idx="279">
                  <c:v>36994</c:v>
                </c:pt>
                <c:pt idx="280">
                  <c:v>36997</c:v>
                </c:pt>
                <c:pt idx="281">
                  <c:v>36998</c:v>
                </c:pt>
                <c:pt idx="282">
                  <c:v>36999</c:v>
                </c:pt>
                <c:pt idx="283">
                  <c:v>37000</c:v>
                </c:pt>
                <c:pt idx="284">
                  <c:v>37001</c:v>
                </c:pt>
                <c:pt idx="285">
                  <c:v>37004</c:v>
                </c:pt>
                <c:pt idx="286">
                  <c:v>37005</c:v>
                </c:pt>
                <c:pt idx="287">
                  <c:v>37006</c:v>
                </c:pt>
                <c:pt idx="288">
                  <c:v>37007</c:v>
                </c:pt>
                <c:pt idx="289">
                  <c:v>37008</c:v>
                </c:pt>
                <c:pt idx="290">
                  <c:v>37011</c:v>
                </c:pt>
                <c:pt idx="291">
                  <c:v>37012</c:v>
                </c:pt>
                <c:pt idx="292">
                  <c:v>37013</c:v>
                </c:pt>
                <c:pt idx="293">
                  <c:v>37014</c:v>
                </c:pt>
                <c:pt idx="294">
                  <c:v>37015</c:v>
                </c:pt>
                <c:pt idx="295">
                  <c:v>37018</c:v>
                </c:pt>
                <c:pt idx="296">
                  <c:v>37019</c:v>
                </c:pt>
                <c:pt idx="297">
                  <c:v>37020</c:v>
                </c:pt>
                <c:pt idx="298">
                  <c:v>37021</c:v>
                </c:pt>
                <c:pt idx="299">
                  <c:v>37022</c:v>
                </c:pt>
                <c:pt idx="300">
                  <c:v>37025</c:v>
                </c:pt>
                <c:pt idx="301">
                  <c:v>37026</c:v>
                </c:pt>
                <c:pt idx="302">
                  <c:v>37027</c:v>
                </c:pt>
                <c:pt idx="303">
                  <c:v>37028</c:v>
                </c:pt>
                <c:pt idx="304">
                  <c:v>37029</c:v>
                </c:pt>
                <c:pt idx="305">
                  <c:v>37032</c:v>
                </c:pt>
                <c:pt idx="306">
                  <c:v>37033</c:v>
                </c:pt>
                <c:pt idx="307">
                  <c:v>37034</c:v>
                </c:pt>
                <c:pt idx="308">
                  <c:v>37035</c:v>
                </c:pt>
                <c:pt idx="309">
                  <c:v>37036</c:v>
                </c:pt>
                <c:pt idx="310">
                  <c:v>37039</c:v>
                </c:pt>
                <c:pt idx="311">
                  <c:v>37040</c:v>
                </c:pt>
                <c:pt idx="312">
                  <c:v>37041</c:v>
                </c:pt>
                <c:pt idx="313">
                  <c:v>37042</c:v>
                </c:pt>
                <c:pt idx="314">
                  <c:v>37043</c:v>
                </c:pt>
                <c:pt idx="315">
                  <c:v>37046</c:v>
                </c:pt>
                <c:pt idx="316">
                  <c:v>37047</c:v>
                </c:pt>
                <c:pt idx="317">
                  <c:v>37048</c:v>
                </c:pt>
                <c:pt idx="318">
                  <c:v>37049</c:v>
                </c:pt>
                <c:pt idx="319">
                  <c:v>37050</c:v>
                </c:pt>
                <c:pt idx="320">
                  <c:v>37053</c:v>
                </c:pt>
                <c:pt idx="321">
                  <c:v>37054</c:v>
                </c:pt>
                <c:pt idx="322">
                  <c:v>37055</c:v>
                </c:pt>
                <c:pt idx="323">
                  <c:v>37056</c:v>
                </c:pt>
                <c:pt idx="324">
                  <c:v>37057</c:v>
                </c:pt>
                <c:pt idx="325">
                  <c:v>37060</c:v>
                </c:pt>
                <c:pt idx="326">
                  <c:v>37061</c:v>
                </c:pt>
                <c:pt idx="327">
                  <c:v>37062</c:v>
                </c:pt>
                <c:pt idx="328">
                  <c:v>37063</c:v>
                </c:pt>
                <c:pt idx="329">
                  <c:v>37064</c:v>
                </c:pt>
                <c:pt idx="330">
                  <c:v>37067</c:v>
                </c:pt>
                <c:pt idx="331">
                  <c:v>37068</c:v>
                </c:pt>
                <c:pt idx="332">
                  <c:v>37069</c:v>
                </c:pt>
                <c:pt idx="333">
                  <c:v>37070</c:v>
                </c:pt>
                <c:pt idx="334">
                  <c:v>37071</c:v>
                </c:pt>
                <c:pt idx="335">
                  <c:v>37074</c:v>
                </c:pt>
                <c:pt idx="336">
                  <c:v>37075</c:v>
                </c:pt>
                <c:pt idx="337">
                  <c:v>37076</c:v>
                </c:pt>
                <c:pt idx="338">
                  <c:v>37077</c:v>
                </c:pt>
                <c:pt idx="339">
                  <c:v>37078</c:v>
                </c:pt>
                <c:pt idx="340">
                  <c:v>37081</c:v>
                </c:pt>
                <c:pt idx="341">
                  <c:v>37082</c:v>
                </c:pt>
                <c:pt idx="342">
                  <c:v>37083</c:v>
                </c:pt>
                <c:pt idx="343">
                  <c:v>37084</c:v>
                </c:pt>
                <c:pt idx="344">
                  <c:v>37085</c:v>
                </c:pt>
                <c:pt idx="345">
                  <c:v>37088</c:v>
                </c:pt>
                <c:pt idx="346">
                  <c:v>37089</c:v>
                </c:pt>
                <c:pt idx="347">
                  <c:v>37090</c:v>
                </c:pt>
                <c:pt idx="348">
                  <c:v>37091</c:v>
                </c:pt>
                <c:pt idx="349">
                  <c:v>37092</c:v>
                </c:pt>
                <c:pt idx="350">
                  <c:v>37095</c:v>
                </c:pt>
                <c:pt idx="351">
                  <c:v>37096</c:v>
                </c:pt>
                <c:pt idx="352">
                  <c:v>37097</c:v>
                </c:pt>
                <c:pt idx="353">
                  <c:v>37098</c:v>
                </c:pt>
                <c:pt idx="354">
                  <c:v>37099</c:v>
                </c:pt>
                <c:pt idx="355">
                  <c:v>37102</c:v>
                </c:pt>
                <c:pt idx="356">
                  <c:v>37103</c:v>
                </c:pt>
                <c:pt idx="357">
                  <c:v>37104</c:v>
                </c:pt>
                <c:pt idx="358">
                  <c:v>37105</c:v>
                </c:pt>
                <c:pt idx="359">
                  <c:v>37106</c:v>
                </c:pt>
                <c:pt idx="360">
                  <c:v>37109</c:v>
                </c:pt>
                <c:pt idx="361">
                  <c:v>37110</c:v>
                </c:pt>
                <c:pt idx="362">
                  <c:v>37111</c:v>
                </c:pt>
                <c:pt idx="363">
                  <c:v>37112</c:v>
                </c:pt>
                <c:pt idx="364">
                  <c:v>37113</c:v>
                </c:pt>
                <c:pt idx="365">
                  <c:v>37116</c:v>
                </c:pt>
                <c:pt idx="366">
                  <c:v>37117</c:v>
                </c:pt>
                <c:pt idx="367">
                  <c:v>37118</c:v>
                </c:pt>
                <c:pt idx="368">
                  <c:v>37119</c:v>
                </c:pt>
                <c:pt idx="369">
                  <c:v>37120</c:v>
                </c:pt>
                <c:pt idx="370">
                  <c:v>37123</c:v>
                </c:pt>
                <c:pt idx="371">
                  <c:v>37124</c:v>
                </c:pt>
                <c:pt idx="372">
                  <c:v>37125</c:v>
                </c:pt>
                <c:pt idx="373">
                  <c:v>37126</c:v>
                </c:pt>
                <c:pt idx="374">
                  <c:v>37127</c:v>
                </c:pt>
                <c:pt idx="375">
                  <c:v>37130</c:v>
                </c:pt>
                <c:pt idx="376">
                  <c:v>37131</c:v>
                </c:pt>
                <c:pt idx="377">
                  <c:v>37132</c:v>
                </c:pt>
                <c:pt idx="378">
                  <c:v>37133</c:v>
                </c:pt>
                <c:pt idx="379">
                  <c:v>37134</c:v>
                </c:pt>
                <c:pt idx="380">
                  <c:v>37137</c:v>
                </c:pt>
                <c:pt idx="381">
                  <c:v>37138</c:v>
                </c:pt>
                <c:pt idx="382">
                  <c:v>37139</c:v>
                </c:pt>
                <c:pt idx="383">
                  <c:v>37140</c:v>
                </c:pt>
                <c:pt idx="384">
                  <c:v>37141</c:v>
                </c:pt>
                <c:pt idx="385">
                  <c:v>37144</c:v>
                </c:pt>
                <c:pt idx="386">
                  <c:v>37145</c:v>
                </c:pt>
                <c:pt idx="387">
                  <c:v>37146</c:v>
                </c:pt>
                <c:pt idx="388">
                  <c:v>37147</c:v>
                </c:pt>
                <c:pt idx="389">
                  <c:v>37148</c:v>
                </c:pt>
                <c:pt idx="390">
                  <c:v>37151</c:v>
                </c:pt>
                <c:pt idx="391">
                  <c:v>37152</c:v>
                </c:pt>
                <c:pt idx="392">
                  <c:v>37153</c:v>
                </c:pt>
                <c:pt idx="393">
                  <c:v>37154</c:v>
                </c:pt>
                <c:pt idx="394">
                  <c:v>37155</c:v>
                </c:pt>
                <c:pt idx="395">
                  <c:v>37158</c:v>
                </c:pt>
                <c:pt idx="396">
                  <c:v>37159</c:v>
                </c:pt>
                <c:pt idx="397">
                  <c:v>37160</c:v>
                </c:pt>
                <c:pt idx="398">
                  <c:v>37161</c:v>
                </c:pt>
                <c:pt idx="399">
                  <c:v>37162</c:v>
                </c:pt>
                <c:pt idx="400">
                  <c:v>37165</c:v>
                </c:pt>
                <c:pt idx="401">
                  <c:v>37166</c:v>
                </c:pt>
                <c:pt idx="402">
                  <c:v>37167</c:v>
                </c:pt>
                <c:pt idx="403">
                  <c:v>37168</c:v>
                </c:pt>
                <c:pt idx="404">
                  <c:v>37169</c:v>
                </c:pt>
                <c:pt idx="405">
                  <c:v>37172</c:v>
                </c:pt>
                <c:pt idx="406">
                  <c:v>37173</c:v>
                </c:pt>
                <c:pt idx="407">
                  <c:v>37174</c:v>
                </c:pt>
                <c:pt idx="408">
                  <c:v>37175</c:v>
                </c:pt>
                <c:pt idx="409">
                  <c:v>37176</c:v>
                </c:pt>
                <c:pt idx="410">
                  <c:v>37179</c:v>
                </c:pt>
                <c:pt idx="411">
                  <c:v>37180</c:v>
                </c:pt>
                <c:pt idx="412">
                  <c:v>37181</c:v>
                </c:pt>
                <c:pt idx="413">
                  <c:v>37182</c:v>
                </c:pt>
                <c:pt idx="414">
                  <c:v>37183</c:v>
                </c:pt>
                <c:pt idx="415">
                  <c:v>37186</c:v>
                </c:pt>
                <c:pt idx="416">
                  <c:v>37187</c:v>
                </c:pt>
                <c:pt idx="417">
                  <c:v>37188</c:v>
                </c:pt>
                <c:pt idx="418">
                  <c:v>37189</c:v>
                </c:pt>
                <c:pt idx="419">
                  <c:v>37190</c:v>
                </c:pt>
                <c:pt idx="420">
                  <c:v>37193</c:v>
                </c:pt>
                <c:pt idx="421">
                  <c:v>37194</c:v>
                </c:pt>
                <c:pt idx="422">
                  <c:v>37195</c:v>
                </c:pt>
                <c:pt idx="423">
                  <c:v>37196</c:v>
                </c:pt>
                <c:pt idx="424">
                  <c:v>37197</c:v>
                </c:pt>
                <c:pt idx="425">
                  <c:v>37200</c:v>
                </c:pt>
                <c:pt idx="426">
                  <c:v>37201</c:v>
                </c:pt>
                <c:pt idx="427">
                  <c:v>37202</c:v>
                </c:pt>
                <c:pt idx="428">
                  <c:v>37203</c:v>
                </c:pt>
                <c:pt idx="429">
                  <c:v>37204</c:v>
                </c:pt>
                <c:pt idx="430">
                  <c:v>37207</c:v>
                </c:pt>
                <c:pt idx="431">
                  <c:v>37208</c:v>
                </c:pt>
                <c:pt idx="432">
                  <c:v>37209</c:v>
                </c:pt>
                <c:pt idx="433">
                  <c:v>37210</c:v>
                </c:pt>
                <c:pt idx="434">
                  <c:v>37211</c:v>
                </c:pt>
                <c:pt idx="435">
                  <c:v>37214</c:v>
                </c:pt>
                <c:pt idx="436">
                  <c:v>37215</c:v>
                </c:pt>
                <c:pt idx="437">
                  <c:v>37216</c:v>
                </c:pt>
                <c:pt idx="438">
                  <c:v>37217</c:v>
                </c:pt>
                <c:pt idx="439">
                  <c:v>37218</c:v>
                </c:pt>
                <c:pt idx="440">
                  <c:v>37221</c:v>
                </c:pt>
                <c:pt idx="441">
                  <c:v>37222</c:v>
                </c:pt>
                <c:pt idx="442">
                  <c:v>37223</c:v>
                </c:pt>
                <c:pt idx="443">
                  <c:v>37224</c:v>
                </c:pt>
                <c:pt idx="444">
                  <c:v>37225</c:v>
                </c:pt>
                <c:pt idx="445">
                  <c:v>37228</c:v>
                </c:pt>
                <c:pt idx="446">
                  <c:v>37229</c:v>
                </c:pt>
                <c:pt idx="447">
                  <c:v>37230</c:v>
                </c:pt>
                <c:pt idx="448">
                  <c:v>37231</c:v>
                </c:pt>
                <c:pt idx="449">
                  <c:v>37232</c:v>
                </c:pt>
                <c:pt idx="450">
                  <c:v>37235</c:v>
                </c:pt>
                <c:pt idx="451">
                  <c:v>37236</c:v>
                </c:pt>
                <c:pt idx="452">
                  <c:v>37237</c:v>
                </c:pt>
                <c:pt idx="453">
                  <c:v>37238</c:v>
                </c:pt>
                <c:pt idx="454">
                  <c:v>37239</c:v>
                </c:pt>
                <c:pt idx="455">
                  <c:v>37242</c:v>
                </c:pt>
                <c:pt idx="456">
                  <c:v>37243</c:v>
                </c:pt>
                <c:pt idx="457">
                  <c:v>37244</c:v>
                </c:pt>
                <c:pt idx="458">
                  <c:v>37245</c:v>
                </c:pt>
                <c:pt idx="459">
                  <c:v>37246</c:v>
                </c:pt>
                <c:pt idx="460">
                  <c:v>37252</c:v>
                </c:pt>
                <c:pt idx="461">
                  <c:v>37253</c:v>
                </c:pt>
                <c:pt idx="462">
                  <c:v>37256</c:v>
                </c:pt>
                <c:pt idx="463">
                  <c:v>37257</c:v>
                </c:pt>
                <c:pt idx="464">
                  <c:v>37258</c:v>
                </c:pt>
                <c:pt idx="465">
                  <c:v>37259</c:v>
                </c:pt>
                <c:pt idx="466">
                  <c:v>37260</c:v>
                </c:pt>
                <c:pt idx="467">
                  <c:v>37263</c:v>
                </c:pt>
                <c:pt idx="468">
                  <c:v>37264</c:v>
                </c:pt>
                <c:pt idx="469">
                  <c:v>37265</c:v>
                </c:pt>
                <c:pt idx="470">
                  <c:v>37266</c:v>
                </c:pt>
                <c:pt idx="471">
                  <c:v>37267</c:v>
                </c:pt>
                <c:pt idx="472">
                  <c:v>37270</c:v>
                </c:pt>
                <c:pt idx="473">
                  <c:v>37271</c:v>
                </c:pt>
                <c:pt idx="474">
                  <c:v>37272</c:v>
                </c:pt>
                <c:pt idx="475">
                  <c:v>37273</c:v>
                </c:pt>
                <c:pt idx="476">
                  <c:v>37274</c:v>
                </c:pt>
                <c:pt idx="477">
                  <c:v>37277</c:v>
                </c:pt>
                <c:pt idx="478">
                  <c:v>37278</c:v>
                </c:pt>
                <c:pt idx="479">
                  <c:v>37279</c:v>
                </c:pt>
                <c:pt idx="480">
                  <c:v>37280</c:v>
                </c:pt>
                <c:pt idx="481">
                  <c:v>37281</c:v>
                </c:pt>
                <c:pt idx="482">
                  <c:v>37284</c:v>
                </c:pt>
                <c:pt idx="483">
                  <c:v>37285</c:v>
                </c:pt>
                <c:pt idx="484">
                  <c:v>37286</c:v>
                </c:pt>
                <c:pt idx="485">
                  <c:v>37287</c:v>
                </c:pt>
                <c:pt idx="486">
                  <c:v>37288</c:v>
                </c:pt>
                <c:pt idx="487">
                  <c:v>37291</c:v>
                </c:pt>
                <c:pt idx="488">
                  <c:v>37292</c:v>
                </c:pt>
                <c:pt idx="489">
                  <c:v>37293</c:v>
                </c:pt>
                <c:pt idx="490">
                  <c:v>37294</c:v>
                </c:pt>
                <c:pt idx="491">
                  <c:v>37295</c:v>
                </c:pt>
                <c:pt idx="492">
                  <c:v>37298</c:v>
                </c:pt>
                <c:pt idx="493">
                  <c:v>37299</c:v>
                </c:pt>
                <c:pt idx="494">
                  <c:v>37300</c:v>
                </c:pt>
                <c:pt idx="495">
                  <c:v>37301</c:v>
                </c:pt>
                <c:pt idx="496">
                  <c:v>37302</c:v>
                </c:pt>
                <c:pt idx="497">
                  <c:v>37305</c:v>
                </c:pt>
                <c:pt idx="498">
                  <c:v>37306</c:v>
                </c:pt>
                <c:pt idx="499">
                  <c:v>37307</c:v>
                </c:pt>
                <c:pt idx="500">
                  <c:v>37308</c:v>
                </c:pt>
                <c:pt idx="501">
                  <c:v>37309</c:v>
                </c:pt>
                <c:pt idx="502">
                  <c:v>37312</c:v>
                </c:pt>
                <c:pt idx="503">
                  <c:v>37313</c:v>
                </c:pt>
                <c:pt idx="504">
                  <c:v>37314</c:v>
                </c:pt>
                <c:pt idx="505">
                  <c:v>37315</c:v>
                </c:pt>
                <c:pt idx="506">
                  <c:v>37316</c:v>
                </c:pt>
                <c:pt idx="507">
                  <c:v>37319</c:v>
                </c:pt>
                <c:pt idx="508">
                  <c:v>37320</c:v>
                </c:pt>
                <c:pt idx="509">
                  <c:v>37321</c:v>
                </c:pt>
                <c:pt idx="510">
                  <c:v>37322</c:v>
                </c:pt>
                <c:pt idx="511">
                  <c:v>37323</c:v>
                </c:pt>
                <c:pt idx="512">
                  <c:v>37326</c:v>
                </c:pt>
                <c:pt idx="513">
                  <c:v>37327</c:v>
                </c:pt>
                <c:pt idx="514">
                  <c:v>37328</c:v>
                </c:pt>
                <c:pt idx="515">
                  <c:v>37329</c:v>
                </c:pt>
                <c:pt idx="516">
                  <c:v>37330</c:v>
                </c:pt>
                <c:pt idx="517">
                  <c:v>37333</c:v>
                </c:pt>
                <c:pt idx="518">
                  <c:v>37334</c:v>
                </c:pt>
                <c:pt idx="519">
                  <c:v>37335</c:v>
                </c:pt>
                <c:pt idx="520">
                  <c:v>37336</c:v>
                </c:pt>
                <c:pt idx="521">
                  <c:v>37337</c:v>
                </c:pt>
                <c:pt idx="522">
                  <c:v>37340</c:v>
                </c:pt>
                <c:pt idx="523">
                  <c:v>37341</c:v>
                </c:pt>
                <c:pt idx="524">
                  <c:v>37342</c:v>
                </c:pt>
                <c:pt idx="525">
                  <c:v>37343</c:v>
                </c:pt>
                <c:pt idx="526">
                  <c:v>37344</c:v>
                </c:pt>
                <c:pt idx="527">
                  <c:v>37347</c:v>
                </c:pt>
                <c:pt idx="528">
                  <c:v>37348</c:v>
                </c:pt>
                <c:pt idx="529">
                  <c:v>37349</c:v>
                </c:pt>
                <c:pt idx="530">
                  <c:v>37350</c:v>
                </c:pt>
                <c:pt idx="531">
                  <c:v>37351</c:v>
                </c:pt>
                <c:pt idx="532">
                  <c:v>37354</c:v>
                </c:pt>
                <c:pt idx="533">
                  <c:v>37355</c:v>
                </c:pt>
                <c:pt idx="534">
                  <c:v>37356</c:v>
                </c:pt>
                <c:pt idx="535">
                  <c:v>37357</c:v>
                </c:pt>
                <c:pt idx="536">
                  <c:v>37358</c:v>
                </c:pt>
                <c:pt idx="537">
                  <c:v>37361</c:v>
                </c:pt>
                <c:pt idx="538">
                  <c:v>37362</c:v>
                </c:pt>
                <c:pt idx="539">
                  <c:v>37363</c:v>
                </c:pt>
                <c:pt idx="540">
                  <c:v>37364</c:v>
                </c:pt>
                <c:pt idx="541">
                  <c:v>37365</c:v>
                </c:pt>
                <c:pt idx="542">
                  <c:v>37368</c:v>
                </c:pt>
                <c:pt idx="543">
                  <c:v>37369</c:v>
                </c:pt>
                <c:pt idx="544">
                  <c:v>37370</c:v>
                </c:pt>
                <c:pt idx="545">
                  <c:v>37371</c:v>
                </c:pt>
                <c:pt idx="546">
                  <c:v>37372</c:v>
                </c:pt>
                <c:pt idx="547">
                  <c:v>37375</c:v>
                </c:pt>
                <c:pt idx="548">
                  <c:v>37376</c:v>
                </c:pt>
                <c:pt idx="549">
                  <c:v>37377</c:v>
                </c:pt>
                <c:pt idx="550">
                  <c:v>37378</c:v>
                </c:pt>
                <c:pt idx="551">
                  <c:v>37379</c:v>
                </c:pt>
                <c:pt idx="552">
                  <c:v>37382</c:v>
                </c:pt>
                <c:pt idx="553">
                  <c:v>37383</c:v>
                </c:pt>
                <c:pt idx="554">
                  <c:v>37384</c:v>
                </c:pt>
                <c:pt idx="555">
                  <c:v>37385</c:v>
                </c:pt>
                <c:pt idx="556">
                  <c:v>37386</c:v>
                </c:pt>
                <c:pt idx="557">
                  <c:v>37389</c:v>
                </c:pt>
                <c:pt idx="558">
                  <c:v>37390</c:v>
                </c:pt>
                <c:pt idx="559">
                  <c:v>37391</c:v>
                </c:pt>
                <c:pt idx="560">
                  <c:v>37392</c:v>
                </c:pt>
                <c:pt idx="561">
                  <c:v>37393</c:v>
                </c:pt>
                <c:pt idx="562">
                  <c:v>37396</c:v>
                </c:pt>
                <c:pt idx="563">
                  <c:v>37397</c:v>
                </c:pt>
                <c:pt idx="564">
                  <c:v>37398</c:v>
                </c:pt>
                <c:pt idx="565">
                  <c:v>37399</c:v>
                </c:pt>
                <c:pt idx="566">
                  <c:v>37400</c:v>
                </c:pt>
                <c:pt idx="567">
                  <c:v>37403</c:v>
                </c:pt>
                <c:pt idx="568">
                  <c:v>37404</c:v>
                </c:pt>
                <c:pt idx="569">
                  <c:v>37405</c:v>
                </c:pt>
                <c:pt idx="570">
                  <c:v>37406</c:v>
                </c:pt>
                <c:pt idx="571">
                  <c:v>37407</c:v>
                </c:pt>
                <c:pt idx="572">
                  <c:v>37410</c:v>
                </c:pt>
                <c:pt idx="573">
                  <c:v>37411</c:v>
                </c:pt>
                <c:pt idx="574">
                  <c:v>37412</c:v>
                </c:pt>
                <c:pt idx="575">
                  <c:v>37413</c:v>
                </c:pt>
                <c:pt idx="576">
                  <c:v>37414</c:v>
                </c:pt>
                <c:pt idx="577">
                  <c:v>37417</c:v>
                </c:pt>
                <c:pt idx="578">
                  <c:v>37418</c:v>
                </c:pt>
                <c:pt idx="579">
                  <c:v>37419</c:v>
                </c:pt>
                <c:pt idx="580">
                  <c:v>37420</c:v>
                </c:pt>
                <c:pt idx="581">
                  <c:v>37421</c:v>
                </c:pt>
                <c:pt idx="582">
                  <c:v>37424</c:v>
                </c:pt>
                <c:pt idx="583">
                  <c:v>37425</c:v>
                </c:pt>
                <c:pt idx="584">
                  <c:v>37426</c:v>
                </c:pt>
                <c:pt idx="585">
                  <c:v>37427</c:v>
                </c:pt>
                <c:pt idx="586">
                  <c:v>37428</c:v>
                </c:pt>
                <c:pt idx="587">
                  <c:v>37431</c:v>
                </c:pt>
                <c:pt idx="588">
                  <c:v>37432</c:v>
                </c:pt>
                <c:pt idx="589">
                  <c:v>37433</c:v>
                </c:pt>
                <c:pt idx="590">
                  <c:v>37434</c:v>
                </c:pt>
                <c:pt idx="591">
                  <c:v>37435</c:v>
                </c:pt>
                <c:pt idx="592">
                  <c:v>37438</c:v>
                </c:pt>
                <c:pt idx="593">
                  <c:v>37439</c:v>
                </c:pt>
                <c:pt idx="594">
                  <c:v>37440</c:v>
                </c:pt>
                <c:pt idx="595">
                  <c:v>37441</c:v>
                </c:pt>
                <c:pt idx="596">
                  <c:v>37442</c:v>
                </c:pt>
                <c:pt idx="597">
                  <c:v>37445</c:v>
                </c:pt>
                <c:pt idx="598">
                  <c:v>37446</c:v>
                </c:pt>
                <c:pt idx="599">
                  <c:v>37447</c:v>
                </c:pt>
                <c:pt idx="600">
                  <c:v>37448</c:v>
                </c:pt>
                <c:pt idx="601">
                  <c:v>37449</c:v>
                </c:pt>
                <c:pt idx="602">
                  <c:v>37452</c:v>
                </c:pt>
                <c:pt idx="603">
                  <c:v>37453</c:v>
                </c:pt>
                <c:pt idx="604">
                  <c:v>37454</c:v>
                </c:pt>
                <c:pt idx="605">
                  <c:v>37455</c:v>
                </c:pt>
                <c:pt idx="606">
                  <c:v>37456</c:v>
                </c:pt>
                <c:pt idx="607">
                  <c:v>37459</c:v>
                </c:pt>
                <c:pt idx="608">
                  <c:v>37460</c:v>
                </c:pt>
                <c:pt idx="609">
                  <c:v>37461</c:v>
                </c:pt>
                <c:pt idx="610">
                  <c:v>37462</c:v>
                </c:pt>
                <c:pt idx="611">
                  <c:v>37463</c:v>
                </c:pt>
                <c:pt idx="612">
                  <c:v>37466</c:v>
                </c:pt>
                <c:pt idx="613">
                  <c:v>37467</c:v>
                </c:pt>
                <c:pt idx="614">
                  <c:v>37468</c:v>
                </c:pt>
                <c:pt idx="615">
                  <c:v>37469</c:v>
                </c:pt>
                <c:pt idx="616">
                  <c:v>37470</c:v>
                </c:pt>
                <c:pt idx="617">
                  <c:v>37473</c:v>
                </c:pt>
                <c:pt idx="618">
                  <c:v>37474</c:v>
                </c:pt>
                <c:pt idx="619">
                  <c:v>37475</c:v>
                </c:pt>
                <c:pt idx="620">
                  <c:v>37476</c:v>
                </c:pt>
                <c:pt idx="621">
                  <c:v>37477</c:v>
                </c:pt>
                <c:pt idx="622">
                  <c:v>37480</c:v>
                </c:pt>
                <c:pt idx="623">
                  <c:v>37481</c:v>
                </c:pt>
                <c:pt idx="624">
                  <c:v>37482</c:v>
                </c:pt>
                <c:pt idx="625">
                  <c:v>37483</c:v>
                </c:pt>
                <c:pt idx="626">
                  <c:v>37484</c:v>
                </c:pt>
                <c:pt idx="627">
                  <c:v>37487</c:v>
                </c:pt>
                <c:pt idx="628">
                  <c:v>37488</c:v>
                </c:pt>
                <c:pt idx="629">
                  <c:v>37489</c:v>
                </c:pt>
                <c:pt idx="630">
                  <c:v>37490</c:v>
                </c:pt>
                <c:pt idx="631">
                  <c:v>37491</c:v>
                </c:pt>
                <c:pt idx="632">
                  <c:v>37494</c:v>
                </c:pt>
                <c:pt idx="633">
                  <c:v>37495</c:v>
                </c:pt>
                <c:pt idx="634">
                  <c:v>37496</c:v>
                </c:pt>
                <c:pt idx="635">
                  <c:v>37497</c:v>
                </c:pt>
                <c:pt idx="636">
                  <c:v>37498</c:v>
                </c:pt>
                <c:pt idx="637">
                  <c:v>37501</c:v>
                </c:pt>
                <c:pt idx="638">
                  <c:v>37502</c:v>
                </c:pt>
                <c:pt idx="639">
                  <c:v>37503</c:v>
                </c:pt>
                <c:pt idx="640">
                  <c:v>37504</c:v>
                </c:pt>
                <c:pt idx="641">
                  <c:v>37505</c:v>
                </c:pt>
                <c:pt idx="642">
                  <c:v>37508</c:v>
                </c:pt>
                <c:pt idx="643">
                  <c:v>37509</c:v>
                </c:pt>
                <c:pt idx="644">
                  <c:v>37510</c:v>
                </c:pt>
                <c:pt idx="645">
                  <c:v>37511</c:v>
                </c:pt>
                <c:pt idx="646">
                  <c:v>37512</c:v>
                </c:pt>
                <c:pt idx="647">
                  <c:v>37515</c:v>
                </c:pt>
                <c:pt idx="648">
                  <c:v>37516</c:v>
                </c:pt>
                <c:pt idx="649">
                  <c:v>37517</c:v>
                </c:pt>
                <c:pt idx="650">
                  <c:v>37518</c:v>
                </c:pt>
                <c:pt idx="651">
                  <c:v>37519</c:v>
                </c:pt>
                <c:pt idx="652">
                  <c:v>37522</c:v>
                </c:pt>
                <c:pt idx="653">
                  <c:v>37523</c:v>
                </c:pt>
                <c:pt idx="654">
                  <c:v>37524</c:v>
                </c:pt>
                <c:pt idx="655">
                  <c:v>37525</c:v>
                </c:pt>
                <c:pt idx="656">
                  <c:v>37526</c:v>
                </c:pt>
                <c:pt idx="657">
                  <c:v>37529</c:v>
                </c:pt>
                <c:pt idx="658">
                  <c:v>37530</c:v>
                </c:pt>
                <c:pt idx="659">
                  <c:v>37531</c:v>
                </c:pt>
                <c:pt idx="660">
                  <c:v>37532</c:v>
                </c:pt>
                <c:pt idx="661">
                  <c:v>37533</c:v>
                </c:pt>
                <c:pt idx="662">
                  <c:v>37536</c:v>
                </c:pt>
                <c:pt idx="663">
                  <c:v>37537</c:v>
                </c:pt>
                <c:pt idx="664">
                  <c:v>37538</c:v>
                </c:pt>
                <c:pt idx="665">
                  <c:v>37539</c:v>
                </c:pt>
                <c:pt idx="666">
                  <c:v>37540</c:v>
                </c:pt>
                <c:pt idx="667">
                  <c:v>37543</c:v>
                </c:pt>
                <c:pt idx="668">
                  <c:v>37544</c:v>
                </c:pt>
                <c:pt idx="669">
                  <c:v>37545</c:v>
                </c:pt>
                <c:pt idx="670">
                  <c:v>37546</c:v>
                </c:pt>
                <c:pt idx="671">
                  <c:v>37547</c:v>
                </c:pt>
                <c:pt idx="672">
                  <c:v>37550</c:v>
                </c:pt>
                <c:pt idx="673">
                  <c:v>37551</c:v>
                </c:pt>
                <c:pt idx="674">
                  <c:v>37552</c:v>
                </c:pt>
                <c:pt idx="675">
                  <c:v>37553</c:v>
                </c:pt>
                <c:pt idx="676">
                  <c:v>37554</c:v>
                </c:pt>
                <c:pt idx="677">
                  <c:v>37557</c:v>
                </c:pt>
                <c:pt idx="678">
                  <c:v>37558</c:v>
                </c:pt>
                <c:pt idx="679">
                  <c:v>37559</c:v>
                </c:pt>
                <c:pt idx="680">
                  <c:v>37560</c:v>
                </c:pt>
                <c:pt idx="681">
                  <c:v>37561</c:v>
                </c:pt>
                <c:pt idx="682">
                  <c:v>37564</c:v>
                </c:pt>
                <c:pt idx="683">
                  <c:v>37565</c:v>
                </c:pt>
                <c:pt idx="684">
                  <c:v>37566</c:v>
                </c:pt>
                <c:pt idx="685">
                  <c:v>37567</c:v>
                </c:pt>
                <c:pt idx="686">
                  <c:v>37568</c:v>
                </c:pt>
                <c:pt idx="687">
                  <c:v>37571</c:v>
                </c:pt>
                <c:pt idx="688">
                  <c:v>37572</c:v>
                </c:pt>
                <c:pt idx="689">
                  <c:v>37573</c:v>
                </c:pt>
                <c:pt idx="690">
                  <c:v>37574</c:v>
                </c:pt>
                <c:pt idx="691">
                  <c:v>37575</c:v>
                </c:pt>
                <c:pt idx="692">
                  <c:v>37578</c:v>
                </c:pt>
                <c:pt idx="693">
                  <c:v>37579</c:v>
                </c:pt>
                <c:pt idx="694">
                  <c:v>37580</c:v>
                </c:pt>
                <c:pt idx="695">
                  <c:v>37581</c:v>
                </c:pt>
                <c:pt idx="696">
                  <c:v>37582</c:v>
                </c:pt>
                <c:pt idx="697">
                  <c:v>37585</c:v>
                </c:pt>
                <c:pt idx="698">
                  <c:v>37586</c:v>
                </c:pt>
                <c:pt idx="699">
                  <c:v>37587</c:v>
                </c:pt>
                <c:pt idx="700">
                  <c:v>37588</c:v>
                </c:pt>
                <c:pt idx="701">
                  <c:v>37589</c:v>
                </c:pt>
                <c:pt idx="702">
                  <c:v>37592</c:v>
                </c:pt>
                <c:pt idx="703">
                  <c:v>37593</c:v>
                </c:pt>
                <c:pt idx="704">
                  <c:v>37594</c:v>
                </c:pt>
                <c:pt idx="705">
                  <c:v>37595</c:v>
                </c:pt>
                <c:pt idx="706">
                  <c:v>37596</c:v>
                </c:pt>
                <c:pt idx="707">
                  <c:v>37599</c:v>
                </c:pt>
                <c:pt idx="708">
                  <c:v>37600</c:v>
                </c:pt>
                <c:pt idx="709">
                  <c:v>37601</c:v>
                </c:pt>
                <c:pt idx="710">
                  <c:v>37602</c:v>
                </c:pt>
                <c:pt idx="711">
                  <c:v>37603</c:v>
                </c:pt>
                <c:pt idx="712">
                  <c:v>37606</c:v>
                </c:pt>
                <c:pt idx="713">
                  <c:v>37607</c:v>
                </c:pt>
                <c:pt idx="714">
                  <c:v>37608</c:v>
                </c:pt>
                <c:pt idx="715">
                  <c:v>37609</c:v>
                </c:pt>
                <c:pt idx="716">
                  <c:v>37610</c:v>
                </c:pt>
                <c:pt idx="717">
                  <c:v>37613</c:v>
                </c:pt>
                <c:pt idx="718">
                  <c:v>37614</c:v>
                </c:pt>
                <c:pt idx="719">
                  <c:v>37615</c:v>
                </c:pt>
                <c:pt idx="720">
                  <c:v>37616</c:v>
                </c:pt>
                <c:pt idx="721">
                  <c:v>37617</c:v>
                </c:pt>
                <c:pt idx="722">
                  <c:v>37620</c:v>
                </c:pt>
                <c:pt idx="723">
                  <c:v>37621</c:v>
                </c:pt>
                <c:pt idx="724">
                  <c:v>37622</c:v>
                </c:pt>
                <c:pt idx="725">
                  <c:v>37623</c:v>
                </c:pt>
                <c:pt idx="726">
                  <c:v>37624</c:v>
                </c:pt>
                <c:pt idx="727">
                  <c:v>37627</c:v>
                </c:pt>
                <c:pt idx="728">
                  <c:v>37628</c:v>
                </c:pt>
                <c:pt idx="729">
                  <c:v>37629</c:v>
                </c:pt>
                <c:pt idx="730">
                  <c:v>37630</c:v>
                </c:pt>
                <c:pt idx="731">
                  <c:v>37631</c:v>
                </c:pt>
                <c:pt idx="732">
                  <c:v>37634</c:v>
                </c:pt>
                <c:pt idx="733">
                  <c:v>37635</c:v>
                </c:pt>
                <c:pt idx="734">
                  <c:v>37636</c:v>
                </c:pt>
                <c:pt idx="735">
                  <c:v>37637</c:v>
                </c:pt>
                <c:pt idx="736">
                  <c:v>37638</c:v>
                </c:pt>
                <c:pt idx="737">
                  <c:v>37641</c:v>
                </c:pt>
                <c:pt idx="738">
                  <c:v>37642</c:v>
                </c:pt>
                <c:pt idx="739">
                  <c:v>37643</c:v>
                </c:pt>
                <c:pt idx="740">
                  <c:v>37644</c:v>
                </c:pt>
                <c:pt idx="741">
                  <c:v>37645</c:v>
                </c:pt>
                <c:pt idx="742">
                  <c:v>37648</c:v>
                </c:pt>
                <c:pt idx="743">
                  <c:v>37649</c:v>
                </c:pt>
                <c:pt idx="744">
                  <c:v>37650</c:v>
                </c:pt>
                <c:pt idx="745">
                  <c:v>37651</c:v>
                </c:pt>
                <c:pt idx="746">
                  <c:v>37652</c:v>
                </c:pt>
                <c:pt idx="747">
                  <c:v>37655</c:v>
                </c:pt>
                <c:pt idx="748">
                  <c:v>37656</c:v>
                </c:pt>
                <c:pt idx="749">
                  <c:v>37657</c:v>
                </c:pt>
                <c:pt idx="750">
                  <c:v>37658</c:v>
                </c:pt>
                <c:pt idx="751">
                  <c:v>37659</c:v>
                </c:pt>
                <c:pt idx="752">
                  <c:v>37662</c:v>
                </c:pt>
                <c:pt idx="753">
                  <c:v>37663</c:v>
                </c:pt>
                <c:pt idx="754">
                  <c:v>37664</c:v>
                </c:pt>
                <c:pt idx="755">
                  <c:v>37665</c:v>
                </c:pt>
                <c:pt idx="756">
                  <c:v>37666</c:v>
                </c:pt>
                <c:pt idx="757">
                  <c:v>37669</c:v>
                </c:pt>
                <c:pt idx="758">
                  <c:v>37670</c:v>
                </c:pt>
                <c:pt idx="759">
                  <c:v>37671</c:v>
                </c:pt>
                <c:pt idx="760">
                  <c:v>37672</c:v>
                </c:pt>
                <c:pt idx="761">
                  <c:v>37673</c:v>
                </c:pt>
                <c:pt idx="762">
                  <c:v>37676</c:v>
                </c:pt>
                <c:pt idx="763">
                  <c:v>37677</c:v>
                </c:pt>
                <c:pt idx="764">
                  <c:v>37678</c:v>
                </c:pt>
                <c:pt idx="765">
                  <c:v>37679</c:v>
                </c:pt>
                <c:pt idx="766">
                  <c:v>37680</c:v>
                </c:pt>
                <c:pt idx="767">
                  <c:v>37683</c:v>
                </c:pt>
                <c:pt idx="768">
                  <c:v>37684</c:v>
                </c:pt>
                <c:pt idx="769">
                  <c:v>37685</c:v>
                </c:pt>
                <c:pt idx="770">
                  <c:v>37686</c:v>
                </c:pt>
                <c:pt idx="771">
                  <c:v>37687</c:v>
                </c:pt>
                <c:pt idx="772">
                  <c:v>37690</c:v>
                </c:pt>
                <c:pt idx="773">
                  <c:v>37691</c:v>
                </c:pt>
                <c:pt idx="774">
                  <c:v>37692</c:v>
                </c:pt>
                <c:pt idx="775">
                  <c:v>37693</c:v>
                </c:pt>
                <c:pt idx="776">
                  <c:v>37694</c:v>
                </c:pt>
                <c:pt idx="777">
                  <c:v>37697</c:v>
                </c:pt>
                <c:pt idx="778">
                  <c:v>37698</c:v>
                </c:pt>
                <c:pt idx="779">
                  <c:v>37699</c:v>
                </c:pt>
                <c:pt idx="780">
                  <c:v>37700</c:v>
                </c:pt>
                <c:pt idx="781">
                  <c:v>37701</c:v>
                </c:pt>
                <c:pt idx="782">
                  <c:v>37704</c:v>
                </c:pt>
                <c:pt idx="783">
                  <c:v>37705</c:v>
                </c:pt>
                <c:pt idx="784">
                  <c:v>37706</c:v>
                </c:pt>
                <c:pt idx="785">
                  <c:v>37707</c:v>
                </c:pt>
                <c:pt idx="786">
                  <c:v>37708</c:v>
                </c:pt>
                <c:pt idx="787">
                  <c:v>37711</c:v>
                </c:pt>
                <c:pt idx="788">
                  <c:v>37712</c:v>
                </c:pt>
                <c:pt idx="789">
                  <c:v>37713</c:v>
                </c:pt>
                <c:pt idx="790">
                  <c:v>37714</c:v>
                </c:pt>
                <c:pt idx="791">
                  <c:v>37715</c:v>
                </c:pt>
                <c:pt idx="792">
                  <c:v>37718</c:v>
                </c:pt>
                <c:pt idx="793">
                  <c:v>37719</c:v>
                </c:pt>
                <c:pt idx="794">
                  <c:v>37720</c:v>
                </c:pt>
                <c:pt idx="795">
                  <c:v>37721</c:v>
                </c:pt>
                <c:pt idx="796">
                  <c:v>37722</c:v>
                </c:pt>
                <c:pt idx="797">
                  <c:v>37725</c:v>
                </c:pt>
                <c:pt idx="798">
                  <c:v>37726</c:v>
                </c:pt>
                <c:pt idx="799">
                  <c:v>37727</c:v>
                </c:pt>
                <c:pt idx="800">
                  <c:v>37728</c:v>
                </c:pt>
                <c:pt idx="801">
                  <c:v>37729</c:v>
                </c:pt>
                <c:pt idx="802">
                  <c:v>37732</c:v>
                </c:pt>
                <c:pt idx="803">
                  <c:v>37733</c:v>
                </c:pt>
                <c:pt idx="804">
                  <c:v>37734</c:v>
                </c:pt>
                <c:pt idx="805">
                  <c:v>37735</c:v>
                </c:pt>
                <c:pt idx="806">
                  <c:v>37736</c:v>
                </c:pt>
                <c:pt idx="807">
                  <c:v>37739</c:v>
                </c:pt>
                <c:pt idx="808">
                  <c:v>37740</c:v>
                </c:pt>
                <c:pt idx="809">
                  <c:v>37741</c:v>
                </c:pt>
                <c:pt idx="810">
                  <c:v>37742</c:v>
                </c:pt>
                <c:pt idx="811">
                  <c:v>37743</c:v>
                </c:pt>
                <c:pt idx="812">
                  <c:v>37746</c:v>
                </c:pt>
                <c:pt idx="813">
                  <c:v>37747</c:v>
                </c:pt>
                <c:pt idx="814">
                  <c:v>37748</c:v>
                </c:pt>
                <c:pt idx="815">
                  <c:v>37749</c:v>
                </c:pt>
                <c:pt idx="816">
                  <c:v>37750</c:v>
                </c:pt>
                <c:pt idx="817">
                  <c:v>37753</c:v>
                </c:pt>
                <c:pt idx="818">
                  <c:v>37754</c:v>
                </c:pt>
                <c:pt idx="819">
                  <c:v>37755</c:v>
                </c:pt>
                <c:pt idx="820">
                  <c:v>37756</c:v>
                </c:pt>
                <c:pt idx="821">
                  <c:v>37757</c:v>
                </c:pt>
                <c:pt idx="822">
                  <c:v>37760</c:v>
                </c:pt>
                <c:pt idx="823">
                  <c:v>37761</c:v>
                </c:pt>
                <c:pt idx="824">
                  <c:v>37762</c:v>
                </c:pt>
                <c:pt idx="825">
                  <c:v>37763</c:v>
                </c:pt>
                <c:pt idx="826">
                  <c:v>37764</c:v>
                </c:pt>
                <c:pt idx="827">
                  <c:v>37767</c:v>
                </c:pt>
                <c:pt idx="828">
                  <c:v>37768</c:v>
                </c:pt>
                <c:pt idx="829">
                  <c:v>37769</c:v>
                </c:pt>
                <c:pt idx="830">
                  <c:v>37770</c:v>
                </c:pt>
                <c:pt idx="831">
                  <c:v>37771</c:v>
                </c:pt>
                <c:pt idx="832">
                  <c:v>37774</c:v>
                </c:pt>
                <c:pt idx="833">
                  <c:v>37775</c:v>
                </c:pt>
                <c:pt idx="834">
                  <c:v>37776</c:v>
                </c:pt>
                <c:pt idx="835">
                  <c:v>37777</c:v>
                </c:pt>
                <c:pt idx="836">
                  <c:v>37778</c:v>
                </c:pt>
                <c:pt idx="837">
                  <c:v>37781</c:v>
                </c:pt>
                <c:pt idx="838">
                  <c:v>37782</c:v>
                </c:pt>
                <c:pt idx="839">
                  <c:v>37783</c:v>
                </c:pt>
                <c:pt idx="840">
                  <c:v>37784</c:v>
                </c:pt>
                <c:pt idx="841">
                  <c:v>37785</c:v>
                </c:pt>
                <c:pt idx="842">
                  <c:v>37788</c:v>
                </c:pt>
                <c:pt idx="843">
                  <c:v>37789</c:v>
                </c:pt>
                <c:pt idx="844">
                  <c:v>37790</c:v>
                </c:pt>
                <c:pt idx="845">
                  <c:v>37791</c:v>
                </c:pt>
                <c:pt idx="846">
                  <c:v>37792</c:v>
                </c:pt>
                <c:pt idx="847">
                  <c:v>37795</c:v>
                </c:pt>
                <c:pt idx="848">
                  <c:v>37796</c:v>
                </c:pt>
                <c:pt idx="849">
                  <c:v>37797</c:v>
                </c:pt>
                <c:pt idx="850">
                  <c:v>37798</c:v>
                </c:pt>
                <c:pt idx="851">
                  <c:v>37799</c:v>
                </c:pt>
                <c:pt idx="852">
                  <c:v>37802</c:v>
                </c:pt>
                <c:pt idx="853">
                  <c:v>37803</c:v>
                </c:pt>
                <c:pt idx="854">
                  <c:v>37804</c:v>
                </c:pt>
                <c:pt idx="855">
                  <c:v>37805</c:v>
                </c:pt>
                <c:pt idx="856">
                  <c:v>37806</c:v>
                </c:pt>
                <c:pt idx="857">
                  <c:v>37809</c:v>
                </c:pt>
                <c:pt idx="858">
                  <c:v>37810</c:v>
                </c:pt>
                <c:pt idx="859">
                  <c:v>37811</c:v>
                </c:pt>
                <c:pt idx="860">
                  <c:v>37812</c:v>
                </c:pt>
                <c:pt idx="861">
                  <c:v>37813</c:v>
                </c:pt>
                <c:pt idx="862">
                  <c:v>37816</c:v>
                </c:pt>
                <c:pt idx="863">
                  <c:v>37817</c:v>
                </c:pt>
                <c:pt idx="864">
                  <c:v>37818</c:v>
                </c:pt>
                <c:pt idx="865">
                  <c:v>37819</c:v>
                </c:pt>
                <c:pt idx="866">
                  <c:v>37820</c:v>
                </c:pt>
                <c:pt idx="867">
                  <c:v>37823</c:v>
                </c:pt>
                <c:pt idx="868">
                  <c:v>37824</c:v>
                </c:pt>
                <c:pt idx="869">
                  <c:v>37825</c:v>
                </c:pt>
                <c:pt idx="870">
                  <c:v>37826</c:v>
                </c:pt>
                <c:pt idx="871">
                  <c:v>37827</c:v>
                </c:pt>
                <c:pt idx="872">
                  <c:v>37830</c:v>
                </c:pt>
                <c:pt idx="873">
                  <c:v>37831</c:v>
                </c:pt>
                <c:pt idx="874">
                  <c:v>37832</c:v>
                </c:pt>
                <c:pt idx="875">
                  <c:v>37833</c:v>
                </c:pt>
                <c:pt idx="876">
                  <c:v>37834</c:v>
                </c:pt>
                <c:pt idx="877">
                  <c:v>37837</c:v>
                </c:pt>
                <c:pt idx="878">
                  <c:v>37838</c:v>
                </c:pt>
                <c:pt idx="879">
                  <c:v>37839</c:v>
                </c:pt>
                <c:pt idx="880">
                  <c:v>37840</c:v>
                </c:pt>
                <c:pt idx="881">
                  <c:v>37841</c:v>
                </c:pt>
                <c:pt idx="882">
                  <c:v>37844</c:v>
                </c:pt>
                <c:pt idx="883">
                  <c:v>37845</c:v>
                </c:pt>
                <c:pt idx="884">
                  <c:v>37846</c:v>
                </c:pt>
                <c:pt idx="885">
                  <c:v>37847</c:v>
                </c:pt>
                <c:pt idx="886">
                  <c:v>37848</c:v>
                </c:pt>
                <c:pt idx="887">
                  <c:v>37851</c:v>
                </c:pt>
                <c:pt idx="888">
                  <c:v>37852</c:v>
                </c:pt>
                <c:pt idx="889">
                  <c:v>37853</c:v>
                </c:pt>
                <c:pt idx="890">
                  <c:v>37854</c:v>
                </c:pt>
                <c:pt idx="891">
                  <c:v>37855</c:v>
                </c:pt>
                <c:pt idx="892">
                  <c:v>37858</c:v>
                </c:pt>
                <c:pt idx="893">
                  <c:v>37859</c:v>
                </c:pt>
                <c:pt idx="894">
                  <c:v>37860</c:v>
                </c:pt>
                <c:pt idx="895">
                  <c:v>37861</c:v>
                </c:pt>
                <c:pt idx="896">
                  <c:v>37862</c:v>
                </c:pt>
                <c:pt idx="897">
                  <c:v>37865</c:v>
                </c:pt>
                <c:pt idx="898">
                  <c:v>37866</c:v>
                </c:pt>
                <c:pt idx="899">
                  <c:v>37867</c:v>
                </c:pt>
                <c:pt idx="900">
                  <c:v>37868</c:v>
                </c:pt>
                <c:pt idx="901">
                  <c:v>37869</c:v>
                </c:pt>
                <c:pt idx="902">
                  <c:v>37872</c:v>
                </c:pt>
                <c:pt idx="903">
                  <c:v>37873</c:v>
                </c:pt>
                <c:pt idx="904">
                  <c:v>37874</c:v>
                </c:pt>
                <c:pt idx="905">
                  <c:v>37875</c:v>
                </c:pt>
                <c:pt idx="906">
                  <c:v>37876</c:v>
                </c:pt>
                <c:pt idx="907">
                  <c:v>37879</c:v>
                </c:pt>
                <c:pt idx="908">
                  <c:v>37880</c:v>
                </c:pt>
                <c:pt idx="909">
                  <c:v>37881</c:v>
                </c:pt>
                <c:pt idx="910">
                  <c:v>37882</c:v>
                </c:pt>
                <c:pt idx="911">
                  <c:v>37883</c:v>
                </c:pt>
                <c:pt idx="912">
                  <c:v>37886</c:v>
                </c:pt>
                <c:pt idx="913">
                  <c:v>37887</c:v>
                </c:pt>
                <c:pt idx="914">
                  <c:v>37888</c:v>
                </c:pt>
                <c:pt idx="915">
                  <c:v>37889</c:v>
                </c:pt>
                <c:pt idx="916">
                  <c:v>37890</c:v>
                </c:pt>
                <c:pt idx="917">
                  <c:v>37893</c:v>
                </c:pt>
                <c:pt idx="918">
                  <c:v>37894</c:v>
                </c:pt>
                <c:pt idx="919">
                  <c:v>37895</c:v>
                </c:pt>
                <c:pt idx="920">
                  <c:v>37896</c:v>
                </c:pt>
                <c:pt idx="921">
                  <c:v>37897</c:v>
                </c:pt>
                <c:pt idx="922">
                  <c:v>37900</c:v>
                </c:pt>
                <c:pt idx="923">
                  <c:v>37901</c:v>
                </c:pt>
                <c:pt idx="924">
                  <c:v>37902</c:v>
                </c:pt>
                <c:pt idx="925">
                  <c:v>37903</c:v>
                </c:pt>
                <c:pt idx="926">
                  <c:v>37904</c:v>
                </c:pt>
                <c:pt idx="927">
                  <c:v>37907</c:v>
                </c:pt>
                <c:pt idx="928">
                  <c:v>37908</c:v>
                </c:pt>
                <c:pt idx="929">
                  <c:v>37909</c:v>
                </c:pt>
                <c:pt idx="930">
                  <c:v>37910</c:v>
                </c:pt>
                <c:pt idx="931">
                  <c:v>37911</c:v>
                </c:pt>
                <c:pt idx="932">
                  <c:v>37914</c:v>
                </c:pt>
                <c:pt idx="933">
                  <c:v>37915</c:v>
                </c:pt>
                <c:pt idx="934">
                  <c:v>37916</c:v>
                </c:pt>
                <c:pt idx="935">
                  <c:v>37917</c:v>
                </c:pt>
                <c:pt idx="936">
                  <c:v>37918</c:v>
                </c:pt>
                <c:pt idx="937">
                  <c:v>37921</c:v>
                </c:pt>
                <c:pt idx="938">
                  <c:v>37922</c:v>
                </c:pt>
                <c:pt idx="939">
                  <c:v>37923</c:v>
                </c:pt>
                <c:pt idx="940">
                  <c:v>37924</c:v>
                </c:pt>
                <c:pt idx="941">
                  <c:v>37925</c:v>
                </c:pt>
                <c:pt idx="942">
                  <c:v>37928</c:v>
                </c:pt>
                <c:pt idx="943">
                  <c:v>37929</c:v>
                </c:pt>
                <c:pt idx="944">
                  <c:v>37930</c:v>
                </c:pt>
                <c:pt idx="945">
                  <c:v>37931</c:v>
                </c:pt>
                <c:pt idx="946">
                  <c:v>37932</c:v>
                </c:pt>
                <c:pt idx="947">
                  <c:v>37935</c:v>
                </c:pt>
                <c:pt idx="948">
                  <c:v>37936</c:v>
                </c:pt>
                <c:pt idx="949">
                  <c:v>37937</c:v>
                </c:pt>
                <c:pt idx="950">
                  <c:v>37938</c:v>
                </c:pt>
                <c:pt idx="951">
                  <c:v>37939</c:v>
                </c:pt>
                <c:pt idx="952">
                  <c:v>37942</c:v>
                </c:pt>
                <c:pt idx="953">
                  <c:v>37943</c:v>
                </c:pt>
                <c:pt idx="954">
                  <c:v>37944</c:v>
                </c:pt>
                <c:pt idx="955">
                  <c:v>37945</c:v>
                </c:pt>
                <c:pt idx="956">
                  <c:v>37946</c:v>
                </c:pt>
                <c:pt idx="957">
                  <c:v>37949</c:v>
                </c:pt>
                <c:pt idx="958">
                  <c:v>37950</c:v>
                </c:pt>
                <c:pt idx="959">
                  <c:v>37951</c:v>
                </c:pt>
                <c:pt idx="960">
                  <c:v>37952</c:v>
                </c:pt>
                <c:pt idx="961">
                  <c:v>37953</c:v>
                </c:pt>
                <c:pt idx="962">
                  <c:v>37956</c:v>
                </c:pt>
                <c:pt idx="963">
                  <c:v>37957</c:v>
                </c:pt>
                <c:pt idx="964">
                  <c:v>37958</c:v>
                </c:pt>
                <c:pt idx="965">
                  <c:v>37959</c:v>
                </c:pt>
                <c:pt idx="966">
                  <c:v>37960</c:v>
                </c:pt>
                <c:pt idx="967">
                  <c:v>37963</c:v>
                </c:pt>
                <c:pt idx="968">
                  <c:v>37964</c:v>
                </c:pt>
                <c:pt idx="969">
                  <c:v>37965</c:v>
                </c:pt>
                <c:pt idx="970">
                  <c:v>37966</c:v>
                </c:pt>
                <c:pt idx="971">
                  <c:v>37967</c:v>
                </c:pt>
                <c:pt idx="972">
                  <c:v>37970</c:v>
                </c:pt>
                <c:pt idx="973">
                  <c:v>37971</c:v>
                </c:pt>
                <c:pt idx="974">
                  <c:v>37972</c:v>
                </c:pt>
                <c:pt idx="975">
                  <c:v>37973</c:v>
                </c:pt>
                <c:pt idx="976">
                  <c:v>37974</c:v>
                </c:pt>
                <c:pt idx="977">
                  <c:v>37977</c:v>
                </c:pt>
                <c:pt idx="978">
                  <c:v>37978</c:v>
                </c:pt>
                <c:pt idx="979">
                  <c:v>37979</c:v>
                </c:pt>
                <c:pt idx="980">
                  <c:v>37984</c:v>
                </c:pt>
                <c:pt idx="981">
                  <c:v>37985</c:v>
                </c:pt>
                <c:pt idx="982">
                  <c:v>37986</c:v>
                </c:pt>
                <c:pt idx="983">
                  <c:v>37987</c:v>
                </c:pt>
                <c:pt idx="984">
                  <c:v>37988</c:v>
                </c:pt>
                <c:pt idx="985">
                  <c:v>37991</c:v>
                </c:pt>
                <c:pt idx="986">
                  <c:v>37992</c:v>
                </c:pt>
                <c:pt idx="987">
                  <c:v>37993</c:v>
                </c:pt>
                <c:pt idx="988">
                  <c:v>37994</c:v>
                </c:pt>
                <c:pt idx="989">
                  <c:v>37995</c:v>
                </c:pt>
                <c:pt idx="990">
                  <c:v>37998</c:v>
                </c:pt>
                <c:pt idx="991">
                  <c:v>37999</c:v>
                </c:pt>
                <c:pt idx="992">
                  <c:v>38000</c:v>
                </c:pt>
                <c:pt idx="993">
                  <c:v>38001</c:v>
                </c:pt>
                <c:pt idx="994">
                  <c:v>38002</c:v>
                </c:pt>
                <c:pt idx="995">
                  <c:v>38005</c:v>
                </c:pt>
                <c:pt idx="996">
                  <c:v>38006</c:v>
                </c:pt>
                <c:pt idx="997">
                  <c:v>38007</c:v>
                </c:pt>
                <c:pt idx="998">
                  <c:v>38008</c:v>
                </c:pt>
                <c:pt idx="999">
                  <c:v>38009</c:v>
                </c:pt>
                <c:pt idx="1000">
                  <c:v>38012</c:v>
                </c:pt>
                <c:pt idx="1001">
                  <c:v>38013</c:v>
                </c:pt>
                <c:pt idx="1002">
                  <c:v>38014</c:v>
                </c:pt>
                <c:pt idx="1003">
                  <c:v>38015</c:v>
                </c:pt>
                <c:pt idx="1004">
                  <c:v>38016</c:v>
                </c:pt>
                <c:pt idx="1005">
                  <c:v>38019</c:v>
                </c:pt>
                <c:pt idx="1006">
                  <c:v>38020</c:v>
                </c:pt>
                <c:pt idx="1007">
                  <c:v>38021</c:v>
                </c:pt>
                <c:pt idx="1008">
                  <c:v>38022</c:v>
                </c:pt>
                <c:pt idx="1009">
                  <c:v>38023</c:v>
                </c:pt>
                <c:pt idx="1010">
                  <c:v>38026</c:v>
                </c:pt>
                <c:pt idx="1011">
                  <c:v>38027</c:v>
                </c:pt>
                <c:pt idx="1012">
                  <c:v>38028</c:v>
                </c:pt>
                <c:pt idx="1013">
                  <c:v>38029</c:v>
                </c:pt>
                <c:pt idx="1014">
                  <c:v>38030</c:v>
                </c:pt>
                <c:pt idx="1015">
                  <c:v>38033</c:v>
                </c:pt>
                <c:pt idx="1016">
                  <c:v>38034</c:v>
                </c:pt>
                <c:pt idx="1017">
                  <c:v>38035</c:v>
                </c:pt>
                <c:pt idx="1018">
                  <c:v>38036</c:v>
                </c:pt>
                <c:pt idx="1019">
                  <c:v>38037</c:v>
                </c:pt>
                <c:pt idx="1020">
                  <c:v>38040</c:v>
                </c:pt>
                <c:pt idx="1021">
                  <c:v>38041</c:v>
                </c:pt>
                <c:pt idx="1022">
                  <c:v>38042</c:v>
                </c:pt>
                <c:pt idx="1023">
                  <c:v>38043</c:v>
                </c:pt>
                <c:pt idx="1024">
                  <c:v>38044</c:v>
                </c:pt>
                <c:pt idx="1025">
                  <c:v>38047</c:v>
                </c:pt>
                <c:pt idx="1026">
                  <c:v>38048</c:v>
                </c:pt>
                <c:pt idx="1027">
                  <c:v>38049</c:v>
                </c:pt>
                <c:pt idx="1028">
                  <c:v>38050</c:v>
                </c:pt>
                <c:pt idx="1029">
                  <c:v>38051</c:v>
                </c:pt>
                <c:pt idx="1030">
                  <c:v>38054</c:v>
                </c:pt>
                <c:pt idx="1031">
                  <c:v>38055</c:v>
                </c:pt>
                <c:pt idx="1032">
                  <c:v>38056</c:v>
                </c:pt>
                <c:pt idx="1033">
                  <c:v>38057</c:v>
                </c:pt>
                <c:pt idx="1034">
                  <c:v>38058</c:v>
                </c:pt>
                <c:pt idx="1035">
                  <c:v>38061</c:v>
                </c:pt>
                <c:pt idx="1036">
                  <c:v>38062</c:v>
                </c:pt>
                <c:pt idx="1037">
                  <c:v>38063</c:v>
                </c:pt>
                <c:pt idx="1038">
                  <c:v>38064</c:v>
                </c:pt>
                <c:pt idx="1039">
                  <c:v>38065</c:v>
                </c:pt>
                <c:pt idx="1040">
                  <c:v>38068</c:v>
                </c:pt>
                <c:pt idx="1041">
                  <c:v>38069</c:v>
                </c:pt>
                <c:pt idx="1042">
                  <c:v>38070</c:v>
                </c:pt>
                <c:pt idx="1043">
                  <c:v>38071</c:v>
                </c:pt>
                <c:pt idx="1044">
                  <c:v>38072</c:v>
                </c:pt>
                <c:pt idx="1045">
                  <c:v>38075</c:v>
                </c:pt>
                <c:pt idx="1046">
                  <c:v>38076</c:v>
                </c:pt>
                <c:pt idx="1047">
                  <c:v>38077</c:v>
                </c:pt>
                <c:pt idx="1048">
                  <c:v>38078</c:v>
                </c:pt>
                <c:pt idx="1049">
                  <c:v>38079</c:v>
                </c:pt>
                <c:pt idx="1050">
                  <c:v>38082</c:v>
                </c:pt>
                <c:pt idx="1051">
                  <c:v>38083</c:v>
                </c:pt>
                <c:pt idx="1052">
                  <c:v>38084</c:v>
                </c:pt>
                <c:pt idx="1053">
                  <c:v>38085</c:v>
                </c:pt>
                <c:pt idx="1054">
                  <c:v>38090</c:v>
                </c:pt>
                <c:pt idx="1055">
                  <c:v>38091</c:v>
                </c:pt>
                <c:pt idx="1056">
                  <c:v>38092</c:v>
                </c:pt>
                <c:pt idx="1057">
                  <c:v>38093</c:v>
                </c:pt>
                <c:pt idx="1058">
                  <c:v>38096</c:v>
                </c:pt>
                <c:pt idx="1059">
                  <c:v>38097</c:v>
                </c:pt>
                <c:pt idx="1060">
                  <c:v>38098</c:v>
                </c:pt>
                <c:pt idx="1061">
                  <c:v>38099</c:v>
                </c:pt>
                <c:pt idx="1062">
                  <c:v>38100</c:v>
                </c:pt>
                <c:pt idx="1063">
                  <c:v>38103</c:v>
                </c:pt>
                <c:pt idx="1064">
                  <c:v>38104</c:v>
                </c:pt>
                <c:pt idx="1065">
                  <c:v>38105</c:v>
                </c:pt>
                <c:pt idx="1066">
                  <c:v>38106</c:v>
                </c:pt>
                <c:pt idx="1067">
                  <c:v>38107</c:v>
                </c:pt>
                <c:pt idx="1068">
                  <c:v>38110</c:v>
                </c:pt>
                <c:pt idx="1069">
                  <c:v>38111</c:v>
                </c:pt>
                <c:pt idx="1070">
                  <c:v>38112</c:v>
                </c:pt>
                <c:pt idx="1071">
                  <c:v>38113</c:v>
                </c:pt>
                <c:pt idx="1072">
                  <c:v>38114</c:v>
                </c:pt>
                <c:pt idx="1073">
                  <c:v>38117</c:v>
                </c:pt>
                <c:pt idx="1074">
                  <c:v>38118</c:v>
                </c:pt>
                <c:pt idx="1075">
                  <c:v>38119</c:v>
                </c:pt>
                <c:pt idx="1076">
                  <c:v>38120</c:v>
                </c:pt>
                <c:pt idx="1077">
                  <c:v>38121</c:v>
                </c:pt>
                <c:pt idx="1078">
                  <c:v>38124</c:v>
                </c:pt>
                <c:pt idx="1079">
                  <c:v>38125</c:v>
                </c:pt>
                <c:pt idx="1080">
                  <c:v>38126</c:v>
                </c:pt>
                <c:pt idx="1081">
                  <c:v>38127</c:v>
                </c:pt>
                <c:pt idx="1082">
                  <c:v>38128</c:v>
                </c:pt>
                <c:pt idx="1083">
                  <c:v>38131</c:v>
                </c:pt>
                <c:pt idx="1084">
                  <c:v>38132</c:v>
                </c:pt>
                <c:pt idx="1085">
                  <c:v>38133</c:v>
                </c:pt>
                <c:pt idx="1086">
                  <c:v>38134</c:v>
                </c:pt>
                <c:pt idx="1087">
                  <c:v>38135</c:v>
                </c:pt>
                <c:pt idx="1088">
                  <c:v>38138</c:v>
                </c:pt>
                <c:pt idx="1089">
                  <c:v>38139</c:v>
                </c:pt>
                <c:pt idx="1090">
                  <c:v>38140</c:v>
                </c:pt>
                <c:pt idx="1091">
                  <c:v>38141</c:v>
                </c:pt>
                <c:pt idx="1092">
                  <c:v>38142</c:v>
                </c:pt>
                <c:pt idx="1093">
                  <c:v>38145</c:v>
                </c:pt>
                <c:pt idx="1094">
                  <c:v>38146</c:v>
                </c:pt>
                <c:pt idx="1095">
                  <c:v>38147</c:v>
                </c:pt>
                <c:pt idx="1096">
                  <c:v>38148</c:v>
                </c:pt>
                <c:pt idx="1097">
                  <c:v>38149</c:v>
                </c:pt>
                <c:pt idx="1098">
                  <c:v>38152</c:v>
                </c:pt>
                <c:pt idx="1099">
                  <c:v>38153</c:v>
                </c:pt>
                <c:pt idx="1100">
                  <c:v>38154</c:v>
                </c:pt>
                <c:pt idx="1101">
                  <c:v>38155</c:v>
                </c:pt>
                <c:pt idx="1102">
                  <c:v>38156</c:v>
                </c:pt>
                <c:pt idx="1103">
                  <c:v>38159</c:v>
                </c:pt>
                <c:pt idx="1104">
                  <c:v>38160</c:v>
                </c:pt>
                <c:pt idx="1105">
                  <c:v>38161</c:v>
                </c:pt>
                <c:pt idx="1106">
                  <c:v>38162</c:v>
                </c:pt>
                <c:pt idx="1107">
                  <c:v>38163</c:v>
                </c:pt>
                <c:pt idx="1108">
                  <c:v>38166</c:v>
                </c:pt>
                <c:pt idx="1109">
                  <c:v>38167</c:v>
                </c:pt>
                <c:pt idx="1110">
                  <c:v>38168</c:v>
                </c:pt>
                <c:pt idx="1111">
                  <c:v>38169</c:v>
                </c:pt>
                <c:pt idx="1112">
                  <c:v>38170</c:v>
                </c:pt>
                <c:pt idx="1113">
                  <c:v>38173</c:v>
                </c:pt>
                <c:pt idx="1114">
                  <c:v>38174</c:v>
                </c:pt>
                <c:pt idx="1115">
                  <c:v>38175</c:v>
                </c:pt>
                <c:pt idx="1116">
                  <c:v>38176</c:v>
                </c:pt>
                <c:pt idx="1117">
                  <c:v>38177</c:v>
                </c:pt>
                <c:pt idx="1118">
                  <c:v>38180</c:v>
                </c:pt>
                <c:pt idx="1119">
                  <c:v>38181</c:v>
                </c:pt>
                <c:pt idx="1120">
                  <c:v>38182</c:v>
                </c:pt>
                <c:pt idx="1121">
                  <c:v>38183</c:v>
                </c:pt>
                <c:pt idx="1122">
                  <c:v>38184</c:v>
                </c:pt>
                <c:pt idx="1123">
                  <c:v>38187</c:v>
                </c:pt>
                <c:pt idx="1124">
                  <c:v>38188</c:v>
                </c:pt>
                <c:pt idx="1125">
                  <c:v>38189</c:v>
                </c:pt>
                <c:pt idx="1126">
                  <c:v>38190</c:v>
                </c:pt>
                <c:pt idx="1127">
                  <c:v>38191</c:v>
                </c:pt>
                <c:pt idx="1128">
                  <c:v>38194</c:v>
                </c:pt>
                <c:pt idx="1129">
                  <c:v>38195</c:v>
                </c:pt>
                <c:pt idx="1130">
                  <c:v>38196</c:v>
                </c:pt>
                <c:pt idx="1131">
                  <c:v>38197</c:v>
                </c:pt>
                <c:pt idx="1132">
                  <c:v>38198</c:v>
                </c:pt>
                <c:pt idx="1133">
                  <c:v>38201</c:v>
                </c:pt>
                <c:pt idx="1134">
                  <c:v>38202</c:v>
                </c:pt>
                <c:pt idx="1135">
                  <c:v>38203</c:v>
                </c:pt>
                <c:pt idx="1136">
                  <c:v>38204</c:v>
                </c:pt>
                <c:pt idx="1137">
                  <c:v>38205</c:v>
                </c:pt>
                <c:pt idx="1138">
                  <c:v>38208</c:v>
                </c:pt>
                <c:pt idx="1139">
                  <c:v>38209</c:v>
                </c:pt>
                <c:pt idx="1140">
                  <c:v>38210</c:v>
                </c:pt>
                <c:pt idx="1141">
                  <c:v>38211</c:v>
                </c:pt>
                <c:pt idx="1142">
                  <c:v>38212</c:v>
                </c:pt>
                <c:pt idx="1143">
                  <c:v>38215</c:v>
                </c:pt>
                <c:pt idx="1144">
                  <c:v>38216</c:v>
                </c:pt>
                <c:pt idx="1145">
                  <c:v>38217</c:v>
                </c:pt>
                <c:pt idx="1146">
                  <c:v>38218</c:v>
                </c:pt>
                <c:pt idx="1147">
                  <c:v>38219</c:v>
                </c:pt>
                <c:pt idx="1148">
                  <c:v>38222</c:v>
                </c:pt>
                <c:pt idx="1149">
                  <c:v>38223</c:v>
                </c:pt>
                <c:pt idx="1150">
                  <c:v>38224</c:v>
                </c:pt>
                <c:pt idx="1151">
                  <c:v>38225</c:v>
                </c:pt>
                <c:pt idx="1152">
                  <c:v>38226</c:v>
                </c:pt>
                <c:pt idx="1153">
                  <c:v>38229</c:v>
                </c:pt>
                <c:pt idx="1154">
                  <c:v>38230</c:v>
                </c:pt>
                <c:pt idx="1155">
                  <c:v>38231</c:v>
                </c:pt>
                <c:pt idx="1156">
                  <c:v>38232</c:v>
                </c:pt>
                <c:pt idx="1157">
                  <c:v>38233</c:v>
                </c:pt>
                <c:pt idx="1158">
                  <c:v>38236</c:v>
                </c:pt>
                <c:pt idx="1159">
                  <c:v>38237</c:v>
                </c:pt>
                <c:pt idx="1160">
                  <c:v>38238</c:v>
                </c:pt>
                <c:pt idx="1161">
                  <c:v>38239</c:v>
                </c:pt>
                <c:pt idx="1162">
                  <c:v>38240</c:v>
                </c:pt>
                <c:pt idx="1163">
                  <c:v>38243</c:v>
                </c:pt>
                <c:pt idx="1164">
                  <c:v>38244</c:v>
                </c:pt>
                <c:pt idx="1165">
                  <c:v>38245</c:v>
                </c:pt>
                <c:pt idx="1166">
                  <c:v>38246</c:v>
                </c:pt>
                <c:pt idx="1167">
                  <c:v>38247</c:v>
                </c:pt>
                <c:pt idx="1168">
                  <c:v>38250</c:v>
                </c:pt>
                <c:pt idx="1169">
                  <c:v>38251</c:v>
                </c:pt>
                <c:pt idx="1170">
                  <c:v>38252</c:v>
                </c:pt>
                <c:pt idx="1171">
                  <c:v>38253</c:v>
                </c:pt>
                <c:pt idx="1172">
                  <c:v>38254</c:v>
                </c:pt>
                <c:pt idx="1173">
                  <c:v>38257</c:v>
                </c:pt>
                <c:pt idx="1174">
                  <c:v>38258</c:v>
                </c:pt>
                <c:pt idx="1175">
                  <c:v>38259</c:v>
                </c:pt>
                <c:pt idx="1176">
                  <c:v>38260</c:v>
                </c:pt>
                <c:pt idx="1177">
                  <c:v>38261</c:v>
                </c:pt>
                <c:pt idx="1178">
                  <c:v>38264</c:v>
                </c:pt>
                <c:pt idx="1179">
                  <c:v>38265</c:v>
                </c:pt>
                <c:pt idx="1180">
                  <c:v>38266</c:v>
                </c:pt>
                <c:pt idx="1181">
                  <c:v>38267</c:v>
                </c:pt>
                <c:pt idx="1182">
                  <c:v>38268</c:v>
                </c:pt>
                <c:pt idx="1183">
                  <c:v>38271</c:v>
                </c:pt>
                <c:pt idx="1184">
                  <c:v>38272</c:v>
                </c:pt>
                <c:pt idx="1185">
                  <c:v>38273</c:v>
                </c:pt>
                <c:pt idx="1186">
                  <c:v>38274</c:v>
                </c:pt>
                <c:pt idx="1187">
                  <c:v>38275</c:v>
                </c:pt>
                <c:pt idx="1188">
                  <c:v>38278</c:v>
                </c:pt>
                <c:pt idx="1189">
                  <c:v>38279</c:v>
                </c:pt>
                <c:pt idx="1190">
                  <c:v>38280</c:v>
                </c:pt>
                <c:pt idx="1191">
                  <c:v>38281</c:v>
                </c:pt>
                <c:pt idx="1192">
                  <c:v>38282</c:v>
                </c:pt>
                <c:pt idx="1193">
                  <c:v>38285</c:v>
                </c:pt>
                <c:pt idx="1194">
                  <c:v>38286</c:v>
                </c:pt>
                <c:pt idx="1195">
                  <c:v>38287</c:v>
                </c:pt>
                <c:pt idx="1196">
                  <c:v>38288</c:v>
                </c:pt>
                <c:pt idx="1197">
                  <c:v>38289</c:v>
                </c:pt>
                <c:pt idx="1198">
                  <c:v>38292</c:v>
                </c:pt>
                <c:pt idx="1199">
                  <c:v>38293</c:v>
                </c:pt>
                <c:pt idx="1200">
                  <c:v>38294</c:v>
                </c:pt>
                <c:pt idx="1201">
                  <c:v>38295</c:v>
                </c:pt>
                <c:pt idx="1202">
                  <c:v>38296</c:v>
                </c:pt>
                <c:pt idx="1203">
                  <c:v>38299</c:v>
                </c:pt>
                <c:pt idx="1204">
                  <c:v>38300</c:v>
                </c:pt>
                <c:pt idx="1205">
                  <c:v>38301</c:v>
                </c:pt>
                <c:pt idx="1206">
                  <c:v>38302</c:v>
                </c:pt>
                <c:pt idx="1207">
                  <c:v>38303</c:v>
                </c:pt>
                <c:pt idx="1208">
                  <c:v>38306</c:v>
                </c:pt>
                <c:pt idx="1209">
                  <c:v>38307</c:v>
                </c:pt>
                <c:pt idx="1210">
                  <c:v>38308</c:v>
                </c:pt>
                <c:pt idx="1211">
                  <c:v>38309</c:v>
                </c:pt>
                <c:pt idx="1212">
                  <c:v>38310</c:v>
                </c:pt>
                <c:pt idx="1213">
                  <c:v>38313</c:v>
                </c:pt>
                <c:pt idx="1214">
                  <c:v>38314</c:v>
                </c:pt>
                <c:pt idx="1215">
                  <c:v>38315</c:v>
                </c:pt>
                <c:pt idx="1216">
                  <c:v>38316</c:v>
                </c:pt>
                <c:pt idx="1217">
                  <c:v>38317</c:v>
                </c:pt>
                <c:pt idx="1218">
                  <c:v>38320</c:v>
                </c:pt>
                <c:pt idx="1219">
                  <c:v>38321</c:v>
                </c:pt>
                <c:pt idx="1220">
                  <c:v>38322</c:v>
                </c:pt>
                <c:pt idx="1221">
                  <c:v>38323</c:v>
                </c:pt>
                <c:pt idx="1222">
                  <c:v>38324</c:v>
                </c:pt>
                <c:pt idx="1223">
                  <c:v>38327</c:v>
                </c:pt>
                <c:pt idx="1224">
                  <c:v>38328</c:v>
                </c:pt>
                <c:pt idx="1225">
                  <c:v>38329</c:v>
                </c:pt>
                <c:pt idx="1226">
                  <c:v>38330</c:v>
                </c:pt>
                <c:pt idx="1227">
                  <c:v>38331</c:v>
                </c:pt>
                <c:pt idx="1228">
                  <c:v>38334</c:v>
                </c:pt>
                <c:pt idx="1229">
                  <c:v>38335</c:v>
                </c:pt>
                <c:pt idx="1230">
                  <c:v>38336</c:v>
                </c:pt>
                <c:pt idx="1231">
                  <c:v>38337</c:v>
                </c:pt>
                <c:pt idx="1232">
                  <c:v>38338</c:v>
                </c:pt>
                <c:pt idx="1233">
                  <c:v>38341</c:v>
                </c:pt>
                <c:pt idx="1234">
                  <c:v>38342</c:v>
                </c:pt>
                <c:pt idx="1235">
                  <c:v>38343</c:v>
                </c:pt>
                <c:pt idx="1236">
                  <c:v>38344</c:v>
                </c:pt>
                <c:pt idx="1237">
                  <c:v>38345</c:v>
                </c:pt>
                <c:pt idx="1238">
                  <c:v>38348</c:v>
                </c:pt>
                <c:pt idx="1239">
                  <c:v>38349</c:v>
                </c:pt>
                <c:pt idx="1240">
                  <c:v>38350</c:v>
                </c:pt>
                <c:pt idx="1241">
                  <c:v>38351</c:v>
                </c:pt>
                <c:pt idx="1242">
                  <c:v>38352</c:v>
                </c:pt>
                <c:pt idx="1243">
                  <c:v>38355</c:v>
                </c:pt>
                <c:pt idx="1244">
                  <c:v>38356</c:v>
                </c:pt>
                <c:pt idx="1245">
                  <c:v>38357</c:v>
                </c:pt>
                <c:pt idx="1246">
                  <c:v>38358</c:v>
                </c:pt>
                <c:pt idx="1247">
                  <c:v>38359</c:v>
                </c:pt>
                <c:pt idx="1248">
                  <c:v>38362</c:v>
                </c:pt>
                <c:pt idx="1249">
                  <c:v>38363</c:v>
                </c:pt>
                <c:pt idx="1250">
                  <c:v>38364</c:v>
                </c:pt>
                <c:pt idx="1251">
                  <c:v>38365</c:v>
                </c:pt>
                <c:pt idx="1252">
                  <c:v>38366</c:v>
                </c:pt>
                <c:pt idx="1253">
                  <c:v>38369</c:v>
                </c:pt>
                <c:pt idx="1254">
                  <c:v>38370</c:v>
                </c:pt>
                <c:pt idx="1255">
                  <c:v>38371</c:v>
                </c:pt>
                <c:pt idx="1256">
                  <c:v>38372</c:v>
                </c:pt>
                <c:pt idx="1257">
                  <c:v>38373</c:v>
                </c:pt>
                <c:pt idx="1258">
                  <c:v>38376</c:v>
                </c:pt>
                <c:pt idx="1259">
                  <c:v>38377</c:v>
                </c:pt>
                <c:pt idx="1260">
                  <c:v>38378</c:v>
                </c:pt>
                <c:pt idx="1261">
                  <c:v>38379</c:v>
                </c:pt>
                <c:pt idx="1262">
                  <c:v>38380</c:v>
                </c:pt>
                <c:pt idx="1263">
                  <c:v>38383</c:v>
                </c:pt>
                <c:pt idx="1264">
                  <c:v>38384</c:v>
                </c:pt>
                <c:pt idx="1265">
                  <c:v>38385</c:v>
                </c:pt>
                <c:pt idx="1266">
                  <c:v>38386</c:v>
                </c:pt>
                <c:pt idx="1267">
                  <c:v>38387</c:v>
                </c:pt>
                <c:pt idx="1268">
                  <c:v>38390</c:v>
                </c:pt>
                <c:pt idx="1269">
                  <c:v>38391</c:v>
                </c:pt>
                <c:pt idx="1270">
                  <c:v>38392</c:v>
                </c:pt>
                <c:pt idx="1271">
                  <c:v>38393</c:v>
                </c:pt>
                <c:pt idx="1272">
                  <c:v>38394</c:v>
                </c:pt>
                <c:pt idx="1273">
                  <c:v>38397</c:v>
                </c:pt>
                <c:pt idx="1274">
                  <c:v>38398</c:v>
                </c:pt>
                <c:pt idx="1275">
                  <c:v>38399</c:v>
                </c:pt>
                <c:pt idx="1276">
                  <c:v>38400</c:v>
                </c:pt>
                <c:pt idx="1277">
                  <c:v>38401</c:v>
                </c:pt>
                <c:pt idx="1278">
                  <c:v>38404</c:v>
                </c:pt>
                <c:pt idx="1279">
                  <c:v>38405</c:v>
                </c:pt>
                <c:pt idx="1280">
                  <c:v>38406</c:v>
                </c:pt>
                <c:pt idx="1281">
                  <c:v>38407</c:v>
                </c:pt>
                <c:pt idx="1282">
                  <c:v>38408</c:v>
                </c:pt>
                <c:pt idx="1283">
                  <c:v>38411</c:v>
                </c:pt>
                <c:pt idx="1284">
                  <c:v>38412</c:v>
                </c:pt>
                <c:pt idx="1285">
                  <c:v>38413</c:v>
                </c:pt>
                <c:pt idx="1286">
                  <c:v>38414</c:v>
                </c:pt>
                <c:pt idx="1287">
                  <c:v>38415</c:v>
                </c:pt>
                <c:pt idx="1288">
                  <c:v>38418</c:v>
                </c:pt>
                <c:pt idx="1289">
                  <c:v>38419</c:v>
                </c:pt>
                <c:pt idx="1290">
                  <c:v>38420</c:v>
                </c:pt>
                <c:pt idx="1291">
                  <c:v>38421</c:v>
                </c:pt>
                <c:pt idx="1292">
                  <c:v>38422</c:v>
                </c:pt>
                <c:pt idx="1293">
                  <c:v>38425</c:v>
                </c:pt>
                <c:pt idx="1294">
                  <c:v>38426</c:v>
                </c:pt>
                <c:pt idx="1295">
                  <c:v>38427</c:v>
                </c:pt>
                <c:pt idx="1296">
                  <c:v>38428</c:v>
                </c:pt>
                <c:pt idx="1297">
                  <c:v>38429</c:v>
                </c:pt>
                <c:pt idx="1298">
                  <c:v>38432</c:v>
                </c:pt>
                <c:pt idx="1299">
                  <c:v>38433</c:v>
                </c:pt>
                <c:pt idx="1300">
                  <c:v>38434</c:v>
                </c:pt>
                <c:pt idx="1301">
                  <c:v>38435</c:v>
                </c:pt>
                <c:pt idx="1302">
                  <c:v>38436</c:v>
                </c:pt>
                <c:pt idx="1303">
                  <c:v>38439</c:v>
                </c:pt>
                <c:pt idx="1304">
                  <c:v>38440</c:v>
                </c:pt>
                <c:pt idx="1305">
                  <c:v>38441</c:v>
                </c:pt>
                <c:pt idx="1306">
                  <c:v>38442</c:v>
                </c:pt>
                <c:pt idx="1307">
                  <c:v>38443</c:v>
                </c:pt>
                <c:pt idx="1308">
                  <c:v>38446</c:v>
                </c:pt>
                <c:pt idx="1309">
                  <c:v>38447</c:v>
                </c:pt>
                <c:pt idx="1310">
                  <c:v>38448</c:v>
                </c:pt>
                <c:pt idx="1311">
                  <c:v>38449</c:v>
                </c:pt>
                <c:pt idx="1312">
                  <c:v>38450</c:v>
                </c:pt>
                <c:pt idx="1313">
                  <c:v>38453</c:v>
                </c:pt>
                <c:pt idx="1314">
                  <c:v>38454</c:v>
                </c:pt>
                <c:pt idx="1315">
                  <c:v>38455</c:v>
                </c:pt>
                <c:pt idx="1316">
                  <c:v>38456</c:v>
                </c:pt>
                <c:pt idx="1317">
                  <c:v>38457</c:v>
                </c:pt>
                <c:pt idx="1318">
                  <c:v>38460</c:v>
                </c:pt>
                <c:pt idx="1319">
                  <c:v>38461</c:v>
                </c:pt>
                <c:pt idx="1320">
                  <c:v>38462</c:v>
                </c:pt>
                <c:pt idx="1321">
                  <c:v>38463</c:v>
                </c:pt>
                <c:pt idx="1322">
                  <c:v>38464</c:v>
                </c:pt>
                <c:pt idx="1323">
                  <c:v>38467</c:v>
                </c:pt>
                <c:pt idx="1324">
                  <c:v>38468</c:v>
                </c:pt>
                <c:pt idx="1325">
                  <c:v>38469</c:v>
                </c:pt>
                <c:pt idx="1326">
                  <c:v>38470</c:v>
                </c:pt>
                <c:pt idx="1327">
                  <c:v>38471</c:v>
                </c:pt>
                <c:pt idx="1328">
                  <c:v>38474</c:v>
                </c:pt>
                <c:pt idx="1329">
                  <c:v>38475</c:v>
                </c:pt>
                <c:pt idx="1330">
                  <c:v>38476</c:v>
                </c:pt>
                <c:pt idx="1331">
                  <c:v>38477</c:v>
                </c:pt>
                <c:pt idx="1332">
                  <c:v>38478</c:v>
                </c:pt>
                <c:pt idx="1333">
                  <c:v>38481</c:v>
                </c:pt>
                <c:pt idx="1334">
                  <c:v>38482</c:v>
                </c:pt>
                <c:pt idx="1335">
                  <c:v>38483</c:v>
                </c:pt>
                <c:pt idx="1336">
                  <c:v>38484</c:v>
                </c:pt>
                <c:pt idx="1337">
                  <c:v>38485</c:v>
                </c:pt>
                <c:pt idx="1338">
                  <c:v>38488</c:v>
                </c:pt>
                <c:pt idx="1339">
                  <c:v>38489</c:v>
                </c:pt>
                <c:pt idx="1340">
                  <c:v>38490</c:v>
                </c:pt>
                <c:pt idx="1341">
                  <c:v>38491</c:v>
                </c:pt>
                <c:pt idx="1342">
                  <c:v>38492</c:v>
                </c:pt>
                <c:pt idx="1343">
                  <c:v>38495</c:v>
                </c:pt>
                <c:pt idx="1344">
                  <c:v>38496</c:v>
                </c:pt>
                <c:pt idx="1345">
                  <c:v>38497</c:v>
                </c:pt>
                <c:pt idx="1346">
                  <c:v>38498</c:v>
                </c:pt>
                <c:pt idx="1347">
                  <c:v>38499</c:v>
                </c:pt>
                <c:pt idx="1348">
                  <c:v>38502</c:v>
                </c:pt>
                <c:pt idx="1349">
                  <c:v>38503</c:v>
                </c:pt>
                <c:pt idx="1350">
                  <c:v>38504</c:v>
                </c:pt>
                <c:pt idx="1351">
                  <c:v>38505</c:v>
                </c:pt>
                <c:pt idx="1352">
                  <c:v>38506</c:v>
                </c:pt>
                <c:pt idx="1353">
                  <c:v>38509</c:v>
                </c:pt>
                <c:pt idx="1354">
                  <c:v>38510</c:v>
                </c:pt>
                <c:pt idx="1355">
                  <c:v>38511</c:v>
                </c:pt>
                <c:pt idx="1356">
                  <c:v>38512</c:v>
                </c:pt>
                <c:pt idx="1357">
                  <c:v>38513</c:v>
                </c:pt>
                <c:pt idx="1358">
                  <c:v>38516</c:v>
                </c:pt>
                <c:pt idx="1359">
                  <c:v>38517</c:v>
                </c:pt>
                <c:pt idx="1360">
                  <c:v>38518</c:v>
                </c:pt>
                <c:pt idx="1361">
                  <c:v>38519</c:v>
                </c:pt>
                <c:pt idx="1362">
                  <c:v>38520</c:v>
                </c:pt>
                <c:pt idx="1363">
                  <c:v>38523</c:v>
                </c:pt>
                <c:pt idx="1364">
                  <c:v>38524</c:v>
                </c:pt>
                <c:pt idx="1365">
                  <c:v>38525</c:v>
                </c:pt>
                <c:pt idx="1366">
                  <c:v>38526</c:v>
                </c:pt>
                <c:pt idx="1367">
                  <c:v>38527</c:v>
                </c:pt>
                <c:pt idx="1368">
                  <c:v>38530</c:v>
                </c:pt>
                <c:pt idx="1369">
                  <c:v>38531</c:v>
                </c:pt>
                <c:pt idx="1370">
                  <c:v>38532</c:v>
                </c:pt>
                <c:pt idx="1371">
                  <c:v>38533</c:v>
                </c:pt>
                <c:pt idx="1372">
                  <c:v>38534</c:v>
                </c:pt>
                <c:pt idx="1373">
                  <c:v>38537</c:v>
                </c:pt>
                <c:pt idx="1374">
                  <c:v>38538</c:v>
                </c:pt>
                <c:pt idx="1375">
                  <c:v>38539</c:v>
                </c:pt>
                <c:pt idx="1376">
                  <c:v>38540</c:v>
                </c:pt>
                <c:pt idx="1377">
                  <c:v>38541</c:v>
                </c:pt>
                <c:pt idx="1378">
                  <c:v>38544</c:v>
                </c:pt>
                <c:pt idx="1379">
                  <c:v>38545</c:v>
                </c:pt>
                <c:pt idx="1380">
                  <c:v>38546</c:v>
                </c:pt>
                <c:pt idx="1381">
                  <c:v>38547</c:v>
                </c:pt>
                <c:pt idx="1382">
                  <c:v>38548</c:v>
                </c:pt>
                <c:pt idx="1383">
                  <c:v>38551</c:v>
                </c:pt>
                <c:pt idx="1384">
                  <c:v>38552</c:v>
                </c:pt>
                <c:pt idx="1385">
                  <c:v>38553</c:v>
                </c:pt>
                <c:pt idx="1386">
                  <c:v>38554</c:v>
                </c:pt>
                <c:pt idx="1387">
                  <c:v>38555</c:v>
                </c:pt>
                <c:pt idx="1388">
                  <c:v>38558</c:v>
                </c:pt>
                <c:pt idx="1389">
                  <c:v>38559</c:v>
                </c:pt>
                <c:pt idx="1390">
                  <c:v>38560</c:v>
                </c:pt>
                <c:pt idx="1391">
                  <c:v>38561</c:v>
                </c:pt>
                <c:pt idx="1392">
                  <c:v>38562</c:v>
                </c:pt>
                <c:pt idx="1393">
                  <c:v>38565</c:v>
                </c:pt>
                <c:pt idx="1394">
                  <c:v>38566</c:v>
                </c:pt>
                <c:pt idx="1395">
                  <c:v>38567</c:v>
                </c:pt>
                <c:pt idx="1396">
                  <c:v>38568</c:v>
                </c:pt>
                <c:pt idx="1397">
                  <c:v>38569</c:v>
                </c:pt>
                <c:pt idx="1398">
                  <c:v>38572</c:v>
                </c:pt>
                <c:pt idx="1399">
                  <c:v>38573</c:v>
                </c:pt>
                <c:pt idx="1400">
                  <c:v>38574</c:v>
                </c:pt>
                <c:pt idx="1401">
                  <c:v>38575</c:v>
                </c:pt>
                <c:pt idx="1402">
                  <c:v>38576</c:v>
                </c:pt>
                <c:pt idx="1403">
                  <c:v>38579</c:v>
                </c:pt>
                <c:pt idx="1404">
                  <c:v>38580</c:v>
                </c:pt>
                <c:pt idx="1405">
                  <c:v>38581</c:v>
                </c:pt>
                <c:pt idx="1406">
                  <c:v>38582</c:v>
                </c:pt>
                <c:pt idx="1407">
                  <c:v>38583</c:v>
                </c:pt>
                <c:pt idx="1408">
                  <c:v>38586</c:v>
                </c:pt>
                <c:pt idx="1409">
                  <c:v>38587</c:v>
                </c:pt>
                <c:pt idx="1410">
                  <c:v>38588</c:v>
                </c:pt>
                <c:pt idx="1411">
                  <c:v>38589</c:v>
                </c:pt>
                <c:pt idx="1412">
                  <c:v>38590</c:v>
                </c:pt>
                <c:pt idx="1413">
                  <c:v>38593</c:v>
                </c:pt>
                <c:pt idx="1414">
                  <c:v>38594</c:v>
                </c:pt>
                <c:pt idx="1415">
                  <c:v>38595</c:v>
                </c:pt>
                <c:pt idx="1416">
                  <c:v>38596</c:v>
                </c:pt>
                <c:pt idx="1417">
                  <c:v>38597</c:v>
                </c:pt>
                <c:pt idx="1418">
                  <c:v>38600</c:v>
                </c:pt>
                <c:pt idx="1419">
                  <c:v>38601</c:v>
                </c:pt>
                <c:pt idx="1420">
                  <c:v>38602</c:v>
                </c:pt>
                <c:pt idx="1421">
                  <c:v>38603</c:v>
                </c:pt>
                <c:pt idx="1422">
                  <c:v>38604</c:v>
                </c:pt>
                <c:pt idx="1423">
                  <c:v>38607</c:v>
                </c:pt>
                <c:pt idx="1424">
                  <c:v>38608</c:v>
                </c:pt>
                <c:pt idx="1425">
                  <c:v>38609</c:v>
                </c:pt>
                <c:pt idx="1426">
                  <c:v>38610</c:v>
                </c:pt>
                <c:pt idx="1427">
                  <c:v>38611</c:v>
                </c:pt>
                <c:pt idx="1428">
                  <c:v>38614</c:v>
                </c:pt>
                <c:pt idx="1429">
                  <c:v>38615</c:v>
                </c:pt>
                <c:pt idx="1430">
                  <c:v>38616</c:v>
                </c:pt>
                <c:pt idx="1431">
                  <c:v>38617</c:v>
                </c:pt>
                <c:pt idx="1432">
                  <c:v>38618</c:v>
                </c:pt>
                <c:pt idx="1433">
                  <c:v>38621</c:v>
                </c:pt>
                <c:pt idx="1434">
                  <c:v>38622</c:v>
                </c:pt>
                <c:pt idx="1435">
                  <c:v>38623</c:v>
                </c:pt>
                <c:pt idx="1436">
                  <c:v>38624</c:v>
                </c:pt>
                <c:pt idx="1437">
                  <c:v>38625</c:v>
                </c:pt>
                <c:pt idx="1438">
                  <c:v>38628</c:v>
                </c:pt>
                <c:pt idx="1439">
                  <c:v>38629</c:v>
                </c:pt>
                <c:pt idx="1440">
                  <c:v>38630</c:v>
                </c:pt>
                <c:pt idx="1441">
                  <c:v>38631</c:v>
                </c:pt>
                <c:pt idx="1442">
                  <c:v>38632</c:v>
                </c:pt>
                <c:pt idx="1443">
                  <c:v>38635</c:v>
                </c:pt>
                <c:pt idx="1444">
                  <c:v>38636</c:v>
                </c:pt>
                <c:pt idx="1445">
                  <c:v>38637</c:v>
                </c:pt>
                <c:pt idx="1446">
                  <c:v>38638</c:v>
                </c:pt>
                <c:pt idx="1447">
                  <c:v>38639</c:v>
                </c:pt>
                <c:pt idx="1448">
                  <c:v>38642</c:v>
                </c:pt>
                <c:pt idx="1449">
                  <c:v>38643</c:v>
                </c:pt>
                <c:pt idx="1450">
                  <c:v>38644</c:v>
                </c:pt>
                <c:pt idx="1451">
                  <c:v>38645</c:v>
                </c:pt>
                <c:pt idx="1452">
                  <c:v>38646</c:v>
                </c:pt>
                <c:pt idx="1453">
                  <c:v>38649</c:v>
                </c:pt>
                <c:pt idx="1454">
                  <c:v>38650</c:v>
                </c:pt>
                <c:pt idx="1455">
                  <c:v>38651</c:v>
                </c:pt>
                <c:pt idx="1456">
                  <c:v>38652</c:v>
                </c:pt>
                <c:pt idx="1457">
                  <c:v>38653</c:v>
                </c:pt>
                <c:pt idx="1458">
                  <c:v>38656</c:v>
                </c:pt>
                <c:pt idx="1459">
                  <c:v>38657</c:v>
                </c:pt>
                <c:pt idx="1460">
                  <c:v>38658</c:v>
                </c:pt>
                <c:pt idx="1461">
                  <c:v>38659</c:v>
                </c:pt>
                <c:pt idx="1462">
                  <c:v>38660</c:v>
                </c:pt>
                <c:pt idx="1463">
                  <c:v>38663</c:v>
                </c:pt>
                <c:pt idx="1464">
                  <c:v>38664</c:v>
                </c:pt>
                <c:pt idx="1465">
                  <c:v>38665</c:v>
                </c:pt>
                <c:pt idx="1466">
                  <c:v>38666</c:v>
                </c:pt>
                <c:pt idx="1467">
                  <c:v>38667</c:v>
                </c:pt>
                <c:pt idx="1468">
                  <c:v>38670</c:v>
                </c:pt>
                <c:pt idx="1469">
                  <c:v>38671</c:v>
                </c:pt>
                <c:pt idx="1470">
                  <c:v>38672</c:v>
                </c:pt>
                <c:pt idx="1471">
                  <c:v>38673</c:v>
                </c:pt>
                <c:pt idx="1472">
                  <c:v>38674</c:v>
                </c:pt>
                <c:pt idx="1473">
                  <c:v>38677</c:v>
                </c:pt>
                <c:pt idx="1474">
                  <c:v>38678</c:v>
                </c:pt>
                <c:pt idx="1475">
                  <c:v>38679</c:v>
                </c:pt>
                <c:pt idx="1476">
                  <c:v>38680</c:v>
                </c:pt>
                <c:pt idx="1477">
                  <c:v>38681</c:v>
                </c:pt>
                <c:pt idx="1478">
                  <c:v>38684</c:v>
                </c:pt>
                <c:pt idx="1479">
                  <c:v>38685</c:v>
                </c:pt>
                <c:pt idx="1480">
                  <c:v>38686</c:v>
                </c:pt>
                <c:pt idx="1481">
                  <c:v>38687</c:v>
                </c:pt>
                <c:pt idx="1482">
                  <c:v>38688</c:v>
                </c:pt>
                <c:pt idx="1483">
                  <c:v>38691</c:v>
                </c:pt>
                <c:pt idx="1484">
                  <c:v>38692</c:v>
                </c:pt>
                <c:pt idx="1485">
                  <c:v>38693</c:v>
                </c:pt>
                <c:pt idx="1486">
                  <c:v>38694</c:v>
                </c:pt>
                <c:pt idx="1487">
                  <c:v>38695</c:v>
                </c:pt>
                <c:pt idx="1488">
                  <c:v>38698</c:v>
                </c:pt>
                <c:pt idx="1489">
                  <c:v>38699</c:v>
                </c:pt>
                <c:pt idx="1490">
                  <c:v>38700</c:v>
                </c:pt>
                <c:pt idx="1491">
                  <c:v>38701</c:v>
                </c:pt>
                <c:pt idx="1492">
                  <c:v>38702</c:v>
                </c:pt>
                <c:pt idx="1493">
                  <c:v>38705</c:v>
                </c:pt>
                <c:pt idx="1494">
                  <c:v>38706</c:v>
                </c:pt>
                <c:pt idx="1495">
                  <c:v>38707</c:v>
                </c:pt>
                <c:pt idx="1496">
                  <c:v>38708</c:v>
                </c:pt>
                <c:pt idx="1497">
                  <c:v>38709</c:v>
                </c:pt>
                <c:pt idx="1498">
                  <c:v>38712</c:v>
                </c:pt>
                <c:pt idx="1499">
                  <c:v>38713</c:v>
                </c:pt>
                <c:pt idx="1500">
                  <c:v>38714</c:v>
                </c:pt>
                <c:pt idx="1501">
                  <c:v>38715</c:v>
                </c:pt>
                <c:pt idx="1502">
                  <c:v>38716</c:v>
                </c:pt>
                <c:pt idx="1503">
                  <c:v>38719</c:v>
                </c:pt>
                <c:pt idx="1504">
                  <c:v>38720</c:v>
                </c:pt>
                <c:pt idx="1505">
                  <c:v>38721</c:v>
                </c:pt>
                <c:pt idx="1506">
                  <c:v>38722</c:v>
                </c:pt>
                <c:pt idx="1507">
                  <c:v>38723</c:v>
                </c:pt>
                <c:pt idx="1508">
                  <c:v>38726</c:v>
                </c:pt>
                <c:pt idx="1509">
                  <c:v>38727</c:v>
                </c:pt>
                <c:pt idx="1510">
                  <c:v>38728</c:v>
                </c:pt>
                <c:pt idx="1511">
                  <c:v>38729</c:v>
                </c:pt>
                <c:pt idx="1512">
                  <c:v>38730</c:v>
                </c:pt>
                <c:pt idx="1513">
                  <c:v>38733</c:v>
                </c:pt>
                <c:pt idx="1514">
                  <c:v>38734</c:v>
                </c:pt>
                <c:pt idx="1515">
                  <c:v>38735</c:v>
                </c:pt>
                <c:pt idx="1516">
                  <c:v>38736</c:v>
                </c:pt>
                <c:pt idx="1517">
                  <c:v>38737</c:v>
                </c:pt>
                <c:pt idx="1518">
                  <c:v>38740</c:v>
                </c:pt>
                <c:pt idx="1519">
                  <c:v>38741</c:v>
                </c:pt>
                <c:pt idx="1520">
                  <c:v>38742</c:v>
                </c:pt>
                <c:pt idx="1521">
                  <c:v>38743</c:v>
                </c:pt>
                <c:pt idx="1522">
                  <c:v>38744</c:v>
                </c:pt>
                <c:pt idx="1523">
                  <c:v>38747</c:v>
                </c:pt>
                <c:pt idx="1524">
                  <c:v>38748</c:v>
                </c:pt>
                <c:pt idx="1525">
                  <c:v>38749</c:v>
                </c:pt>
                <c:pt idx="1526">
                  <c:v>38750</c:v>
                </c:pt>
                <c:pt idx="1527">
                  <c:v>38751</c:v>
                </c:pt>
                <c:pt idx="1528">
                  <c:v>38754</c:v>
                </c:pt>
                <c:pt idx="1529">
                  <c:v>38755</c:v>
                </c:pt>
                <c:pt idx="1530">
                  <c:v>38756</c:v>
                </c:pt>
                <c:pt idx="1531">
                  <c:v>38757</c:v>
                </c:pt>
                <c:pt idx="1532">
                  <c:v>38758</c:v>
                </c:pt>
                <c:pt idx="1533">
                  <c:v>38761</c:v>
                </c:pt>
                <c:pt idx="1534">
                  <c:v>38762</c:v>
                </c:pt>
                <c:pt idx="1535">
                  <c:v>38763</c:v>
                </c:pt>
                <c:pt idx="1536">
                  <c:v>38764</c:v>
                </c:pt>
                <c:pt idx="1537">
                  <c:v>38765</c:v>
                </c:pt>
                <c:pt idx="1538">
                  <c:v>38768</c:v>
                </c:pt>
                <c:pt idx="1539">
                  <c:v>38769</c:v>
                </c:pt>
                <c:pt idx="1540">
                  <c:v>38770</c:v>
                </c:pt>
                <c:pt idx="1541">
                  <c:v>38771</c:v>
                </c:pt>
                <c:pt idx="1542">
                  <c:v>38772</c:v>
                </c:pt>
                <c:pt idx="1543">
                  <c:v>38775</c:v>
                </c:pt>
                <c:pt idx="1544">
                  <c:v>38776</c:v>
                </c:pt>
                <c:pt idx="1545">
                  <c:v>38777</c:v>
                </c:pt>
                <c:pt idx="1546">
                  <c:v>38778</c:v>
                </c:pt>
                <c:pt idx="1547">
                  <c:v>38779</c:v>
                </c:pt>
                <c:pt idx="1548">
                  <c:v>38782</c:v>
                </c:pt>
                <c:pt idx="1549">
                  <c:v>38783</c:v>
                </c:pt>
                <c:pt idx="1550">
                  <c:v>38784</c:v>
                </c:pt>
                <c:pt idx="1551">
                  <c:v>38785</c:v>
                </c:pt>
                <c:pt idx="1552">
                  <c:v>38786</c:v>
                </c:pt>
                <c:pt idx="1553">
                  <c:v>38789</c:v>
                </c:pt>
                <c:pt idx="1554">
                  <c:v>38790</c:v>
                </c:pt>
                <c:pt idx="1555">
                  <c:v>38791</c:v>
                </c:pt>
                <c:pt idx="1556">
                  <c:v>38792</c:v>
                </c:pt>
                <c:pt idx="1557">
                  <c:v>38793</c:v>
                </c:pt>
                <c:pt idx="1558">
                  <c:v>38796</c:v>
                </c:pt>
                <c:pt idx="1559">
                  <c:v>38797</c:v>
                </c:pt>
                <c:pt idx="1560">
                  <c:v>38798</c:v>
                </c:pt>
                <c:pt idx="1561">
                  <c:v>38799</c:v>
                </c:pt>
                <c:pt idx="1562">
                  <c:v>38800</c:v>
                </c:pt>
                <c:pt idx="1563">
                  <c:v>38803</c:v>
                </c:pt>
                <c:pt idx="1564">
                  <c:v>38804</c:v>
                </c:pt>
                <c:pt idx="1565">
                  <c:v>38805</c:v>
                </c:pt>
                <c:pt idx="1566">
                  <c:v>38806</c:v>
                </c:pt>
                <c:pt idx="1567">
                  <c:v>38807</c:v>
                </c:pt>
                <c:pt idx="1568">
                  <c:v>38810</c:v>
                </c:pt>
                <c:pt idx="1569">
                  <c:v>38811</c:v>
                </c:pt>
                <c:pt idx="1570">
                  <c:v>38812</c:v>
                </c:pt>
                <c:pt idx="1571">
                  <c:v>38813</c:v>
                </c:pt>
                <c:pt idx="1572">
                  <c:v>38814</c:v>
                </c:pt>
                <c:pt idx="1573">
                  <c:v>38817</c:v>
                </c:pt>
                <c:pt idx="1574">
                  <c:v>38818</c:v>
                </c:pt>
                <c:pt idx="1575">
                  <c:v>38819</c:v>
                </c:pt>
                <c:pt idx="1576">
                  <c:v>38820</c:v>
                </c:pt>
                <c:pt idx="1577">
                  <c:v>38821</c:v>
                </c:pt>
                <c:pt idx="1578">
                  <c:v>38824</c:v>
                </c:pt>
                <c:pt idx="1579">
                  <c:v>38825</c:v>
                </c:pt>
                <c:pt idx="1580">
                  <c:v>38826</c:v>
                </c:pt>
                <c:pt idx="1581">
                  <c:v>38827</c:v>
                </c:pt>
                <c:pt idx="1582">
                  <c:v>38828</c:v>
                </c:pt>
                <c:pt idx="1583">
                  <c:v>38831</c:v>
                </c:pt>
                <c:pt idx="1584">
                  <c:v>38832</c:v>
                </c:pt>
                <c:pt idx="1585">
                  <c:v>38833</c:v>
                </c:pt>
                <c:pt idx="1586">
                  <c:v>38834</c:v>
                </c:pt>
                <c:pt idx="1587">
                  <c:v>38835</c:v>
                </c:pt>
                <c:pt idx="1588">
                  <c:v>38838</c:v>
                </c:pt>
                <c:pt idx="1589">
                  <c:v>38839</c:v>
                </c:pt>
                <c:pt idx="1590">
                  <c:v>38840</c:v>
                </c:pt>
                <c:pt idx="1591">
                  <c:v>38841</c:v>
                </c:pt>
                <c:pt idx="1592">
                  <c:v>38842</c:v>
                </c:pt>
                <c:pt idx="1593">
                  <c:v>38845</c:v>
                </c:pt>
                <c:pt idx="1594">
                  <c:v>38846</c:v>
                </c:pt>
                <c:pt idx="1595">
                  <c:v>38847</c:v>
                </c:pt>
                <c:pt idx="1596">
                  <c:v>38848</c:v>
                </c:pt>
                <c:pt idx="1597">
                  <c:v>38849</c:v>
                </c:pt>
                <c:pt idx="1598">
                  <c:v>38852</c:v>
                </c:pt>
                <c:pt idx="1599">
                  <c:v>38853</c:v>
                </c:pt>
                <c:pt idx="1600">
                  <c:v>38854</c:v>
                </c:pt>
                <c:pt idx="1601">
                  <c:v>38855</c:v>
                </c:pt>
                <c:pt idx="1602">
                  <c:v>38856</c:v>
                </c:pt>
                <c:pt idx="1603">
                  <c:v>38859</c:v>
                </c:pt>
                <c:pt idx="1604">
                  <c:v>38860</c:v>
                </c:pt>
                <c:pt idx="1605">
                  <c:v>38861</c:v>
                </c:pt>
                <c:pt idx="1606">
                  <c:v>38862</c:v>
                </c:pt>
                <c:pt idx="1607">
                  <c:v>38863</c:v>
                </c:pt>
                <c:pt idx="1608">
                  <c:v>38866</c:v>
                </c:pt>
                <c:pt idx="1609">
                  <c:v>38867</c:v>
                </c:pt>
                <c:pt idx="1610">
                  <c:v>38868</c:v>
                </c:pt>
                <c:pt idx="1611">
                  <c:v>38869</c:v>
                </c:pt>
                <c:pt idx="1612">
                  <c:v>38870</c:v>
                </c:pt>
                <c:pt idx="1613">
                  <c:v>38873</c:v>
                </c:pt>
                <c:pt idx="1614">
                  <c:v>38874</c:v>
                </c:pt>
                <c:pt idx="1615">
                  <c:v>38875</c:v>
                </c:pt>
                <c:pt idx="1616">
                  <c:v>38876</c:v>
                </c:pt>
                <c:pt idx="1617">
                  <c:v>38877</c:v>
                </c:pt>
                <c:pt idx="1618">
                  <c:v>38880</c:v>
                </c:pt>
                <c:pt idx="1619">
                  <c:v>38881</c:v>
                </c:pt>
                <c:pt idx="1620">
                  <c:v>38882</c:v>
                </c:pt>
                <c:pt idx="1621">
                  <c:v>38883</c:v>
                </c:pt>
                <c:pt idx="1622">
                  <c:v>38884</c:v>
                </c:pt>
                <c:pt idx="1623">
                  <c:v>38887</c:v>
                </c:pt>
                <c:pt idx="1624">
                  <c:v>38888</c:v>
                </c:pt>
                <c:pt idx="1625">
                  <c:v>38889</c:v>
                </c:pt>
                <c:pt idx="1626">
                  <c:v>38890</c:v>
                </c:pt>
                <c:pt idx="1627">
                  <c:v>38891</c:v>
                </c:pt>
                <c:pt idx="1628">
                  <c:v>38894</c:v>
                </c:pt>
                <c:pt idx="1629">
                  <c:v>38895</c:v>
                </c:pt>
                <c:pt idx="1630">
                  <c:v>38896</c:v>
                </c:pt>
                <c:pt idx="1631">
                  <c:v>38897</c:v>
                </c:pt>
                <c:pt idx="1632">
                  <c:v>38898</c:v>
                </c:pt>
                <c:pt idx="1633">
                  <c:v>38901</c:v>
                </c:pt>
                <c:pt idx="1634">
                  <c:v>38902</c:v>
                </c:pt>
                <c:pt idx="1635">
                  <c:v>38903</c:v>
                </c:pt>
                <c:pt idx="1636">
                  <c:v>38904</c:v>
                </c:pt>
                <c:pt idx="1637">
                  <c:v>38905</c:v>
                </c:pt>
                <c:pt idx="1638">
                  <c:v>38908</c:v>
                </c:pt>
                <c:pt idx="1639">
                  <c:v>38909</c:v>
                </c:pt>
                <c:pt idx="1640">
                  <c:v>38910</c:v>
                </c:pt>
                <c:pt idx="1641">
                  <c:v>38911</c:v>
                </c:pt>
                <c:pt idx="1642">
                  <c:v>38912</c:v>
                </c:pt>
                <c:pt idx="1643">
                  <c:v>38915</c:v>
                </c:pt>
                <c:pt idx="1644">
                  <c:v>38916</c:v>
                </c:pt>
                <c:pt idx="1645">
                  <c:v>38917</c:v>
                </c:pt>
                <c:pt idx="1646">
                  <c:v>38918</c:v>
                </c:pt>
                <c:pt idx="1647">
                  <c:v>38919</c:v>
                </c:pt>
                <c:pt idx="1648">
                  <c:v>38922</c:v>
                </c:pt>
                <c:pt idx="1649">
                  <c:v>38923</c:v>
                </c:pt>
                <c:pt idx="1650">
                  <c:v>38924</c:v>
                </c:pt>
                <c:pt idx="1651">
                  <c:v>38925</c:v>
                </c:pt>
                <c:pt idx="1652">
                  <c:v>38926</c:v>
                </c:pt>
                <c:pt idx="1653">
                  <c:v>38929</c:v>
                </c:pt>
                <c:pt idx="1654">
                  <c:v>38930</c:v>
                </c:pt>
                <c:pt idx="1655">
                  <c:v>38931</c:v>
                </c:pt>
                <c:pt idx="1656">
                  <c:v>38932</c:v>
                </c:pt>
                <c:pt idx="1657">
                  <c:v>38933</c:v>
                </c:pt>
                <c:pt idx="1658">
                  <c:v>38936</c:v>
                </c:pt>
                <c:pt idx="1659">
                  <c:v>38937</c:v>
                </c:pt>
                <c:pt idx="1660">
                  <c:v>38938</c:v>
                </c:pt>
                <c:pt idx="1661">
                  <c:v>38939</c:v>
                </c:pt>
                <c:pt idx="1662">
                  <c:v>38940</c:v>
                </c:pt>
                <c:pt idx="1663">
                  <c:v>38943</c:v>
                </c:pt>
                <c:pt idx="1664">
                  <c:v>38944</c:v>
                </c:pt>
                <c:pt idx="1665">
                  <c:v>38945</c:v>
                </c:pt>
                <c:pt idx="1666">
                  <c:v>38946</c:v>
                </c:pt>
                <c:pt idx="1667">
                  <c:v>38947</c:v>
                </c:pt>
                <c:pt idx="1668">
                  <c:v>38950</c:v>
                </c:pt>
                <c:pt idx="1669">
                  <c:v>38951</c:v>
                </c:pt>
                <c:pt idx="1670">
                  <c:v>38952</c:v>
                </c:pt>
                <c:pt idx="1671">
                  <c:v>38953</c:v>
                </c:pt>
                <c:pt idx="1672">
                  <c:v>38954</c:v>
                </c:pt>
                <c:pt idx="1673">
                  <c:v>38957</c:v>
                </c:pt>
                <c:pt idx="1674">
                  <c:v>38958</c:v>
                </c:pt>
                <c:pt idx="1675">
                  <c:v>38959</c:v>
                </c:pt>
                <c:pt idx="1676">
                  <c:v>38960</c:v>
                </c:pt>
                <c:pt idx="1677">
                  <c:v>38961</c:v>
                </c:pt>
                <c:pt idx="1678">
                  <c:v>38964</c:v>
                </c:pt>
                <c:pt idx="1679">
                  <c:v>38965</c:v>
                </c:pt>
                <c:pt idx="1680">
                  <c:v>38966</c:v>
                </c:pt>
                <c:pt idx="1681">
                  <c:v>38967</c:v>
                </c:pt>
                <c:pt idx="1682">
                  <c:v>38968</c:v>
                </c:pt>
                <c:pt idx="1683">
                  <c:v>38971</c:v>
                </c:pt>
                <c:pt idx="1684">
                  <c:v>38972</c:v>
                </c:pt>
                <c:pt idx="1685">
                  <c:v>38973</c:v>
                </c:pt>
                <c:pt idx="1686">
                  <c:v>38974</c:v>
                </c:pt>
                <c:pt idx="1687">
                  <c:v>38975</c:v>
                </c:pt>
                <c:pt idx="1688">
                  <c:v>38978</c:v>
                </c:pt>
                <c:pt idx="1689">
                  <c:v>38979</c:v>
                </c:pt>
                <c:pt idx="1690">
                  <c:v>38980</c:v>
                </c:pt>
                <c:pt idx="1691">
                  <c:v>38981</c:v>
                </c:pt>
                <c:pt idx="1692">
                  <c:v>38982</c:v>
                </c:pt>
                <c:pt idx="1693">
                  <c:v>38985</c:v>
                </c:pt>
                <c:pt idx="1694">
                  <c:v>38986</c:v>
                </c:pt>
                <c:pt idx="1695">
                  <c:v>38987</c:v>
                </c:pt>
                <c:pt idx="1696">
                  <c:v>38988</c:v>
                </c:pt>
                <c:pt idx="1697">
                  <c:v>38989</c:v>
                </c:pt>
                <c:pt idx="1698">
                  <c:v>38992</c:v>
                </c:pt>
                <c:pt idx="1699">
                  <c:v>38993</c:v>
                </c:pt>
                <c:pt idx="1700">
                  <c:v>38994</c:v>
                </c:pt>
                <c:pt idx="1701">
                  <c:v>38995</c:v>
                </c:pt>
                <c:pt idx="1702">
                  <c:v>38996</c:v>
                </c:pt>
                <c:pt idx="1703">
                  <c:v>38999</c:v>
                </c:pt>
                <c:pt idx="1704">
                  <c:v>39000</c:v>
                </c:pt>
                <c:pt idx="1705">
                  <c:v>39001</c:v>
                </c:pt>
                <c:pt idx="1706">
                  <c:v>39002</c:v>
                </c:pt>
                <c:pt idx="1707">
                  <c:v>39003</c:v>
                </c:pt>
                <c:pt idx="1708">
                  <c:v>39006</c:v>
                </c:pt>
                <c:pt idx="1709">
                  <c:v>39007</c:v>
                </c:pt>
                <c:pt idx="1710">
                  <c:v>39008</c:v>
                </c:pt>
                <c:pt idx="1711">
                  <c:v>39009</c:v>
                </c:pt>
                <c:pt idx="1712">
                  <c:v>39010</c:v>
                </c:pt>
                <c:pt idx="1713">
                  <c:v>39013</c:v>
                </c:pt>
                <c:pt idx="1714">
                  <c:v>39014</c:v>
                </c:pt>
                <c:pt idx="1715">
                  <c:v>39015</c:v>
                </c:pt>
                <c:pt idx="1716">
                  <c:v>39016</c:v>
                </c:pt>
                <c:pt idx="1717">
                  <c:v>39017</c:v>
                </c:pt>
                <c:pt idx="1718">
                  <c:v>39020</c:v>
                </c:pt>
                <c:pt idx="1719">
                  <c:v>39021</c:v>
                </c:pt>
                <c:pt idx="1720">
                  <c:v>39022</c:v>
                </c:pt>
                <c:pt idx="1721">
                  <c:v>39023</c:v>
                </c:pt>
                <c:pt idx="1722">
                  <c:v>39024</c:v>
                </c:pt>
                <c:pt idx="1723">
                  <c:v>39027</c:v>
                </c:pt>
                <c:pt idx="1724">
                  <c:v>39028</c:v>
                </c:pt>
                <c:pt idx="1725">
                  <c:v>39029</c:v>
                </c:pt>
                <c:pt idx="1726">
                  <c:v>39030</c:v>
                </c:pt>
                <c:pt idx="1727">
                  <c:v>39031</c:v>
                </c:pt>
                <c:pt idx="1728">
                  <c:v>39034</c:v>
                </c:pt>
                <c:pt idx="1729">
                  <c:v>39035</c:v>
                </c:pt>
                <c:pt idx="1730">
                  <c:v>39036</c:v>
                </c:pt>
                <c:pt idx="1731">
                  <c:v>39037</c:v>
                </c:pt>
                <c:pt idx="1732">
                  <c:v>39038</c:v>
                </c:pt>
                <c:pt idx="1733">
                  <c:v>39041</c:v>
                </c:pt>
                <c:pt idx="1734">
                  <c:v>39042</c:v>
                </c:pt>
                <c:pt idx="1735">
                  <c:v>39043</c:v>
                </c:pt>
                <c:pt idx="1736">
                  <c:v>39044</c:v>
                </c:pt>
                <c:pt idx="1737">
                  <c:v>39045</c:v>
                </c:pt>
                <c:pt idx="1738">
                  <c:v>39048</c:v>
                </c:pt>
                <c:pt idx="1739">
                  <c:v>39049</c:v>
                </c:pt>
                <c:pt idx="1740">
                  <c:v>39050</c:v>
                </c:pt>
                <c:pt idx="1741">
                  <c:v>39051</c:v>
                </c:pt>
                <c:pt idx="1742">
                  <c:v>39052</c:v>
                </c:pt>
                <c:pt idx="1743">
                  <c:v>39055</c:v>
                </c:pt>
                <c:pt idx="1744">
                  <c:v>39056</c:v>
                </c:pt>
                <c:pt idx="1745">
                  <c:v>39057</c:v>
                </c:pt>
                <c:pt idx="1746">
                  <c:v>39058</c:v>
                </c:pt>
                <c:pt idx="1747">
                  <c:v>39059</c:v>
                </c:pt>
                <c:pt idx="1748">
                  <c:v>39062</c:v>
                </c:pt>
                <c:pt idx="1749">
                  <c:v>39063</c:v>
                </c:pt>
                <c:pt idx="1750">
                  <c:v>39064</c:v>
                </c:pt>
                <c:pt idx="1751">
                  <c:v>39065</c:v>
                </c:pt>
                <c:pt idx="1752">
                  <c:v>39066</c:v>
                </c:pt>
                <c:pt idx="1753">
                  <c:v>39069</c:v>
                </c:pt>
                <c:pt idx="1754">
                  <c:v>39070</c:v>
                </c:pt>
                <c:pt idx="1755">
                  <c:v>39071</c:v>
                </c:pt>
                <c:pt idx="1756">
                  <c:v>39072</c:v>
                </c:pt>
                <c:pt idx="1757">
                  <c:v>39073</c:v>
                </c:pt>
                <c:pt idx="1758">
                  <c:v>39076</c:v>
                </c:pt>
                <c:pt idx="1759">
                  <c:v>39077</c:v>
                </c:pt>
                <c:pt idx="1760">
                  <c:v>39078</c:v>
                </c:pt>
                <c:pt idx="1761">
                  <c:v>39079</c:v>
                </c:pt>
                <c:pt idx="1762">
                  <c:v>39080</c:v>
                </c:pt>
                <c:pt idx="1763">
                  <c:v>39083</c:v>
                </c:pt>
                <c:pt idx="1764">
                  <c:v>39084</c:v>
                </c:pt>
                <c:pt idx="1765">
                  <c:v>39085</c:v>
                </c:pt>
                <c:pt idx="1766">
                  <c:v>39086</c:v>
                </c:pt>
                <c:pt idx="1767">
                  <c:v>39087</c:v>
                </c:pt>
                <c:pt idx="1768">
                  <c:v>39090</c:v>
                </c:pt>
                <c:pt idx="1769">
                  <c:v>39091</c:v>
                </c:pt>
                <c:pt idx="1770">
                  <c:v>39092</c:v>
                </c:pt>
                <c:pt idx="1771">
                  <c:v>39093</c:v>
                </c:pt>
                <c:pt idx="1772">
                  <c:v>39094</c:v>
                </c:pt>
                <c:pt idx="1773">
                  <c:v>39097</c:v>
                </c:pt>
                <c:pt idx="1774">
                  <c:v>39098</c:v>
                </c:pt>
                <c:pt idx="1775">
                  <c:v>39099</c:v>
                </c:pt>
                <c:pt idx="1776">
                  <c:v>39100</c:v>
                </c:pt>
                <c:pt idx="1777">
                  <c:v>39101</c:v>
                </c:pt>
                <c:pt idx="1778">
                  <c:v>39104</c:v>
                </c:pt>
                <c:pt idx="1779">
                  <c:v>39105</c:v>
                </c:pt>
                <c:pt idx="1780">
                  <c:v>39106</c:v>
                </c:pt>
                <c:pt idx="1781">
                  <c:v>39107</c:v>
                </c:pt>
                <c:pt idx="1782">
                  <c:v>39108</c:v>
                </c:pt>
                <c:pt idx="1783">
                  <c:v>39111</c:v>
                </c:pt>
                <c:pt idx="1784">
                  <c:v>39112</c:v>
                </c:pt>
                <c:pt idx="1785">
                  <c:v>39113</c:v>
                </c:pt>
                <c:pt idx="1786">
                  <c:v>39114</c:v>
                </c:pt>
                <c:pt idx="1787">
                  <c:v>39115</c:v>
                </c:pt>
                <c:pt idx="1788">
                  <c:v>39118</c:v>
                </c:pt>
                <c:pt idx="1789">
                  <c:v>39119</c:v>
                </c:pt>
                <c:pt idx="1790">
                  <c:v>39120</c:v>
                </c:pt>
                <c:pt idx="1791">
                  <c:v>39121</c:v>
                </c:pt>
                <c:pt idx="1792">
                  <c:v>39122</c:v>
                </c:pt>
                <c:pt idx="1793">
                  <c:v>39125</c:v>
                </c:pt>
                <c:pt idx="1794">
                  <c:v>39126</c:v>
                </c:pt>
                <c:pt idx="1795">
                  <c:v>39127</c:v>
                </c:pt>
                <c:pt idx="1796">
                  <c:v>39128</c:v>
                </c:pt>
                <c:pt idx="1797">
                  <c:v>39129</c:v>
                </c:pt>
                <c:pt idx="1798">
                  <c:v>39132</c:v>
                </c:pt>
                <c:pt idx="1799">
                  <c:v>39133</c:v>
                </c:pt>
                <c:pt idx="1800">
                  <c:v>39134</c:v>
                </c:pt>
                <c:pt idx="1801">
                  <c:v>39135</c:v>
                </c:pt>
                <c:pt idx="1802">
                  <c:v>39136</c:v>
                </c:pt>
                <c:pt idx="1803">
                  <c:v>39139</c:v>
                </c:pt>
                <c:pt idx="1804">
                  <c:v>39140</c:v>
                </c:pt>
                <c:pt idx="1805">
                  <c:v>39141</c:v>
                </c:pt>
                <c:pt idx="1806">
                  <c:v>39142</c:v>
                </c:pt>
                <c:pt idx="1807">
                  <c:v>39143</c:v>
                </c:pt>
                <c:pt idx="1808">
                  <c:v>39146</c:v>
                </c:pt>
                <c:pt idx="1809">
                  <c:v>39147</c:v>
                </c:pt>
                <c:pt idx="1810">
                  <c:v>39148</c:v>
                </c:pt>
                <c:pt idx="1811">
                  <c:v>39149</c:v>
                </c:pt>
                <c:pt idx="1812">
                  <c:v>39150</c:v>
                </c:pt>
                <c:pt idx="1813">
                  <c:v>39153</c:v>
                </c:pt>
                <c:pt idx="1814">
                  <c:v>39154</c:v>
                </c:pt>
                <c:pt idx="1815">
                  <c:v>39155</c:v>
                </c:pt>
                <c:pt idx="1816">
                  <c:v>39156</c:v>
                </c:pt>
                <c:pt idx="1817">
                  <c:v>39157</c:v>
                </c:pt>
                <c:pt idx="1818">
                  <c:v>39160</c:v>
                </c:pt>
                <c:pt idx="1819">
                  <c:v>39161</c:v>
                </c:pt>
                <c:pt idx="1820">
                  <c:v>39162</c:v>
                </c:pt>
                <c:pt idx="1821">
                  <c:v>39163</c:v>
                </c:pt>
                <c:pt idx="1822">
                  <c:v>39164</c:v>
                </c:pt>
                <c:pt idx="1823">
                  <c:v>39167</c:v>
                </c:pt>
                <c:pt idx="1824">
                  <c:v>39168</c:v>
                </c:pt>
                <c:pt idx="1825">
                  <c:v>39169</c:v>
                </c:pt>
                <c:pt idx="1826">
                  <c:v>39170</c:v>
                </c:pt>
                <c:pt idx="1827">
                  <c:v>39171</c:v>
                </c:pt>
                <c:pt idx="1828">
                  <c:v>39174</c:v>
                </c:pt>
                <c:pt idx="1829">
                  <c:v>39175</c:v>
                </c:pt>
                <c:pt idx="1830">
                  <c:v>39176</c:v>
                </c:pt>
                <c:pt idx="1831">
                  <c:v>39177</c:v>
                </c:pt>
                <c:pt idx="1832">
                  <c:v>39178</c:v>
                </c:pt>
                <c:pt idx="1833">
                  <c:v>39181</c:v>
                </c:pt>
                <c:pt idx="1834">
                  <c:v>39182</c:v>
                </c:pt>
                <c:pt idx="1835">
                  <c:v>39183</c:v>
                </c:pt>
                <c:pt idx="1836">
                  <c:v>39184</c:v>
                </c:pt>
                <c:pt idx="1837">
                  <c:v>39185</c:v>
                </c:pt>
                <c:pt idx="1838">
                  <c:v>39188</c:v>
                </c:pt>
                <c:pt idx="1839">
                  <c:v>39189</c:v>
                </c:pt>
                <c:pt idx="1840">
                  <c:v>39190</c:v>
                </c:pt>
                <c:pt idx="1841">
                  <c:v>39191</c:v>
                </c:pt>
                <c:pt idx="1842">
                  <c:v>39192</c:v>
                </c:pt>
                <c:pt idx="1843">
                  <c:v>39195</c:v>
                </c:pt>
                <c:pt idx="1844">
                  <c:v>39196</c:v>
                </c:pt>
                <c:pt idx="1845">
                  <c:v>39197</c:v>
                </c:pt>
                <c:pt idx="1846">
                  <c:v>39198</c:v>
                </c:pt>
                <c:pt idx="1847">
                  <c:v>39199</c:v>
                </c:pt>
                <c:pt idx="1848">
                  <c:v>39202</c:v>
                </c:pt>
                <c:pt idx="1849">
                  <c:v>39203</c:v>
                </c:pt>
                <c:pt idx="1850">
                  <c:v>39204</c:v>
                </c:pt>
                <c:pt idx="1851">
                  <c:v>39205</c:v>
                </c:pt>
                <c:pt idx="1852">
                  <c:v>39206</c:v>
                </c:pt>
                <c:pt idx="1853">
                  <c:v>39209</c:v>
                </c:pt>
                <c:pt idx="1854">
                  <c:v>39210</c:v>
                </c:pt>
                <c:pt idx="1855">
                  <c:v>39211</c:v>
                </c:pt>
                <c:pt idx="1856">
                  <c:v>39212</c:v>
                </c:pt>
                <c:pt idx="1857">
                  <c:v>39213</c:v>
                </c:pt>
                <c:pt idx="1858">
                  <c:v>39216</c:v>
                </c:pt>
                <c:pt idx="1859">
                  <c:v>39217</c:v>
                </c:pt>
                <c:pt idx="1860">
                  <c:v>39218</c:v>
                </c:pt>
                <c:pt idx="1861">
                  <c:v>39219</c:v>
                </c:pt>
                <c:pt idx="1862">
                  <c:v>39220</c:v>
                </c:pt>
                <c:pt idx="1863">
                  <c:v>39223</c:v>
                </c:pt>
                <c:pt idx="1864">
                  <c:v>39224</c:v>
                </c:pt>
                <c:pt idx="1865">
                  <c:v>39225</c:v>
                </c:pt>
                <c:pt idx="1866">
                  <c:v>39226</c:v>
                </c:pt>
                <c:pt idx="1867">
                  <c:v>39227</c:v>
                </c:pt>
                <c:pt idx="1868">
                  <c:v>39230</c:v>
                </c:pt>
                <c:pt idx="1869">
                  <c:v>39231</c:v>
                </c:pt>
                <c:pt idx="1870">
                  <c:v>39232</c:v>
                </c:pt>
                <c:pt idx="1871">
                  <c:v>39233</c:v>
                </c:pt>
                <c:pt idx="1872">
                  <c:v>39234</c:v>
                </c:pt>
                <c:pt idx="1873">
                  <c:v>39237</c:v>
                </c:pt>
                <c:pt idx="1874">
                  <c:v>39238</c:v>
                </c:pt>
                <c:pt idx="1875">
                  <c:v>39239</c:v>
                </c:pt>
                <c:pt idx="1876">
                  <c:v>39240</c:v>
                </c:pt>
                <c:pt idx="1877">
                  <c:v>39241</c:v>
                </c:pt>
                <c:pt idx="1878">
                  <c:v>39244</c:v>
                </c:pt>
                <c:pt idx="1879">
                  <c:v>39245</c:v>
                </c:pt>
                <c:pt idx="1880">
                  <c:v>39246</c:v>
                </c:pt>
                <c:pt idx="1881">
                  <c:v>39247</c:v>
                </c:pt>
                <c:pt idx="1882">
                  <c:v>39248</c:v>
                </c:pt>
                <c:pt idx="1883">
                  <c:v>39251</c:v>
                </c:pt>
                <c:pt idx="1884">
                  <c:v>39252</c:v>
                </c:pt>
                <c:pt idx="1885">
                  <c:v>39253</c:v>
                </c:pt>
                <c:pt idx="1886">
                  <c:v>39254</c:v>
                </c:pt>
                <c:pt idx="1887">
                  <c:v>39255</c:v>
                </c:pt>
                <c:pt idx="1888">
                  <c:v>39258</c:v>
                </c:pt>
                <c:pt idx="1889">
                  <c:v>39259</c:v>
                </c:pt>
                <c:pt idx="1890">
                  <c:v>39260</c:v>
                </c:pt>
                <c:pt idx="1891">
                  <c:v>39261</c:v>
                </c:pt>
                <c:pt idx="1892">
                  <c:v>39262</c:v>
                </c:pt>
                <c:pt idx="1893">
                  <c:v>39265</c:v>
                </c:pt>
                <c:pt idx="1894">
                  <c:v>39266</c:v>
                </c:pt>
                <c:pt idx="1895">
                  <c:v>39267</c:v>
                </c:pt>
                <c:pt idx="1896">
                  <c:v>39268</c:v>
                </c:pt>
                <c:pt idx="1897">
                  <c:v>39269</c:v>
                </c:pt>
                <c:pt idx="1898">
                  <c:v>39272</c:v>
                </c:pt>
                <c:pt idx="1899">
                  <c:v>39273</c:v>
                </c:pt>
                <c:pt idx="1900">
                  <c:v>39274</c:v>
                </c:pt>
                <c:pt idx="1901">
                  <c:v>39275</c:v>
                </c:pt>
                <c:pt idx="1902">
                  <c:v>39276</c:v>
                </c:pt>
                <c:pt idx="1903">
                  <c:v>39279</c:v>
                </c:pt>
                <c:pt idx="1904">
                  <c:v>39280</c:v>
                </c:pt>
                <c:pt idx="1905">
                  <c:v>39281</c:v>
                </c:pt>
                <c:pt idx="1906">
                  <c:v>39282</c:v>
                </c:pt>
                <c:pt idx="1907">
                  <c:v>39283</c:v>
                </c:pt>
                <c:pt idx="1908">
                  <c:v>39286</c:v>
                </c:pt>
                <c:pt idx="1909">
                  <c:v>39287</c:v>
                </c:pt>
                <c:pt idx="1910">
                  <c:v>39288</c:v>
                </c:pt>
                <c:pt idx="1911">
                  <c:v>39289</c:v>
                </c:pt>
                <c:pt idx="1912">
                  <c:v>39290</c:v>
                </c:pt>
                <c:pt idx="1913">
                  <c:v>39293</c:v>
                </c:pt>
                <c:pt idx="1914">
                  <c:v>39294</c:v>
                </c:pt>
                <c:pt idx="1915">
                  <c:v>39295</c:v>
                </c:pt>
                <c:pt idx="1916">
                  <c:v>39296</c:v>
                </c:pt>
                <c:pt idx="1917">
                  <c:v>39297</c:v>
                </c:pt>
                <c:pt idx="1918">
                  <c:v>39300</c:v>
                </c:pt>
                <c:pt idx="1919">
                  <c:v>39301</c:v>
                </c:pt>
                <c:pt idx="1920">
                  <c:v>39302</c:v>
                </c:pt>
                <c:pt idx="1921">
                  <c:v>39303</c:v>
                </c:pt>
                <c:pt idx="1922">
                  <c:v>39304</c:v>
                </c:pt>
                <c:pt idx="1923">
                  <c:v>39307</c:v>
                </c:pt>
                <c:pt idx="1924">
                  <c:v>39308</c:v>
                </c:pt>
                <c:pt idx="1925">
                  <c:v>39309</c:v>
                </c:pt>
                <c:pt idx="1926">
                  <c:v>39310</c:v>
                </c:pt>
                <c:pt idx="1927">
                  <c:v>39311</c:v>
                </c:pt>
                <c:pt idx="1928">
                  <c:v>39314</c:v>
                </c:pt>
                <c:pt idx="1929">
                  <c:v>39315</c:v>
                </c:pt>
                <c:pt idx="1930">
                  <c:v>39316</c:v>
                </c:pt>
                <c:pt idx="1931">
                  <c:v>39317</c:v>
                </c:pt>
                <c:pt idx="1932">
                  <c:v>39318</c:v>
                </c:pt>
                <c:pt idx="1933">
                  <c:v>39321</c:v>
                </c:pt>
                <c:pt idx="1934">
                  <c:v>39322</c:v>
                </c:pt>
                <c:pt idx="1935">
                  <c:v>39323</c:v>
                </c:pt>
                <c:pt idx="1936">
                  <c:v>39324</c:v>
                </c:pt>
                <c:pt idx="1937">
                  <c:v>39325</c:v>
                </c:pt>
                <c:pt idx="1938">
                  <c:v>39328</c:v>
                </c:pt>
                <c:pt idx="1939">
                  <c:v>39329</c:v>
                </c:pt>
                <c:pt idx="1940">
                  <c:v>39330</c:v>
                </c:pt>
                <c:pt idx="1941">
                  <c:v>39331</c:v>
                </c:pt>
                <c:pt idx="1942">
                  <c:v>39332</c:v>
                </c:pt>
                <c:pt idx="1943">
                  <c:v>39335</c:v>
                </c:pt>
                <c:pt idx="1944">
                  <c:v>39336</c:v>
                </c:pt>
                <c:pt idx="1945">
                  <c:v>39337</c:v>
                </c:pt>
                <c:pt idx="1946">
                  <c:v>39338</c:v>
                </c:pt>
                <c:pt idx="1947">
                  <c:v>39339</c:v>
                </c:pt>
                <c:pt idx="1948">
                  <c:v>39342</c:v>
                </c:pt>
                <c:pt idx="1949">
                  <c:v>39343</c:v>
                </c:pt>
                <c:pt idx="1950">
                  <c:v>39344</c:v>
                </c:pt>
                <c:pt idx="1951">
                  <c:v>39345</c:v>
                </c:pt>
                <c:pt idx="1952">
                  <c:v>39346</c:v>
                </c:pt>
                <c:pt idx="1953">
                  <c:v>39349</c:v>
                </c:pt>
                <c:pt idx="1954">
                  <c:v>39350</c:v>
                </c:pt>
                <c:pt idx="1955">
                  <c:v>39351</c:v>
                </c:pt>
                <c:pt idx="1956">
                  <c:v>39352</c:v>
                </c:pt>
                <c:pt idx="1957">
                  <c:v>39353</c:v>
                </c:pt>
                <c:pt idx="1958">
                  <c:v>39356</c:v>
                </c:pt>
                <c:pt idx="1959">
                  <c:v>39357</c:v>
                </c:pt>
                <c:pt idx="1960">
                  <c:v>39358</c:v>
                </c:pt>
                <c:pt idx="1961">
                  <c:v>39359</c:v>
                </c:pt>
                <c:pt idx="1962">
                  <c:v>39360</c:v>
                </c:pt>
                <c:pt idx="1963">
                  <c:v>39363</c:v>
                </c:pt>
                <c:pt idx="1964">
                  <c:v>39364</c:v>
                </c:pt>
                <c:pt idx="1965">
                  <c:v>39365</c:v>
                </c:pt>
                <c:pt idx="1966">
                  <c:v>39366</c:v>
                </c:pt>
                <c:pt idx="1967">
                  <c:v>39367</c:v>
                </c:pt>
                <c:pt idx="1968">
                  <c:v>39370</c:v>
                </c:pt>
                <c:pt idx="1969">
                  <c:v>39371</c:v>
                </c:pt>
                <c:pt idx="1970">
                  <c:v>39372</c:v>
                </c:pt>
                <c:pt idx="1971">
                  <c:v>39373</c:v>
                </c:pt>
                <c:pt idx="1972">
                  <c:v>39374</c:v>
                </c:pt>
                <c:pt idx="1973">
                  <c:v>39377</c:v>
                </c:pt>
                <c:pt idx="1974">
                  <c:v>39378</c:v>
                </c:pt>
                <c:pt idx="1975">
                  <c:v>39379</c:v>
                </c:pt>
                <c:pt idx="1976">
                  <c:v>39380</c:v>
                </c:pt>
                <c:pt idx="1977">
                  <c:v>39381</c:v>
                </c:pt>
                <c:pt idx="1978">
                  <c:v>39384</c:v>
                </c:pt>
                <c:pt idx="1979">
                  <c:v>39385</c:v>
                </c:pt>
                <c:pt idx="1980">
                  <c:v>39386</c:v>
                </c:pt>
                <c:pt idx="1981">
                  <c:v>39387</c:v>
                </c:pt>
                <c:pt idx="1982">
                  <c:v>39388</c:v>
                </c:pt>
                <c:pt idx="1983">
                  <c:v>39391</c:v>
                </c:pt>
                <c:pt idx="1984">
                  <c:v>39392</c:v>
                </c:pt>
                <c:pt idx="1985">
                  <c:v>39393</c:v>
                </c:pt>
                <c:pt idx="1986">
                  <c:v>39394</c:v>
                </c:pt>
                <c:pt idx="1987">
                  <c:v>39395</c:v>
                </c:pt>
                <c:pt idx="1988">
                  <c:v>39398</c:v>
                </c:pt>
                <c:pt idx="1989">
                  <c:v>39399</c:v>
                </c:pt>
                <c:pt idx="1990">
                  <c:v>39400</c:v>
                </c:pt>
                <c:pt idx="1991">
                  <c:v>39401</c:v>
                </c:pt>
                <c:pt idx="1992">
                  <c:v>39402</c:v>
                </c:pt>
                <c:pt idx="1993">
                  <c:v>39405</c:v>
                </c:pt>
                <c:pt idx="1994">
                  <c:v>39406</c:v>
                </c:pt>
                <c:pt idx="1995">
                  <c:v>39407</c:v>
                </c:pt>
                <c:pt idx="1996">
                  <c:v>39408</c:v>
                </c:pt>
                <c:pt idx="1997">
                  <c:v>39409</c:v>
                </c:pt>
                <c:pt idx="1998">
                  <c:v>39412</c:v>
                </c:pt>
                <c:pt idx="1999">
                  <c:v>39413</c:v>
                </c:pt>
                <c:pt idx="2000">
                  <c:v>39414</c:v>
                </c:pt>
                <c:pt idx="2001">
                  <c:v>39415</c:v>
                </c:pt>
                <c:pt idx="2002">
                  <c:v>39416</c:v>
                </c:pt>
                <c:pt idx="2003">
                  <c:v>39419</c:v>
                </c:pt>
                <c:pt idx="2004">
                  <c:v>39420</c:v>
                </c:pt>
                <c:pt idx="2005">
                  <c:v>39421</c:v>
                </c:pt>
                <c:pt idx="2006">
                  <c:v>39422</c:v>
                </c:pt>
                <c:pt idx="2007">
                  <c:v>39423</c:v>
                </c:pt>
                <c:pt idx="2008">
                  <c:v>39426</c:v>
                </c:pt>
                <c:pt idx="2009">
                  <c:v>39427</c:v>
                </c:pt>
                <c:pt idx="2010">
                  <c:v>39428</c:v>
                </c:pt>
                <c:pt idx="2011">
                  <c:v>39429</c:v>
                </c:pt>
                <c:pt idx="2012">
                  <c:v>39430</c:v>
                </c:pt>
                <c:pt idx="2013">
                  <c:v>39433</c:v>
                </c:pt>
                <c:pt idx="2014">
                  <c:v>39434</c:v>
                </c:pt>
                <c:pt idx="2015">
                  <c:v>39435</c:v>
                </c:pt>
                <c:pt idx="2016">
                  <c:v>39436</c:v>
                </c:pt>
                <c:pt idx="2017">
                  <c:v>39437</c:v>
                </c:pt>
                <c:pt idx="2018">
                  <c:v>39443</c:v>
                </c:pt>
                <c:pt idx="2019">
                  <c:v>39444</c:v>
                </c:pt>
                <c:pt idx="2020">
                  <c:v>39447</c:v>
                </c:pt>
                <c:pt idx="2021">
                  <c:v>39449</c:v>
                </c:pt>
                <c:pt idx="2022">
                  <c:v>39450</c:v>
                </c:pt>
                <c:pt idx="2023">
                  <c:v>39451</c:v>
                </c:pt>
                <c:pt idx="2024">
                  <c:v>39454</c:v>
                </c:pt>
                <c:pt idx="2025">
                  <c:v>39455</c:v>
                </c:pt>
                <c:pt idx="2026">
                  <c:v>39456</c:v>
                </c:pt>
                <c:pt idx="2027">
                  <c:v>39457</c:v>
                </c:pt>
                <c:pt idx="2028">
                  <c:v>39458</c:v>
                </c:pt>
                <c:pt idx="2029">
                  <c:v>39461</c:v>
                </c:pt>
                <c:pt idx="2030">
                  <c:v>39462</c:v>
                </c:pt>
                <c:pt idx="2031">
                  <c:v>39463</c:v>
                </c:pt>
                <c:pt idx="2032">
                  <c:v>39464</c:v>
                </c:pt>
                <c:pt idx="2033">
                  <c:v>39465</c:v>
                </c:pt>
                <c:pt idx="2034">
                  <c:v>39468</c:v>
                </c:pt>
                <c:pt idx="2035">
                  <c:v>39469</c:v>
                </c:pt>
                <c:pt idx="2036">
                  <c:v>39470</c:v>
                </c:pt>
                <c:pt idx="2037">
                  <c:v>39471</c:v>
                </c:pt>
                <c:pt idx="2038">
                  <c:v>39472</c:v>
                </c:pt>
                <c:pt idx="2039">
                  <c:v>39475</c:v>
                </c:pt>
                <c:pt idx="2040">
                  <c:v>39476</c:v>
                </c:pt>
                <c:pt idx="2041">
                  <c:v>39477</c:v>
                </c:pt>
                <c:pt idx="2042">
                  <c:v>39478</c:v>
                </c:pt>
                <c:pt idx="2043">
                  <c:v>39479</c:v>
                </c:pt>
                <c:pt idx="2044">
                  <c:v>39482</c:v>
                </c:pt>
                <c:pt idx="2045">
                  <c:v>39483</c:v>
                </c:pt>
                <c:pt idx="2046">
                  <c:v>39484</c:v>
                </c:pt>
                <c:pt idx="2047">
                  <c:v>39485</c:v>
                </c:pt>
                <c:pt idx="2048">
                  <c:v>39486</c:v>
                </c:pt>
                <c:pt idx="2049">
                  <c:v>39489</c:v>
                </c:pt>
                <c:pt idx="2050">
                  <c:v>39490</c:v>
                </c:pt>
                <c:pt idx="2051">
                  <c:v>39491</c:v>
                </c:pt>
                <c:pt idx="2052">
                  <c:v>39492</c:v>
                </c:pt>
                <c:pt idx="2053">
                  <c:v>39493</c:v>
                </c:pt>
                <c:pt idx="2054">
                  <c:v>39496</c:v>
                </c:pt>
                <c:pt idx="2055">
                  <c:v>39497</c:v>
                </c:pt>
                <c:pt idx="2056">
                  <c:v>39498</c:v>
                </c:pt>
                <c:pt idx="2057">
                  <c:v>39499</c:v>
                </c:pt>
                <c:pt idx="2058">
                  <c:v>39500</c:v>
                </c:pt>
                <c:pt idx="2059">
                  <c:v>39503</c:v>
                </c:pt>
                <c:pt idx="2060">
                  <c:v>39504</c:v>
                </c:pt>
                <c:pt idx="2061">
                  <c:v>39505</c:v>
                </c:pt>
                <c:pt idx="2062">
                  <c:v>39506</c:v>
                </c:pt>
                <c:pt idx="2063">
                  <c:v>39507</c:v>
                </c:pt>
                <c:pt idx="2064">
                  <c:v>39510</c:v>
                </c:pt>
                <c:pt idx="2065">
                  <c:v>39511</c:v>
                </c:pt>
                <c:pt idx="2066">
                  <c:v>39512</c:v>
                </c:pt>
                <c:pt idx="2067">
                  <c:v>39513</c:v>
                </c:pt>
                <c:pt idx="2068">
                  <c:v>39514</c:v>
                </c:pt>
                <c:pt idx="2069">
                  <c:v>39517</c:v>
                </c:pt>
                <c:pt idx="2070">
                  <c:v>39518</c:v>
                </c:pt>
                <c:pt idx="2071">
                  <c:v>39519</c:v>
                </c:pt>
                <c:pt idx="2072">
                  <c:v>39520</c:v>
                </c:pt>
                <c:pt idx="2073">
                  <c:v>39521</c:v>
                </c:pt>
                <c:pt idx="2074">
                  <c:v>39524</c:v>
                </c:pt>
                <c:pt idx="2075">
                  <c:v>39525</c:v>
                </c:pt>
                <c:pt idx="2076">
                  <c:v>39526</c:v>
                </c:pt>
                <c:pt idx="2077">
                  <c:v>39527</c:v>
                </c:pt>
                <c:pt idx="2078">
                  <c:v>39532</c:v>
                </c:pt>
                <c:pt idx="2079">
                  <c:v>39533</c:v>
                </c:pt>
                <c:pt idx="2080">
                  <c:v>39534</c:v>
                </c:pt>
                <c:pt idx="2081">
                  <c:v>39535</c:v>
                </c:pt>
                <c:pt idx="2082">
                  <c:v>39538</c:v>
                </c:pt>
                <c:pt idx="2083">
                  <c:v>39539</c:v>
                </c:pt>
                <c:pt idx="2084">
                  <c:v>39540</c:v>
                </c:pt>
                <c:pt idx="2085">
                  <c:v>39541</c:v>
                </c:pt>
                <c:pt idx="2086">
                  <c:v>39542</c:v>
                </c:pt>
                <c:pt idx="2087">
                  <c:v>39545</c:v>
                </c:pt>
                <c:pt idx="2088">
                  <c:v>39546</c:v>
                </c:pt>
                <c:pt idx="2089">
                  <c:v>39547</c:v>
                </c:pt>
                <c:pt idx="2090">
                  <c:v>39548</c:v>
                </c:pt>
                <c:pt idx="2091">
                  <c:v>39549</c:v>
                </c:pt>
                <c:pt idx="2092">
                  <c:v>39552</c:v>
                </c:pt>
                <c:pt idx="2093">
                  <c:v>39553</c:v>
                </c:pt>
                <c:pt idx="2094">
                  <c:v>39554</c:v>
                </c:pt>
                <c:pt idx="2095">
                  <c:v>39555</c:v>
                </c:pt>
                <c:pt idx="2096">
                  <c:v>39556</c:v>
                </c:pt>
                <c:pt idx="2097">
                  <c:v>39559</c:v>
                </c:pt>
                <c:pt idx="2098">
                  <c:v>39560</c:v>
                </c:pt>
                <c:pt idx="2099">
                  <c:v>39561</c:v>
                </c:pt>
                <c:pt idx="2100">
                  <c:v>39562</c:v>
                </c:pt>
                <c:pt idx="2101">
                  <c:v>39563</c:v>
                </c:pt>
                <c:pt idx="2102">
                  <c:v>39566</c:v>
                </c:pt>
                <c:pt idx="2103">
                  <c:v>39567</c:v>
                </c:pt>
                <c:pt idx="2104">
                  <c:v>39568</c:v>
                </c:pt>
                <c:pt idx="2105">
                  <c:v>39569</c:v>
                </c:pt>
                <c:pt idx="2106">
                  <c:v>39570</c:v>
                </c:pt>
                <c:pt idx="2107">
                  <c:v>39573</c:v>
                </c:pt>
                <c:pt idx="2108">
                  <c:v>39574</c:v>
                </c:pt>
                <c:pt idx="2109">
                  <c:v>39575</c:v>
                </c:pt>
                <c:pt idx="2110">
                  <c:v>39576</c:v>
                </c:pt>
                <c:pt idx="2111">
                  <c:v>39577</c:v>
                </c:pt>
                <c:pt idx="2112">
                  <c:v>39580</c:v>
                </c:pt>
                <c:pt idx="2113">
                  <c:v>39581</c:v>
                </c:pt>
                <c:pt idx="2114">
                  <c:v>39582</c:v>
                </c:pt>
                <c:pt idx="2115">
                  <c:v>39583</c:v>
                </c:pt>
                <c:pt idx="2116">
                  <c:v>39584</c:v>
                </c:pt>
                <c:pt idx="2117">
                  <c:v>39587</c:v>
                </c:pt>
                <c:pt idx="2118">
                  <c:v>39588</c:v>
                </c:pt>
                <c:pt idx="2119">
                  <c:v>39589</c:v>
                </c:pt>
                <c:pt idx="2120">
                  <c:v>39590</c:v>
                </c:pt>
                <c:pt idx="2121">
                  <c:v>39591</c:v>
                </c:pt>
                <c:pt idx="2122">
                  <c:v>39594</c:v>
                </c:pt>
                <c:pt idx="2123">
                  <c:v>39595</c:v>
                </c:pt>
                <c:pt idx="2124">
                  <c:v>39596</c:v>
                </c:pt>
                <c:pt idx="2125">
                  <c:v>39597</c:v>
                </c:pt>
                <c:pt idx="2126">
                  <c:v>39598</c:v>
                </c:pt>
                <c:pt idx="2127">
                  <c:v>39601</c:v>
                </c:pt>
                <c:pt idx="2128">
                  <c:v>39602</c:v>
                </c:pt>
                <c:pt idx="2129">
                  <c:v>39603</c:v>
                </c:pt>
                <c:pt idx="2130">
                  <c:v>39604</c:v>
                </c:pt>
                <c:pt idx="2131">
                  <c:v>39605</c:v>
                </c:pt>
                <c:pt idx="2132">
                  <c:v>39608</c:v>
                </c:pt>
                <c:pt idx="2133">
                  <c:v>39609</c:v>
                </c:pt>
                <c:pt idx="2134">
                  <c:v>39610</c:v>
                </c:pt>
                <c:pt idx="2135">
                  <c:v>39611</c:v>
                </c:pt>
                <c:pt idx="2136">
                  <c:v>39612</c:v>
                </c:pt>
                <c:pt idx="2137">
                  <c:v>39615</c:v>
                </c:pt>
                <c:pt idx="2138">
                  <c:v>39616</c:v>
                </c:pt>
                <c:pt idx="2139">
                  <c:v>39617</c:v>
                </c:pt>
                <c:pt idx="2140">
                  <c:v>39618</c:v>
                </c:pt>
                <c:pt idx="2141">
                  <c:v>39619</c:v>
                </c:pt>
                <c:pt idx="2142">
                  <c:v>39622</c:v>
                </c:pt>
                <c:pt idx="2143">
                  <c:v>39623</c:v>
                </c:pt>
                <c:pt idx="2144">
                  <c:v>39624</c:v>
                </c:pt>
                <c:pt idx="2145">
                  <c:v>39625</c:v>
                </c:pt>
                <c:pt idx="2146">
                  <c:v>39626</c:v>
                </c:pt>
                <c:pt idx="2147">
                  <c:v>39629</c:v>
                </c:pt>
                <c:pt idx="2148">
                  <c:v>39630</c:v>
                </c:pt>
                <c:pt idx="2149">
                  <c:v>39631</c:v>
                </c:pt>
                <c:pt idx="2150">
                  <c:v>39632</c:v>
                </c:pt>
                <c:pt idx="2151">
                  <c:v>39633</c:v>
                </c:pt>
                <c:pt idx="2152">
                  <c:v>39636</c:v>
                </c:pt>
                <c:pt idx="2153">
                  <c:v>39637</c:v>
                </c:pt>
                <c:pt idx="2154">
                  <c:v>39638</c:v>
                </c:pt>
                <c:pt idx="2155">
                  <c:v>39639</c:v>
                </c:pt>
                <c:pt idx="2156">
                  <c:v>39640</c:v>
                </c:pt>
                <c:pt idx="2157">
                  <c:v>39643</c:v>
                </c:pt>
                <c:pt idx="2158">
                  <c:v>39644</c:v>
                </c:pt>
                <c:pt idx="2159">
                  <c:v>39645</c:v>
                </c:pt>
                <c:pt idx="2160">
                  <c:v>39646</c:v>
                </c:pt>
                <c:pt idx="2161">
                  <c:v>39647</c:v>
                </c:pt>
                <c:pt idx="2162">
                  <c:v>39650</c:v>
                </c:pt>
                <c:pt idx="2163">
                  <c:v>39651</c:v>
                </c:pt>
                <c:pt idx="2164">
                  <c:v>39652</c:v>
                </c:pt>
                <c:pt idx="2165">
                  <c:v>39653</c:v>
                </c:pt>
                <c:pt idx="2166">
                  <c:v>39654</c:v>
                </c:pt>
                <c:pt idx="2167">
                  <c:v>39657</c:v>
                </c:pt>
                <c:pt idx="2168">
                  <c:v>39658</c:v>
                </c:pt>
                <c:pt idx="2169">
                  <c:v>39659</c:v>
                </c:pt>
                <c:pt idx="2170">
                  <c:v>39660</c:v>
                </c:pt>
                <c:pt idx="2171">
                  <c:v>39661</c:v>
                </c:pt>
                <c:pt idx="2172">
                  <c:v>39664</c:v>
                </c:pt>
                <c:pt idx="2173">
                  <c:v>39665</c:v>
                </c:pt>
                <c:pt idx="2174">
                  <c:v>39666</c:v>
                </c:pt>
                <c:pt idx="2175">
                  <c:v>39667</c:v>
                </c:pt>
                <c:pt idx="2176">
                  <c:v>39668</c:v>
                </c:pt>
                <c:pt idx="2177">
                  <c:v>39671</c:v>
                </c:pt>
                <c:pt idx="2178">
                  <c:v>39672</c:v>
                </c:pt>
                <c:pt idx="2179">
                  <c:v>39673</c:v>
                </c:pt>
                <c:pt idx="2180">
                  <c:v>39674</c:v>
                </c:pt>
                <c:pt idx="2181">
                  <c:v>39675</c:v>
                </c:pt>
                <c:pt idx="2182">
                  <c:v>39678</c:v>
                </c:pt>
                <c:pt idx="2183">
                  <c:v>39679</c:v>
                </c:pt>
                <c:pt idx="2184">
                  <c:v>39680</c:v>
                </c:pt>
                <c:pt idx="2185">
                  <c:v>39681</c:v>
                </c:pt>
                <c:pt idx="2186">
                  <c:v>39682</c:v>
                </c:pt>
                <c:pt idx="2187">
                  <c:v>39685</c:v>
                </c:pt>
                <c:pt idx="2188">
                  <c:v>39686</c:v>
                </c:pt>
                <c:pt idx="2189">
                  <c:v>39687</c:v>
                </c:pt>
                <c:pt idx="2190">
                  <c:v>39688</c:v>
                </c:pt>
                <c:pt idx="2191">
                  <c:v>39689</c:v>
                </c:pt>
                <c:pt idx="2192">
                  <c:v>39692</c:v>
                </c:pt>
                <c:pt idx="2193">
                  <c:v>39693</c:v>
                </c:pt>
                <c:pt idx="2194">
                  <c:v>39694</c:v>
                </c:pt>
                <c:pt idx="2195">
                  <c:v>39695</c:v>
                </c:pt>
                <c:pt idx="2196">
                  <c:v>39696</c:v>
                </c:pt>
                <c:pt idx="2197">
                  <c:v>39699</c:v>
                </c:pt>
                <c:pt idx="2198">
                  <c:v>39700</c:v>
                </c:pt>
                <c:pt idx="2199">
                  <c:v>39701</c:v>
                </c:pt>
                <c:pt idx="2200">
                  <c:v>39702</c:v>
                </c:pt>
                <c:pt idx="2201">
                  <c:v>39703</c:v>
                </c:pt>
                <c:pt idx="2202">
                  <c:v>39706</c:v>
                </c:pt>
                <c:pt idx="2203">
                  <c:v>39707</c:v>
                </c:pt>
                <c:pt idx="2204">
                  <c:v>39708</c:v>
                </c:pt>
                <c:pt idx="2205">
                  <c:v>39709</c:v>
                </c:pt>
                <c:pt idx="2206">
                  <c:v>39710</c:v>
                </c:pt>
                <c:pt idx="2207">
                  <c:v>39713</c:v>
                </c:pt>
                <c:pt idx="2208">
                  <c:v>39714</c:v>
                </c:pt>
                <c:pt idx="2209">
                  <c:v>39715</c:v>
                </c:pt>
                <c:pt idx="2210">
                  <c:v>39716</c:v>
                </c:pt>
                <c:pt idx="2211">
                  <c:v>39717</c:v>
                </c:pt>
                <c:pt idx="2212">
                  <c:v>39720</c:v>
                </c:pt>
                <c:pt idx="2213">
                  <c:v>39721</c:v>
                </c:pt>
                <c:pt idx="2214">
                  <c:v>39722</c:v>
                </c:pt>
                <c:pt idx="2215">
                  <c:v>39723</c:v>
                </c:pt>
                <c:pt idx="2216">
                  <c:v>39724</c:v>
                </c:pt>
                <c:pt idx="2217">
                  <c:v>39727</c:v>
                </c:pt>
                <c:pt idx="2218">
                  <c:v>39728</c:v>
                </c:pt>
                <c:pt idx="2219">
                  <c:v>39729</c:v>
                </c:pt>
                <c:pt idx="2220">
                  <c:v>39730</c:v>
                </c:pt>
                <c:pt idx="2221">
                  <c:v>39731</c:v>
                </c:pt>
                <c:pt idx="2222">
                  <c:v>39734</c:v>
                </c:pt>
                <c:pt idx="2223">
                  <c:v>39735</c:v>
                </c:pt>
                <c:pt idx="2224">
                  <c:v>39736</c:v>
                </c:pt>
                <c:pt idx="2225">
                  <c:v>39737</c:v>
                </c:pt>
                <c:pt idx="2226">
                  <c:v>39738</c:v>
                </c:pt>
                <c:pt idx="2227">
                  <c:v>39741</c:v>
                </c:pt>
                <c:pt idx="2228">
                  <c:v>39742</c:v>
                </c:pt>
                <c:pt idx="2229">
                  <c:v>39743</c:v>
                </c:pt>
                <c:pt idx="2230">
                  <c:v>39744</c:v>
                </c:pt>
                <c:pt idx="2231">
                  <c:v>39745</c:v>
                </c:pt>
                <c:pt idx="2232">
                  <c:v>39748</c:v>
                </c:pt>
                <c:pt idx="2233">
                  <c:v>39749</c:v>
                </c:pt>
                <c:pt idx="2234">
                  <c:v>39750</c:v>
                </c:pt>
                <c:pt idx="2235">
                  <c:v>39751</c:v>
                </c:pt>
                <c:pt idx="2236">
                  <c:v>39752</c:v>
                </c:pt>
                <c:pt idx="2237">
                  <c:v>39755</c:v>
                </c:pt>
                <c:pt idx="2238">
                  <c:v>39756</c:v>
                </c:pt>
                <c:pt idx="2239">
                  <c:v>39757</c:v>
                </c:pt>
                <c:pt idx="2240">
                  <c:v>39758</c:v>
                </c:pt>
                <c:pt idx="2241">
                  <c:v>39759</c:v>
                </c:pt>
                <c:pt idx="2242">
                  <c:v>39762</c:v>
                </c:pt>
                <c:pt idx="2243">
                  <c:v>39763</c:v>
                </c:pt>
                <c:pt idx="2244">
                  <c:v>39764</c:v>
                </c:pt>
                <c:pt idx="2245">
                  <c:v>39765</c:v>
                </c:pt>
                <c:pt idx="2246">
                  <c:v>39766</c:v>
                </c:pt>
                <c:pt idx="2247">
                  <c:v>39769</c:v>
                </c:pt>
                <c:pt idx="2248">
                  <c:v>39770</c:v>
                </c:pt>
                <c:pt idx="2249">
                  <c:v>39771</c:v>
                </c:pt>
                <c:pt idx="2250">
                  <c:v>39772</c:v>
                </c:pt>
                <c:pt idx="2251">
                  <c:v>39773</c:v>
                </c:pt>
                <c:pt idx="2252">
                  <c:v>39776</c:v>
                </c:pt>
                <c:pt idx="2253">
                  <c:v>39777</c:v>
                </c:pt>
                <c:pt idx="2254">
                  <c:v>39778</c:v>
                </c:pt>
                <c:pt idx="2255">
                  <c:v>39779</c:v>
                </c:pt>
                <c:pt idx="2256">
                  <c:v>39780</c:v>
                </c:pt>
                <c:pt idx="2257">
                  <c:v>39783</c:v>
                </c:pt>
                <c:pt idx="2258">
                  <c:v>39784</c:v>
                </c:pt>
                <c:pt idx="2259">
                  <c:v>39785</c:v>
                </c:pt>
                <c:pt idx="2260">
                  <c:v>39786</c:v>
                </c:pt>
                <c:pt idx="2261">
                  <c:v>39787</c:v>
                </c:pt>
                <c:pt idx="2262">
                  <c:v>39790</c:v>
                </c:pt>
                <c:pt idx="2263">
                  <c:v>39791</c:v>
                </c:pt>
                <c:pt idx="2264">
                  <c:v>39792</c:v>
                </c:pt>
                <c:pt idx="2265">
                  <c:v>39793</c:v>
                </c:pt>
                <c:pt idx="2266">
                  <c:v>39794</c:v>
                </c:pt>
                <c:pt idx="2267">
                  <c:v>39797</c:v>
                </c:pt>
                <c:pt idx="2268">
                  <c:v>39798</c:v>
                </c:pt>
                <c:pt idx="2269">
                  <c:v>39799</c:v>
                </c:pt>
                <c:pt idx="2270">
                  <c:v>39800</c:v>
                </c:pt>
                <c:pt idx="2271">
                  <c:v>39801</c:v>
                </c:pt>
                <c:pt idx="2272">
                  <c:v>39804</c:v>
                </c:pt>
                <c:pt idx="2273">
                  <c:v>39805</c:v>
                </c:pt>
                <c:pt idx="2274">
                  <c:v>39806</c:v>
                </c:pt>
                <c:pt idx="2275">
                  <c:v>39811</c:v>
                </c:pt>
                <c:pt idx="2276">
                  <c:v>39812</c:v>
                </c:pt>
                <c:pt idx="2277">
                  <c:v>39813</c:v>
                </c:pt>
                <c:pt idx="2278">
                  <c:v>39815</c:v>
                </c:pt>
                <c:pt idx="2279">
                  <c:v>39818</c:v>
                </c:pt>
                <c:pt idx="2280">
                  <c:v>39819</c:v>
                </c:pt>
                <c:pt idx="2281">
                  <c:v>39820</c:v>
                </c:pt>
                <c:pt idx="2282">
                  <c:v>39821</c:v>
                </c:pt>
                <c:pt idx="2283">
                  <c:v>39822</c:v>
                </c:pt>
                <c:pt idx="2284">
                  <c:v>39825</c:v>
                </c:pt>
                <c:pt idx="2285">
                  <c:v>39826</c:v>
                </c:pt>
                <c:pt idx="2286">
                  <c:v>39827</c:v>
                </c:pt>
                <c:pt idx="2287">
                  <c:v>39828</c:v>
                </c:pt>
                <c:pt idx="2288">
                  <c:v>39829</c:v>
                </c:pt>
                <c:pt idx="2289">
                  <c:v>39832</c:v>
                </c:pt>
                <c:pt idx="2290">
                  <c:v>39833</c:v>
                </c:pt>
                <c:pt idx="2291">
                  <c:v>39834</c:v>
                </c:pt>
                <c:pt idx="2292">
                  <c:v>39835</c:v>
                </c:pt>
                <c:pt idx="2293">
                  <c:v>39836</c:v>
                </c:pt>
                <c:pt idx="2294">
                  <c:v>39839</c:v>
                </c:pt>
                <c:pt idx="2295">
                  <c:v>39840</c:v>
                </c:pt>
                <c:pt idx="2296">
                  <c:v>39841</c:v>
                </c:pt>
                <c:pt idx="2297">
                  <c:v>39842</c:v>
                </c:pt>
                <c:pt idx="2298">
                  <c:v>39843</c:v>
                </c:pt>
                <c:pt idx="2299">
                  <c:v>39846</c:v>
                </c:pt>
                <c:pt idx="2300">
                  <c:v>39847</c:v>
                </c:pt>
                <c:pt idx="2301">
                  <c:v>39848</c:v>
                </c:pt>
                <c:pt idx="2302">
                  <c:v>39849</c:v>
                </c:pt>
                <c:pt idx="2303">
                  <c:v>39850</c:v>
                </c:pt>
                <c:pt idx="2304">
                  <c:v>39853</c:v>
                </c:pt>
                <c:pt idx="2305">
                  <c:v>39854</c:v>
                </c:pt>
                <c:pt idx="2306">
                  <c:v>39855</c:v>
                </c:pt>
                <c:pt idx="2307">
                  <c:v>39856</c:v>
                </c:pt>
                <c:pt idx="2308">
                  <c:v>39857</c:v>
                </c:pt>
                <c:pt idx="2309">
                  <c:v>39860</c:v>
                </c:pt>
                <c:pt idx="2310">
                  <c:v>39861</c:v>
                </c:pt>
                <c:pt idx="2311">
                  <c:v>39862</c:v>
                </c:pt>
                <c:pt idx="2312">
                  <c:v>39863</c:v>
                </c:pt>
                <c:pt idx="2313">
                  <c:v>39864</c:v>
                </c:pt>
                <c:pt idx="2314">
                  <c:v>39867</c:v>
                </c:pt>
                <c:pt idx="2315">
                  <c:v>39868</c:v>
                </c:pt>
                <c:pt idx="2316">
                  <c:v>39869</c:v>
                </c:pt>
                <c:pt idx="2317">
                  <c:v>39870</c:v>
                </c:pt>
                <c:pt idx="2318">
                  <c:v>39871</c:v>
                </c:pt>
                <c:pt idx="2319">
                  <c:v>39874</c:v>
                </c:pt>
                <c:pt idx="2320">
                  <c:v>39875</c:v>
                </c:pt>
                <c:pt idx="2321">
                  <c:v>39876</c:v>
                </c:pt>
                <c:pt idx="2322">
                  <c:v>39877</c:v>
                </c:pt>
                <c:pt idx="2323">
                  <c:v>39878</c:v>
                </c:pt>
                <c:pt idx="2324">
                  <c:v>39881</c:v>
                </c:pt>
                <c:pt idx="2325">
                  <c:v>39882</c:v>
                </c:pt>
                <c:pt idx="2326">
                  <c:v>39883</c:v>
                </c:pt>
                <c:pt idx="2327">
                  <c:v>39884</c:v>
                </c:pt>
                <c:pt idx="2328">
                  <c:v>39885</c:v>
                </c:pt>
                <c:pt idx="2329">
                  <c:v>39888</c:v>
                </c:pt>
                <c:pt idx="2330">
                  <c:v>39889</c:v>
                </c:pt>
                <c:pt idx="2331">
                  <c:v>39890</c:v>
                </c:pt>
                <c:pt idx="2332">
                  <c:v>39891</c:v>
                </c:pt>
                <c:pt idx="2333">
                  <c:v>39892</c:v>
                </c:pt>
                <c:pt idx="2334">
                  <c:v>39895</c:v>
                </c:pt>
                <c:pt idx="2335">
                  <c:v>39896</c:v>
                </c:pt>
                <c:pt idx="2336">
                  <c:v>39897</c:v>
                </c:pt>
                <c:pt idx="2337">
                  <c:v>39898</c:v>
                </c:pt>
                <c:pt idx="2338">
                  <c:v>39899</c:v>
                </c:pt>
                <c:pt idx="2339">
                  <c:v>39902</c:v>
                </c:pt>
                <c:pt idx="2340">
                  <c:v>39903</c:v>
                </c:pt>
                <c:pt idx="2341">
                  <c:v>39904</c:v>
                </c:pt>
                <c:pt idx="2342">
                  <c:v>39905</c:v>
                </c:pt>
                <c:pt idx="2343">
                  <c:v>39906</c:v>
                </c:pt>
                <c:pt idx="2344">
                  <c:v>39909</c:v>
                </c:pt>
                <c:pt idx="2345">
                  <c:v>39910</c:v>
                </c:pt>
                <c:pt idx="2346">
                  <c:v>39911</c:v>
                </c:pt>
                <c:pt idx="2347">
                  <c:v>39912</c:v>
                </c:pt>
                <c:pt idx="2348">
                  <c:v>39917</c:v>
                </c:pt>
                <c:pt idx="2349">
                  <c:v>39918</c:v>
                </c:pt>
                <c:pt idx="2350">
                  <c:v>39919</c:v>
                </c:pt>
                <c:pt idx="2351">
                  <c:v>39920</c:v>
                </c:pt>
                <c:pt idx="2352">
                  <c:v>39923</c:v>
                </c:pt>
                <c:pt idx="2353">
                  <c:v>39924</c:v>
                </c:pt>
                <c:pt idx="2354">
                  <c:v>39925</c:v>
                </c:pt>
                <c:pt idx="2355">
                  <c:v>39926</c:v>
                </c:pt>
                <c:pt idx="2356">
                  <c:v>39927</c:v>
                </c:pt>
                <c:pt idx="2357">
                  <c:v>39930</c:v>
                </c:pt>
                <c:pt idx="2358">
                  <c:v>39931</c:v>
                </c:pt>
                <c:pt idx="2359">
                  <c:v>39932</c:v>
                </c:pt>
                <c:pt idx="2360">
                  <c:v>39933</c:v>
                </c:pt>
                <c:pt idx="2361">
                  <c:v>39934</c:v>
                </c:pt>
                <c:pt idx="2362">
                  <c:v>39937</c:v>
                </c:pt>
                <c:pt idx="2363">
                  <c:v>39938</c:v>
                </c:pt>
                <c:pt idx="2364">
                  <c:v>39939</c:v>
                </c:pt>
                <c:pt idx="2365">
                  <c:v>39940</c:v>
                </c:pt>
                <c:pt idx="2366">
                  <c:v>39941</c:v>
                </c:pt>
                <c:pt idx="2367">
                  <c:v>39944</c:v>
                </c:pt>
                <c:pt idx="2368">
                  <c:v>39945</c:v>
                </c:pt>
                <c:pt idx="2369">
                  <c:v>39946</c:v>
                </c:pt>
                <c:pt idx="2370">
                  <c:v>39947</c:v>
                </c:pt>
                <c:pt idx="2371">
                  <c:v>39948</c:v>
                </c:pt>
                <c:pt idx="2372">
                  <c:v>39951</c:v>
                </c:pt>
                <c:pt idx="2373">
                  <c:v>39952</c:v>
                </c:pt>
                <c:pt idx="2374">
                  <c:v>39953</c:v>
                </c:pt>
                <c:pt idx="2375">
                  <c:v>39954</c:v>
                </c:pt>
                <c:pt idx="2376">
                  <c:v>39955</c:v>
                </c:pt>
                <c:pt idx="2377">
                  <c:v>39958</c:v>
                </c:pt>
                <c:pt idx="2378">
                  <c:v>39959</c:v>
                </c:pt>
                <c:pt idx="2379">
                  <c:v>39960</c:v>
                </c:pt>
                <c:pt idx="2380">
                  <c:v>39961</c:v>
                </c:pt>
                <c:pt idx="2381">
                  <c:v>39962</c:v>
                </c:pt>
                <c:pt idx="2382">
                  <c:v>39965</c:v>
                </c:pt>
                <c:pt idx="2383">
                  <c:v>39966</c:v>
                </c:pt>
                <c:pt idx="2384">
                  <c:v>39967</c:v>
                </c:pt>
                <c:pt idx="2385">
                  <c:v>39968</c:v>
                </c:pt>
                <c:pt idx="2386">
                  <c:v>39969</c:v>
                </c:pt>
                <c:pt idx="2387">
                  <c:v>39972</c:v>
                </c:pt>
                <c:pt idx="2388">
                  <c:v>39973</c:v>
                </c:pt>
                <c:pt idx="2389">
                  <c:v>39974</c:v>
                </c:pt>
                <c:pt idx="2390">
                  <c:v>39975</c:v>
                </c:pt>
                <c:pt idx="2391">
                  <c:v>39976</c:v>
                </c:pt>
                <c:pt idx="2392">
                  <c:v>39979</c:v>
                </c:pt>
                <c:pt idx="2393">
                  <c:v>39980</c:v>
                </c:pt>
                <c:pt idx="2394">
                  <c:v>39981</c:v>
                </c:pt>
                <c:pt idx="2395">
                  <c:v>39982</c:v>
                </c:pt>
                <c:pt idx="2396">
                  <c:v>39983</c:v>
                </c:pt>
                <c:pt idx="2397">
                  <c:v>39986</c:v>
                </c:pt>
                <c:pt idx="2398">
                  <c:v>39987</c:v>
                </c:pt>
                <c:pt idx="2399">
                  <c:v>39988</c:v>
                </c:pt>
                <c:pt idx="2400">
                  <c:v>39989</c:v>
                </c:pt>
                <c:pt idx="2401">
                  <c:v>39990</c:v>
                </c:pt>
                <c:pt idx="2402">
                  <c:v>39993</c:v>
                </c:pt>
                <c:pt idx="2403">
                  <c:v>39994</c:v>
                </c:pt>
                <c:pt idx="2404">
                  <c:v>39995</c:v>
                </c:pt>
                <c:pt idx="2405">
                  <c:v>39996</c:v>
                </c:pt>
                <c:pt idx="2406">
                  <c:v>39997</c:v>
                </c:pt>
                <c:pt idx="2407">
                  <c:v>40000</c:v>
                </c:pt>
                <c:pt idx="2408">
                  <c:v>40001</c:v>
                </c:pt>
                <c:pt idx="2409">
                  <c:v>40002</c:v>
                </c:pt>
                <c:pt idx="2410">
                  <c:v>40003</c:v>
                </c:pt>
                <c:pt idx="2411">
                  <c:v>40004</c:v>
                </c:pt>
                <c:pt idx="2412">
                  <c:v>40007</c:v>
                </c:pt>
                <c:pt idx="2413">
                  <c:v>40008</c:v>
                </c:pt>
                <c:pt idx="2414">
                  <c:v>40009</c:v>
                </c:pt>
                <c:pt idx="2415">
                  <c:v>40010</c:v>
                </c:pt>
                <c:pt idx="2416">
                  <c:v>40011</c:v>
                </c:pt>
                <c:pt idx="2417">
                  <c:v>40014</c:v>
                </c:pt>
                <c:pt idx="2418">
                  <c:v>40015</c:v>
                </c:pt>
                <c:pt idx="2419">
                  <c:v>40016</c:v>
                </c:pt>
                <c:pt idx="2420">
                  <c:v>40017</c:v>
                </c:pt>
                <c:pt idx="2421">
                  <c:v>40018</c:v>
                </c:pt>
                <c:pt idx="2422">
                  <c:v>40021</c:v>
                </c:pt>
                <c:pt idx="2423">
                  <c:v>40022</c:v>
                </c:pt>
                <c:pt idx="2424">
                  <c:v>40023</c:v>
                </c:pt>
                <c:pt idx="2425">
                  <c:v>40024</c:v>
                </c:pt>
                <c:pt idx="2426">
                  <c:v>40025</c:v>
                </c:pt>
                <c:pt idx="2427">
                  <c:v>40028</c:v>
                </c:pt>
                <c:pt idx="2428">
                  <c:v>40029</c:v>
                </c:pt>
                <c:pt idx="2429">
                  <c:v>40030</c:v>
                </c:pt>
                <c:pt idx="2430">
                  <c:v>40031</c:v>
                </c:pt>
                <c:pt idx="2431">
                  <c:v>40032</c:v>
                </c:pt>
                <c:pt idx="2432">
                  <c:v>40035</c:v>
                </c:pt>
                <c:pt idx="2433">
                  <c:v>40036</c:v>
                </c:pt>
                <c:pt idx="2434">
                  <c:v>40037</c:v>
                </c:pt>
                <c:pt idx="2435">
                  <c:v>40038</c:v>
                </c:pt>
                <c:pt idx="2436">
                  <c:v>40039</c:v>
                </c:pt>
                <c:pt idx="2437">
                  <c:v>40042</c:v>
                </c:pt>
                <c:pt idx="2438">
                  <c:v>40043</c:v>
                </c:pt>
                <c:pt idx="2439">
                  <c:v>40044</c:v>
                </c:pt>
                <c:pt idx="2440">
                  <c:v>40045</c:v>
                </c:pt>
                <c:pt idx="2441">
                  <c:v>40046</c:v>
                </c:pt>
                <c:pt idx="2442">
                  <c:v>40049</c:v>
                </c:pt>
                <c:pt idx="2443">
                  <c:v>40050</c:v>
                </c:pt>
                <c:pt idx="2444">
                  <c:v>40051</c:v>
                </c:pt>
                <c:pt idx="2445">
                  <c:v>40052</c:v>
                </c:pt>
                <c:pt idx="2446">
                  <c:v>40053</c:v>
                </c:pt>
                <c:pt idx="2447">
                  <c:v>40056</c:v>
                </c:pt>
                <c:pt idx="2448">
                  <c:v>40057</c:v>
                </c:pt>
                <c:pt idx="2449">
                  <c:v>40058</c:v>
                </c:pt>
                <c:pt idx="2450">
                  <c:v>40059</c:v>
                </c:pt>
                <c:pt idx="2451">
                  <c:v>40060</c:v>
                </c:pt>
                <c:pt idx="2452">
                  <c:v>40063</c:v>
                </c:pt>
                <c:pt idx="2453">
                  <c:v>40064</c:v>
                </c:pt>
                <c:pt idx="2454">
                  <c:v>40065</c:v>
                </c:pt>
                <c:pt idx="2455">
                  <c:v>40066</c:v>
                </c:pt>
                <c:pt idx="2456">
                  <c:v>40067</c:v>
                </c:pt>
                <c:pt idx="2457">
                  <c:v>40070</c:v>
                </c:pt>
                <c:pt idx="2458">
                  <c:v>40071</c:v>
                </c:pt>
                <c:pt idx="2459">
                  <c:v>40072</c:v>
                </c:pt>
                <c:pt idx="2460">
                  <c:v>40073</c:v>
                </c:pt>
                <c:pt idx="2461">
                  <c:v>40074</c:v>
                </c:pt>
                <c:pt idx="2462">
                  <c:v>40077</c:v>
                </c:pt>
                <c:pt idx="2463">
                  <c:v>40078</c:v>
                </c:pt>
                <c:pt idx="2464">
                  <c:v>40079</c:v>
                </c:pt>
                <c:pt idx="2465">
                  <c:v>40080</c:v>
                </c:pt>
                <c:pt idx="2466">
                  <c:v>40081</c:v>
                </c:pt>
                <c:pt idx="2467">
                  <c:v>40084</c:v>
                </c:pt>
                <c:pt idx="2468">
                  <c:v>40085</c:v>
                </c:pt>
                <c:pt idx="2469">
                  <c:v>40086</c:v>
                </c:pt>
                <c:pt idx="2470">
                  <c:v>40087</c:v>
                </c:pt>
                <c:pt idx="2471">
                  <c:v>40088</c:v>
                </c:pt>
                <c:pt idx="2472">
                  <c:v>40091</c:v>
                </c:pt>
                <c:pt idx="2473">
                  <c:v>40092</c:v>
                </c:pt>
                <c:pt idx="2474">
                  <c:v>40093</c:v>
                </c:pt>
                <c:pt idx="2475">
                  <c:v>40094</c:v>
                </c:pt>
                <c:pt idx="2476">
                  <c:v>40095</c:v>
                </c:pt>
                <c:pt idx="2477">
                  <c:v>40098</c:v>
                </c:pt>
                <c:pt idx="2478">
                  <c:v>40099</c:v>
                </c:pt>
                <c:pt idx="2479">
                  <c:v>40100</c:v>
                </c:pt>
                <c:pt idx="2480">
                  <c:v>40101</c:v>
                </c:pt>
                <c:pt idx="2481">
                  <c:v>40102</c:v>
                </c:pt>
                <c:pt idx="2482">
                  <c:v>40105</c:v>
                </c:pt>
                <c:pt idx="2483">
                  <c:v>40106</c:v>
                </c:pt>
                <c:pt idx="2484">
                  <c:v>40107</c:v>
                </c:pt>
                <c:pt idx="2485">
                  <c:v>40108</c:v>
                </c:pt>
                <c:pt idx="2486">
                  <c:v>40109</c:v>
                </c:pt>
                <c:pt idx="2487">
                  <c:v>40112</c:v>
                </c:pt>
                <c:pt idx="2488">
                  <c:v>40113</c:v>
                </c:pt>
                <c:pt idx="2489">
                  <c:v>40114</c:v>
                </c:pt>
                <c:pt idx="2490">
                  <c:v>40115</c:v>
                </c:pt>
                <c:pt idx="2491">
                  <c:v>40116</c:v>
                </c:pt>
                <c:pt idx="2492">
                  <c:v>40119</c:v>
                </c:pt>
                <c:pt idx="2493">
                  <c:v>40120</c:v>
                </c:pt>
                <c:pt idx="2494">
                  <c:v>40121</c:v>
                </c:pt>
                <c:pt idx="2495">
                  <c:v>40122</c:v>
                </c:pt>
                <c:pt idx="2496">
                  <c:v>40123</c:v>
                </c:pt>
                <c:pt idx="2497">
                  <c:v>40126</c:v>
                </c:pt>
                <c:pt idx="2498">
                  <c:v>40127</c:v>
                </c:pt>
                <c:pt idx="2499">
                  <c:v>40128</c:v>
                </c:pt>
                <c:pt idx="2500">
                  <c:v>40129</c:v>
                </c:pt>
                <c:pt idx="2501">
                  <c:v>40130</c:v>
                </c:pt>
                <c:pt idx="2502">
                  <c:v>40133</c:v>
                </c:pt>
                <c:pt idx="2503">
                  <c:v>40134</c:v>
                </c:pt>
                <c:pt idx="2504">
                  <c:v>40135</c:v>
                </c:pt>
                <c:pt idx="2505">
                  <c:v>40136</c:v>
                </c:pt>
                <c:pt idx="2506">
                  <c:v>40137</c:v>
                </c:pt>
                <c:pt idx="2507">
                  <c:v>40140</c:v>
                </c:pt>
                <c:pt idx="2508">
                  <c:v>40141</c:v>
                </c:pt>
                <c:pt idx="2509">
                  <c:v>40142</c:v>
                </c:pt>
                <c:pt idx="2510">
                  <c:v>40143</c:v>
                </c:pt>
                <c:pt idx="2511">
                  <c:v>40144</c:v>
                </c:pt>
                <c:pt idx="2512">
                  <c:v>40147</c:v>
                </c:pt>
                <c:pt idx="2513">
                  <c:v>40148</c:v>
                </c:pt>
                <c:pt idx="2514">
                  <c:v>40149</c:v>
                </c:pt>
                <c:pt idx="2515">
                  <c:v>40150</c:v>
                </c:pt>
                <c:pt idx="2516">
                  <c:v>40151</c:v>
                </c:pt>
                <c:pt idx="2517">
                  <c:v>40154</c:v>
                </c:pt>
                <c:pt idx="2518">
                  <c:v>40155</c:v>
                </c:pt>
                <c:pt idx="2519">
                  <c:v>40156</c:v>
                </c:pt>
                <c:pt idx="2520">
                  <c:v>40157</c:v>
                </c:pt>
                <c:pt idx="2521">
                  <c:v>40158</c:v>
                </c:pt>
                <c:pt idx="2522">
                  <c:v>40161</c:v>
                </c:pt>
                <c:pt idx="2523">
                  <c:v>40162</c:v>
                </c:pt>
                <c:pt idx="2524">
                  <c:v>40163</c:v>
                </c:pt>
                <c:pt idx="2525">
                  <c:v>40164</c:v>
                </c:pt>
                <c:pt idx="2526">
                  <c:v>40165</c:v>
                </c:pt>
                <c:pt idx="2527">
                  <c:v>40168</c:v>
                </c:pt>
                <c:pt idx="2528">
                  <c:v>40169</c:v>
                </c:pt>
                <c:pt idx="2529">
                  <c:v>40170</c:v>
                </c:pt>
                <c:pt idx="2530">
                  <c:v>40171</c:v>
                </c:pt>
                <c:pt idx="2531">
                  <c:v>40175</c:v>
                </c:pt>
                <c:pt idx="2532">
                  <c:v>40176</c:v>
                </c:pt>
                <c:pt idx="2533">
                  <c:v>40177</c:v>
                </c:pt>
                <c:pt idx="2534">
                  <c:v>40178</c:v>
                </c:pt>
                <c:pt idx="2535">
                  <c:v>40182</c:v>
                </c:pt>
                <c:pt idx="2536">
                  <c:v>40183</c:v>
                </c:pt>
                <c:pt idx="2537">
                  <c:v>40184</c:v>
                </c:pt>
                <c:pt idx="2538">
                  <c:v>40185</c:v>
                </c:pt>
                <c:pt idx="2539">
                  <c:v>40186</c:v>
                </c:pt>
                <c:pt idx="2540">
                  <c:v>40189</c:v>
                </c:pt>
                <c:pt idx="2541">
                  <c:v>40190</c:v>
                </c:pt>
                <c:pt idx="2542">
                  <c:v>40191</c:v>
                </c:pt>
                <c:pt idx="2543">
                  <c:v>40192</c:v>
                </c:pt>
                <c:pt idx="2544">
                  <c:v>40193</c:v>
                </c:pt>
                <c:pt idx="2545">
                  <c:v>40196</c:v>
                </c:pt>
                <c:pt idx="2546">
                  <c:v>40197</c:v>
                </c:pt>
                <c:pt idx="2547">
                  <c:v>40198</c:v>
                </c:pt>
                <c:pt idx="2548">
                  <c:v>40199</c:v>
                </c:pt>
                <c:pt idx="2549">
                  <c:v>40200</c:v>
                </c:pt>
                <c:pt idx="2550">
                  <c:v>40203</c:v>
                </c:pt>
                <c:pt idx="2551">
                  <c:v>40204</c:v>
                </c:pt>
                <c:pt idx="2552">
                  <c:v>40205</c:v>
                </c:pt>
                <c:pt idx="2553">
                  <c:v>40206</c:v>
                </c:pt>
                <c:pt idx="2554">
                  <c:v>40207</c:v>
                </c:pt>
                <c:pt idx="2555">
                  <c:v>40210</c:v>
                </c:pt>
                <c:pt idx="2556">
                  <c:v>40211</c:v>
                </c:pt>
                <c:pt idx="2557">
                  <c:v>40212</c:v>
                </c:pt>
                <c:pt idx="2558">
                  <c:v>40213</c:v>
                </c:pt>
                <c:pt idx="2559">
                  <c:v>40214</c:v>
                </c:pt>
                <c:pt idx="2560">
                  <c:v>40217</c:v>
                </c:pt>
                <c:pt idx="2561">
                  <c:v>40218</c:v>
                </c:pt>
                <c:pt idx="2562">
                  <c:v>40219</c:v>
                </c:pt>
                <c:pt idx="2563">
                  <c:v>40220</c:v>
                </c:pt>
                <c:pt idx="2564">
                  <c:v>40221</c:v>
                </c:pt>
                <c:pt idx="2565">
                  <c:v>40224</c:v>
                </c:pt>
                <c:pt idx="2566">
                  <c:v>40225</c:v>
                </c:pt>
                <c:pt idx="2567">
                  <c:v>40226</c:v>
                </c:pt>
                <c:pt idx="2568">
                  <c:v>40227</c:v>
                </c:pt>
                <c:pt idx="2569">
                  <c:v>40228</c:v>
                </c:pt>
                <c:pt idx="2570">
                  <c:v>40231</c:v>
                </c:pt>
                <c:pt idx="2571">
                  <c:v>40232</c:v>
                </c:pt>
                <c:pt idx="2572">
                  <c:v>40233</c:v>
                </c:pt>
                <c:pt idx="2573">
                  <c:v>40234</c:v>
                </c:pt>
                <c:pt idx="2574">
                  <c:v>40235</c:v>
                </c:pt>
                <c:pt idx="2575">
                  <c:v>40238</c:v>
                </c:pt>
                <c:pt idx="2576">
                  <c:v>40239</c:v>
                </c:pt>
                <c:pt idx="2577">
                  <c:v>40240</c:v>
                </c:pt>
                <c:pt idx="2578">
                  <c:v>40241</c:v>
                </c:pt>
                <c:pt idx="2579">
                  <c:v>40242</c:v>
                </c:pt>
                <c:pt idx="2580">
                  <c:v>40245</c:v>
                </c:pt>
                <c:pt idx="2581">
                  <c:v>40246</c:v>
                </c:pt>
                <c:pt idx="2582">
                  <c:v>40247</c:v>
                </c:pt>
                <c:pt idx="2583">
                  <c:v>40248</c:v>
                </c:pt>
                <c:pt idx="2584">
                  <c:v>40249</c:v>
                </c:pt>
                <c:pt idx="2585">
                  <c:v>40252</c:v>
                </c:pt>
                <c:pt idx="2586">
                  <c:v>40253</c:v>
                </c:pt>
                <c:pt idx="2587">
                  <c:v>40254</c:v>
                </c:pt>
                <c:pt idx="2588">
                  <c:v>40255</c:v>
                </c:pt>
                <c:pt idx="2589">
                  <c:v>40256</c:v>
                </c:pt>
                <c:pt idx="2590">
                  <c:v>40259</c:v>
                </c:pt>
                <c:pt idx="2591">
                  <c:v>40260</c:v>
                </c:pt>
                <c:pt idx="2592">
                  <c:v>40261</c:v>
                </c:pt>
                <c:pt idx="2593">
                  <c:v>40262</c:v>
                </c:pt>
                <c:pt idx="2594">
                  <c:v>40263</c:v>
                </c:pt>
                <c:pt idx="2595">
                  <c:v>40266</c:v>
                </c:pt>
                <c:pt idx="2596">
                  <c:v>40267</c:v>
                </c:pt>
                <c:pt idx="2597">
                  <c:v>40268</c:v>
                </c:pt>
                <c:pt idx="2598">
                  <c:v>40269</c:v>
                </c:pt>
                <c:pt idx="2599">
                  <c:v>40274</c:v>
                </c:pt>
                <c:pt idx="2600">
                  <c:v>40275</c:v>
                </c:pt>
                <c:pt idx="2601">
                  <c:v>40276</c:v>
                </c:pt>
                <c:pt idx="2602">
                  <c:v>40277</c:v>
                </c:pt>
                <c:pt idx="2603">
                  <c:v>40280</c:v>
                </c:pt>
                <c:pt idx="2604">
                  <c:v>40281</c:v>
                </c:pt>
                <c:pt idx="2605">
                  <c:v>40282</c:v>
                </c:pt>
                <c:pt idx="2606">
                  <c:v>40283</c:v>
                </c:pt>
                <c:pt idx="2607">
                  <c:v>40284</c:v>
                </c:pt>
                <c:pt idx="2608">
                  <c:v>40287</c:v>
                </c:pt>
                <c:pt idx="2609">
                  <c:v>40288</c:v>
                </c:pt>
                <c:pt idx="2610">
                  <c:v>40289</c:v>
                </c:pt>
                <c:pt idx="2611">
                  <c:v>40290</c:v>
                </c:pt>
                <c:pt idx="2612">
                  <c:v>40291</c:v>
                </c:pt>
                <c:pt idx="2613">
                  <c:v>40294</c:v>
                </c:pt>
                <c:pt idx="2614">
                  <c:v>40295</c:v>
                </c:pt>
                <c:pt idx="2615">
                  <c:v>40296</c:v>
                </c:pt>
                <c:pt idx="2616">
                  <c:v>40297</c:v>
                </c:pt>
                <c:pt idx="2617">
                  <c:v>40298</c:v>
                </c:pt>
                <c:pt idx="2618">
                  <c:v>40301</c:v>
                </c:pt>
                <c:pt idx="2619">
                  <c:v>40302</c:v>
                </c:pt>
                <c:pt idx="2620">
                  <c:v>40303</c:v>
                </c:pt>
                <c:pt idx="2621">
                  <c:v>40304</c:v>
                </c:pt>
                <c:pt idx="2622">
                  <c:v>40305</c:v>
                </c:pt>
                <c:pt idx="2623">
                  <c:v>40308</c:v>
                </c:pt>
                <c:pt idx="2624">
                  <c:v>40309</c:v>
                </c:pt>
                <c:pt idx="2625">
                  <c:v>40310</c:v>
                </c:pt>
                <c:pt idx="2626">
                  <c:v>40311</c:v>
                </c:pt>
                <c:pt idx="2627">
                  <c:v>40312</c:v>
                </c:pt>
                <c:pt idx="2628">
                  <c:v>40315</c:v>
                </c:pt>
                <c:pt idx="2629">
                  <c:v>40316</c:v>
                </c:pt>
                <c:pt idx="2630">
                  <c:v>40317</c:v>
                </c:pt>
                <c:pt idx="2631">
                  <c:v>40318</c:v>
                </c:pt>
                <c:pt idx="2632">
                  <c:v>40319</c:v>
                </c:pt>
                <c:pt idx="2633">
                  <c:v>40322</c:v>
                </c:pt>
                <c:pt idx="2634">
                  <c:v>40323</c:v>
                </c:pt>
                <c:pt idx="2635">
                  <c:v>40324</c:v>
                </c:pt>
                <c:pt idx="2636">
                  <c:v>40325</c:v>
                </c:pt>
                <c:pt idx="2637">
                  <c:v>40326</c:v>
                </c:pt>
                <c:pt idx="2638">
                  <c:v>40329</c:v>
                </c:pt>
                <c:pt idx="2639">
                  <c:v>40330</c:v>
                </c:pt>
                <c:pt idx="2640">
                  <c:v>40331</c:v>
                </c:pt>
                <c:pt idx="2641">
                  <c:v>40332</c:v>
                </c:pt>
                <c:pt idx="2642">
                  <c:v>40333</c:v>
                </c:pt>
                <c:pt idx="2643">
                  <c:v>40336</c:v>
                </c:pt>
                <c:pt idx="2644">
                  <c:v>40337</c:v>
                </c:pt>
                <c:pt idx="2645">
                  <c:v>40338</c:v>
                </c:pt>
                <c:pt idx="2646">
                  <c:v>40339</c:v>
                </c:pt>
                <c:pt idx="2647">
                  <c:v>40340</c:v>
                </c:pt>
                <c:pt idx="2648">
                  <c:v>40343</c:v>
                </c:pt>
                <c:pt idx="2649">
                  <c:v>40344</c:v>
                </c:pt>
                <c:pt idx="2650">
                  <c:v>40345</c:v>
                </c:pt>
                <c:pt idx="2651">
                  <c:v>40346</c:v>
                </c:pt>
                <c:pt idx="2652">
                  <c:v>40347</c:v>
                </c:pt>
                <c:pt idx="2653">
                  <c:v>40350</c:v>
                </c:pt>
                <c:pt idx="2654">
                  <c:v>40351</c:v>
                </c:pt>
                <c:pt idx="2655">
                  <c:v>40352</c:v>
                </c:pt>
                <c:pt idx="2656">
                  <c:v>40353</c:v>
                </c:pt>
                <c:pt idx="2657">
                  <c:v>40354</c:v>
                </c:pt>
                <c:pt idx="2658">
                  <c:v>40357</c:v>
                </c:pt>
                <c:pt idx="2659">
                  <c:v>40358</c:v>
                </c:pt>
                <c:pt idx="2660">
                  <c:v>40359</c:v>
                </c:pt>
                <c:pt idx="2661">
                  <c:v>40360</c:v>
                </c:pt>
                <c:pt idx="2662">
                  <c:v>40361</c:v>
                </c:pt>
                <c:pt idx="2663">
                  <c:v>40364</c:v>
                </c:pt>
                <c:pt idx="2664">
                  <c:v>40365</c:v>
                </c:pt>
                <c:pt idx="2665">
                  <c:v>40366</c:v>
                </c:pt>
                <c:pt idx="2666">
                  <c:v>40367</c:v>
                </c:pt>
                <c:pt idx="2667">
                  <c:v>40368</c:v>
                </c:pt>
                <c:pt idx="2668">
                  <c:v>40371</c:v>
                </c:pt>
                <c:pt idx="2669">
                  <c:v>40372</c:v>
                </c:pt>
                <c:pt idx="2670">
                  <c:v>40373</c:v>
                </c:pt>
                <c:pt idx="2671">
                  <c:v>40374</c:v>
                </c:pt>
                <c:pt idx="2672">
                  <c:v>40375</c:v>
                </c:pt>
                <c:pt idx="2673">
                  <c:v>40378</c:v>
                </c:pt>
                <c:pt idx="2674">
                  <c:v>40379</c:v>
                </c:pt>
                <c:pt idx="2675">
                  <c:v>40380</c:v>
                </c:pt>
                <c:pt idx="2676">
                  <c:v>40381</c:v>
                </c:pt>
                <c:pt idx="2677">
                  <c:v>40382</c:v>
                </c:pt>
                <c:pt idx="2678">
                  <c:v>40385</c:v>
                </c:pt>
                <c:pt idx="2679">
                  <c:v>40386</c:v>
                </c:pt>
                <c:pt idx="2680">
                  <c:v>40387</c:v>
                </c:pt>
                <c:pt idx="2681">
                  <c:v>40388</c:v>
                </c:pt>
                <c:pt idx="2682">
                  <c:v>40389</c:v>
                </c:pt>
                <c:pt idx="2683">
                  <c:v>40392</c:v>
                </c:pt>
                <c:pt idx="2684">
                  <c:v>40393</c:v>
                </c:pt>
                <c:pt idx="2685">
                  <c:v>40394</c:v>
                </c:pt>
                <c:pt idx="2686">
                  <c:v>40395</c:v>
                </c:pt>
                <c:pt idx="2687">
                  <c:v>40396</c:v>
                </c:pt>
                <c:pt idx="2688">
                  <c:v>40399</c:v>
                </c:pt>
                <c:pt idx="2689">
                  <c:v>40400</c:v>
                </c:pt>
                <c:pt idx="2690">
                  <c:v>40401</c:v>
                </c:pt>
                <c:pt idx="2691">
                  <c:v>40402</c:v>
                </c:pt>
                <c:pt idx="2692">
                  <c:v>40403</c:v>
                </c:pt>
                <c:pt idx="2693">
                  <c:v>40406</c:v>
                </c:pt>
                <c:pt idx="2694">
                  <c:v>40407</c:v>
                </c:pt>
                <c:pt idx="2695">
                  <c:v>40408</c:v>
                </c:pt>
                <c:pt idx="2696">
                  <c:v>40409</c:v>
                </c:pt>
                <c:pt idx="2697">
                  <c:v>40410</c:v>
                </c:pt>
                <c:pt idx="2698">
                  <c:v>40413</c:v>
                </c:pt>
                <c:pt idx="2699">
                  <c:v>40414</c:v>
                </c:pt>
                <c:pt idx="2700">
                  <c:v>40415</c:v>
                </c:pt>
                <c:pt idx="2701">
                  <c:v>40416</c:v>
                </c:pt>
                <c:pt idx="2702">
                  <c:v>40417</c:v>
                </c:pt>
                <c:pt idx="2703">
                  <c:v>40420</c:v>
                </c:pt>
                <c:pt idx="2704">
                  <c:v>40421</c:v>
                </c:pt>
                <c:pt idx="2705">
                  <c:v>40422</c:v>
                </c:pt>
                <c:pt idx="2706">
                  <c:v>40423</c:v>
                </c:pt>
                <c:pt idx="2707">
                  <c:v>40424</c:v>
                </c:pt>
                <c:pt idx="2708">
                  <c:v>40427</c:v>
                </c:pt>
                <c:pt idx="2709">
                  <c:v>40428</c:v>
                </c:pt>
                <c:pt idx="2710">
                  <c:v>40429</c:v>
                </c:pt>
                <c:pt idx="2711">
                  <c:v>40430</c:v>
                </c:pt>
                <c:pt idx="2712">
                  <c:v>40431</c:v>
                </c:pt>
                <c:pt idx="2713">
                  <c:v>40434</c:v>
                </c:pt>
                <c:pt idx="2714">
                  <c:v>40435</c:v>
                </c:pt>
                <c:pt idx="2715">
                  <c:v>40436</c:v>
                </c:pt>
                <c:pt idx="2716">
                  <c:v>40437</c:v>
                </c:pt>
                <c:pt idx="2717">
                  <c:v>40438</c:v>
                </c:pt>
                <c:pt idx="2718">
                  <c:v>40441</c:v>
                </c:pt>
                <c:pt idx="2719">
                  <c:v>40442</c:v>
                </c:pt>
                <c:pt idx="2720">
                  <c:v>40443</c:v>
                </c:pt>
                <c:pt idx="2721">
                  <c:v>40444</c:v>
                </c:pt>
                <c:pt idx="2722">
                  <c:v>40445</c:v>
                </c:pt>
                <c:pt idx="2723">
                  <c:v>40448</c:v>
                </c:pt>
                <c:pt idx="2724">
                  <c:v>40449</c:v>
                </c:pt>
                <c:pt idx="2725">
                  <c:v>40450</c:v>
                </c:pt>
                <c:pt idx="2726">
                  <c:v>40451</c:v>
                </c:pt>
                <c:pt idx="2727">
                  <c:v>40452</c:v>
                </c:pt>
                <c:pt idx="2728">
                  <c:v>40455</c:v>
                </c:pt>
                <c:pt idx="2729">
                  <c:v>40456</c:v>
                </c:pt>
                <c:pt idx="2730">
                  <c:v>40457</c:v>
                </c:pt>
                <c:pt idx="2731">
                  <c:v>40458</c:v>
                </c:pt>
                <c:pt idx="2732">
                  <c:v>40459</c:v>
                </c:pt>
                <c:pt idx="2733">
                  <c:v>40462</c:v>
                </c:pt>
                <c:pt idx="2734">
                  <c:v>40463</c:v>
                </c:pt>
                <c:pt idx="2735">
                  <c:v>40464</c:v>
                </c:pt>
                <c:pt idx="2736">
                  <c:v>40465</c:v>
                </c:pt>
                <c:pt idx="2737">
                  <c:v>40466</c:v>
                </c:pt>
                <c:pt idx="2738">
                  <c:v>40469</c:v>
                </c:pt>
                <c:pt idx="2739">
                  <c:v>40470</c:v>
                </c:pt>
                <c:pt idx="2740">
                  <c:v>40471</c:v>
                </c:pt>
                <c:pt idx="2741">
                  <c:v>40472</c:v>
                </c:pt>
                <c:pt idx="2742">
                  <c:v>40473</c:v>
                </c:pt>
                <c:pt idx="2743">
                  <c:v>40476</c:v>
                </c:pt>
                <c:pt idx="2744">
                  <c:v>40477</c:v>
                </c:pt>
                <c:pt idx="2745">
                  <c:v>40478</c:v>
                </c:pt>
                <c:pt idx="2746">
                  <c:v>40479</c:v>
                </c:pt>
                <c:pt idx="2747">
                  <c:v>40480</c:v>
                </c:pt>
                <c:pt idx="2748">
                  <c:v>40483</c:v>
                </c:pt>
                <c:pt idx="2749">
                  <c:v>40484</c:v>
                </c:pt>
                <c:pt idx="2750">
                  <c:v>40485</c:v>
                </c:pt>
                <c:pt idx="2751">
                  <c:v>40486</c:v>
                </c:pt>
                <c:pt idx="2752">
                  <c:v>40487</c:v>
                </c:pt>
                <c:pt idx="2753">
                  <c:v>40490</c:v>
                </c:pt>
                <c:pt idx="2754">
                  <c:v>40491</c:v>
                </c:pt>
                <c:pt idx="2755">
                  <c:v>40492</c:v>
                </c:pt>
                <c:pt idx="2756">
                  <c:v>40493</c:v>
                </c:pt>
                <c:pt idx="2757">
                  <c:v>40494</c:v>
                </c:pt>
                <c:pt idx="2758">
                  <c:v>40497</c:v>
                </c:pt>
                <c:pt idx="2759">
                  <c:v>40498</c:v>
                </c:pt>
                <c:pt idx="2760">
                  <c:v>40499</c:v>
                </c:pt>
                <c:pt idx="2761">
                  <c:v>40500</c:v>
                </c:pt>
                <c:pt idx="2762">
                  <c:v>40501</c:v>
                </c:pt>
                <c:pt idx="2763">
                  <c:v>40504</c:v>
                </c:pt>
                <c:pt idx="2764">
                  <c:v>40505</c:v>
                </c:pt>
                <c:pt idx="2765">
                  <c:v>40506</c:v>
                </c:pt>
                <c:pt idx="2766">
                  <c:v>40507</c:v>
                </c:pt>
                <c:pt idx="2767">
                  <c:v>40508</c:v>
                </c:pt>
                <c:pt idx="2768">
                  <c:v>40511</c:v>
                </c:pt>
                <c:pt idx="2769">
                  <c:v>40512</c:v>
                </c:pt>
                <c:pt idx="2770">
                  <c:v>40513</c:v>
                </c:pt>
                <c:pt idx="2771">
                  <c:v>40514</c:v>
                </c:pt>
                <c:pt idx="2772">
                  <c:v>40515</c:v>
                </c:pt>
                <c:pt idx="2773">
                  <c:v>40518</c:v>
                </c:pt>
                <c:pt idx="2774">
                  <c:v>40519</c:v>
                </c:pt>
                <c:pt idx="2775">
                  <c:v>40520</c:v>
                </c:pt>
                <c:pt idx="2776">
                  <c:v>40521</c:v>
                </c:pt>
                <c:pt idx="2777">
                  <c:v>40522</c:v>
                </c:pt>
                <c:pt idx="2778">
                  <c:v>40525</c:v>
                </c:pt>
                <c:pt idx="2779">
                  <c:v>40526</c:v>
                </c:pt>
                <c:pt idx="2780">
                  <c:v>40527</c:v>
                </c:pt>
                <c:pt idx="2781">
                  <c:v>40528</c:v>
                </c:pt>
                <c:pt idx="2782">
                  <c:v>40529</c:v>
                </c:pt>
                <c:pt idx="2783">
                  <c:v>40532</c:v>
                </c:pt>
                <c:pt idx="2784">
                  <c:v>40533</c:v>
                </c:pt>
                <c:pt idx="2785">
                  <c:v>40534</c:v>
                </c:pt>
                <c:pt idx="2786">
                  <c:v>40535</c:v>
                </c:pt>
                <c:pt idx="2787">
                  <c:v>40536</c:v>
                </c:pt>
                <c:pt idx="2788">
                  <c:v>40539</c:v>
                </c:pt>
                <c:pt idx="2789">
                  <c:v>40540</c:v>
                </c:pt>
                <c:pt idx="2790">
                  <c:v>40541</c:v>
                </c:pt>
                <c:pt idx="2791">
                  <c:v>40542</c:v>
                </c:pt>
                <c:pt idx="2792">
                  <c:v>40543</c:v>
                </c:pt>
                <c:pt idx="2793">
                  <c:v>40546</c:v>
                </c:pt>
                <c:pt idx="2794">
                  <c:v>40547</c:v>
                </c:pt>
                <c:pt idx="2795">
                  <c:v>40548</c:v>
                </c:pt>
                <c:pt idx="2796">
                  <c:v>40549</c:v>
                </c:pt>
                <c:pt idx="2797">
                  <c:v>40550</c:v>
                </c:pt>
                <c:pt idx="2798">
                  <c:v>40553</c:v>
                </c:pt>
                <c:pt idx="2799">
                  <c:v>40554</c:v>
                </c:pt>
                <c:pt idx="2800">
                  <c:v>40555</c:v>
                </c:pt>
                <c:pt idx="2801">
                  <c:v>40556</c:v>
                </c:pt>
                <c:pt idx="2802">
                  <c:v>40557</c:v>
                </c:pt>
                <c:pt idx="2803">
                  <c:v>40560</c:v>
                </c:pt>
                <c:pt idx="2804">
                  <c:v>40561</c:v>
                </c:pt>
                <c:pt idx="2805">
                  <c:v>40562</c:v>
                </c:pt>
                <c:pt idx="2806">
                  <c:v>40563</c:v>
                </c:pt>
                <c:pt idx="2807">
                  <c:v>40564</c:v>
                </c:pt>
                <c:pt idx="2808">
                  <c:v>40567</c:v>
                </c:pt>
                <c:pt idx="2809">
                  <c:v>40568</c:v>
                </c:pt>
                <c:pt idx="2810">
                  <c:v>40569</c:v>
                </c:pt>
                <c:pt idx="2811">
                  <c:v>40570</c:v>
                </c:pt>
                <c:pt idx="2812">
                  <c:v>40571</c:v>
                </c:pt>
                <c:pt idx="2813">
                  <c:v>40574</c:v>
                </c:pt>
                <c:pt idx="2814">
                  <c:v>40575</c:v>
                </c:pt>
                <c:pt idx="2815">
                  <c:v>40576</c:v>
                </c:pt>
                <c:pt idx="2816">
                  <c:v>40577</c:v>
                </c:pt>
                <c:pt idx="2817">
                  <c:v>40578</c:v>
                </c:pt>
                <c:pt idx="2818">
                  <c:v>40581</c:v>
                </c:pt>
                <c:pt idx="2819">
                  <c:v>40582</c:v>
                </c:pt>
                <c:pt idx="2820">
                  <c:v>40583</c:v>
                </c:pt>
                <c:pt idx="2821">
                  <c:v>40584</c:v>
                </c:pt>
                <c:pt idx="2822">
                  <c:v>40585</c:v>
                </c:pt>
                <c:pt idx="2823">
                  <c:v>40588</c:v>
                </c:pt>
                <c:pt idx="2824">
                  <c:v>40589</c:v>
                </c:pt>
                <c:pt idx="2825">
                  <c:v>40590</c:v>
                </c:pt>
                <c:pt idx="2826">
                  <c:v>40591</c:v>
                </c:pt>
                <c:pt idx="2827">
                  <c:v>40592</c:v>
                </c:pt>
                <c:pt idx="2828">
                  <c:v>40595</c:v>
                </c:pt>
                <c:pt idx="2829">
                  <c:v>40596</c:v>
                </c:pt>
                <c:pt idx="2830">
                  <c:v>40597</c:v>
                </c:pt>
                <c:pt idx="2831">
                  <c:v>40598</c:v>
                </c:pt>
                <c:pt idx="2832">
                  <c:v>40599</c:v>
                </c:pt>
                <c:pt idx="2833">
                  <c:v>40602</c:v>
                </c:pt>
                <c:pt idx="2834">
                  <c:v>40603</c:v>
                </c:pt>
                <c:pt idx="2835">
                  <c:v>40604</c:v>
                </c:pt>
                <c:pt idx="2836">
                  <c:v>40605</c:v>
                </c:pt>
                <c:pt idx="2837">
                  <c:v>40606</c:v>
                </c:pt>
                <c:pt idx="2838">
                  <c:v>40609</c:v>
                </c:pt>
                <c:pt idx="2839">
                  <c:v>40610</c:v>
                </c:pt>
                <c:pt idx="2840">
                  <c:v>40611</c:v>
                </c:pt>
                <c:pt idx="2841">
                  <c:v>40612</c:v>
                </c:pt>
                <c:pt idx="2842">
                  <c:v>40613</c:v>
                </c:pt>
                <c:pt idx="2843">
                  <c:v>40616</c:v>
                </c:pt>
                <c:pt idx="2844">
                  <c:v>40617</c:v>
                </c:pt>
                <c:pt idx="2845">
                  <c:v>40618</c:v>
                </c:pt>
                <c:pt idx="2846">
                  <c:v>40619</c:v>
                </c:pt>
                <c:pt idx="2847">
                  <c:v>40620</c:v>
                </c:pt>
                <c:pt idx="2848">
                  <c:v>40623</c:v>
                </c:pt>
                <c:pt idx="2849">
                  <c:v>40624</c:v>
                </c:pt>
                <c:pt idx="2850">
                  <c:v>40625</c:v>
                </c:pt>
                <c:pt idx="2851">
                  <c:v>40626</c:v>
                </c:pt>
                <c:pt idx="2852">
                  <c:v>40627</c:v>
                </c:pt>
                <c:pt idx="2853">
                  <c:v>40630</c:v>
                </c:pt>
                <c:pt idx="2854">
                  <c:v>40631</c:v>
                </c:pt>
                <c:pt idx="2855">
                  <c:v>40632</c:v>
                </c:pt>
                <c:pt idx="2856">
                  <c:v>40633</c:v>
                </c:pt>
                <c:pt idx="2857">
                  <c:v>40634</c:v>
                </c:pt>
                <c:pt idx="2858">
                  <c:v>40637</c:v>
                </c:pt>
                <c:pt idx="2859">
                  <c:v>40638</c:v>
                </c:pt>
                <c:pt idx="2860">
                  <c:v>40639</c:v>
                </c:pt>
                <c:pt idx="2861">
                  <c:v>40640</c:v>
                </c:pt>
                <c:pt idx="2862">
                  <c:v>40641</c:v>
                </c:pt>
                <c:pt idx="2863">
                  <c:v>40644</c:v>
                </c:pt>
                <c:pt idx="2864">
                  <c:v>40645</c:v>
                </c:pt>
                <c:pt idx="2865">
                  <c:v>40646</c:v>
                </c:pt>
                <c:pt idx="2866">
                  <c:v>40647</c:v>
                </c:pt>
                <c:pt idx="2867">
                  <c:v>40648</c:v>
                </c:pt>
                <c:pt idx="2868">
                  <c:v>40651</c:v>
                </c:pt>
                <c:pt idx="2869">
                  <c:v>40652</c:v>
                </c:pt>
                <c:pt idx="2870">
                  <c:v>40653</c:v>
                </c:pt>
                <c:pt idx="2871">
                  <c:v>40654</c:v>
                </c:pt>
                <c:pt idx="2872">
                  <c:v>40659</c:v>
                </c:pt>
                <c:pt idx="2873">
                  <c:v>40660</c:v>
                </c:pt>
                <c:pt idx="2874">
                  <c:v>40661</c:v>
                </c:pt>
                <c:pt idx="2875">
                  <c:v>40662</c:v>
                </c:pt>
                <c:pt idx="2876">
                  <c:v>40665</c:v>
                </c:pt>
                <c:pt idx="2877">
                  <c:v>40666</c:v>
                </c:pt>
                <c:pt idx="2878">
                  <c:v>40667</c:v>
                </c:pt>
                <c:pt idx="2879">
                  <c:v>40668</c:v>
                </c:pt>
                <c:pt idx="2880">
                  <c:v>40669</c:v>
                </c:pt>
                <c:pt idx="2881">
                  <c:v>40672</c:v>
                </c:pt>
                <c:pt idx="2882">
                  <c:v>40673</c:v>
                </c:pt>
                <c:pt idx="2883">
                  <c:v>40674</c:v>
                </c:pt>
                <c:pt idx="2884">
                  <c:v>40675</c:v>
                </c:pt>
                <c:pt idx="2885">
                  <c:v>40676</c:v>
                </c:pt>
                <c:pt idx="2886">
                  <c:v>40679</c:v>
                </c:pt>
                <c:pt idx="2887">
                  <c:v>40680</c:v>
                </c:pt>
                <c:pt idx="2888">
                  <c:v>40681</c:v>
                </c:pt>
                <c:pt idx="2889">
                  <c:v>40682</c:v>
                </c:pt>
                <c:pt idx="2890">
                  <c:v>40683</c:v>
                </c:pt>
                <c:pt idx="2891">
                  <c:v>40686</c:v>
                </c:pt>
                <c:pt idx="2892">
                  <c:v>40687</c:v>
                </c:pt>
                <c:pt idx="2893">
                  <c:v>40688</c:v>
                </c:pt>
                <c:pt idx="2894">
                  <c:v>40689</c:v>
                </c:pt>
                <c:pt idx="2895">
                  <c:v>40690</c:v>
                </c:pt>
                <c:pt idx="2896">
                  <c:v>40693</c:v>
                </c:pt>
                <c:pt idx="2897">
                  <c:v>40694</c:v>
                </c:pt>
                <c:pt idx="2898">
                  <c:v>40695</c:v>
                </c:pt>
                <c:pt idx="2899">
                  <c:v>40696</c:v>
                </c:pt>
                <c:pt idx="2900">
                  <c:v>40697</c:v>
                </c:pt>
                <c:pt idx="2901">
                  <c:v>40700</c:v>
                </c:pt>
                <c:pt idx="2902">
                  <c:v>40701</c:v>
                </c:pt>
                <c:pt idx="2903">
                  <c:v>40702</c:v>
                </c:pt>
                <c:pt idx="2904">
                  <c:v>40703</c:v>
                </c:pt>
                <c:pt idx="2905">
                  <c:v>40704</c:v>
                </c:pt>
                <c:pt idx="2906">
                  <c:v>40707</c:v>
                </c:pt>
                <c:pt idx="2907">
                  <c:v>40708</c:v>
                </c:pt>
                <c:pt idx="2908">
                  <c:v>40709</c:v>
                </c:pt>
                <c:pt idx="2909">
                  <c:v>40710</c:v>
                </c:pt>
                <c:pt idx="2910">
                  <c:v>40711</c:v>
                </c:pt>
                <c:pt idx="2911">
                  <c:v>40714</c:v>
                </c:pt>
                <c:pt idx="2912">
                  <c:v>40715</c:v>
                </c:pt>
                <c:pt idx="2913">
                  <c:v>40716</c:v>
                </c:pt>
                <c:pt idx="2914">
                  <c:v>40717</c:v>
                </c:pt>
                <c:pt idx="2915">
                  <c:v>40718</c:v>
                </c:pt>
                <c:pt idx="2916">
                  <c:v>40721</c:v>
                </c:pt>
                <c:pt idx="2917">
                  <c:v>40722</c:v>
                </c:pt>
                <c:pt idx="2918">
                  <c:v>40723</c:v>
                </c:pt>
                <c:pt idx="2919">
                  <c:v>40724</c:v>
                </c:pt>
                <c:pt idx="2920">
                  <c:v>40725</c:v>
                </c:pt>
                <c:pt idx="2921">
                  <c:v>40728</c:v>
                </c:pt>
                <c:pt idx="2922">
                  <c:v>40729</c:v>
                </c:pt>
                <c:pt idx="2923">
                  <c:v>40730</c:v>
                </c:pt>
                <c:pt idx="2924">
                  <c:v>40731</c:v>
                </c:pt>
                <c:pt idx="2925">
                  <c:v>40732</c:v>
                </c:pt>
                <c:pt idx="2926">
                  <c:v>40735</c:v>
                </c:pt>
                <c:pt idx="2927">
                  <c:v>40736</c:v>
                </c:pt>
                <c:pt idx="2928">
                  <c:v>40737</c:v>
                </c:pt>
                <c:pt idx="2929">
                  <c:v>40738</c:v>
                </c:pt>
                <c:pt idx="2930">
                  <c:v>40739</c:v>
                </c:pt>
                <c:pt idx="2931">
                  <c:v>40742</c:v>
                </c:pt>
                <c:pt idx="2932">
                  <c:v>40743</c:v>
                </c:pt>
                <c:pt idx="2933">
                  <c:v>40744</c:v>
                </c:pt>
                <c:pt idx="2934">
                  <c:v>40745</c:v>
                </c:pt>
                <c:pt idx="2935">
                  <c:v>40746</c:v>
                </c:pt>
                <c:pt idx="2936">
                  <c:v>40749</c:v>
                </c:pt>
                <c:pt idx="2937">
                  <c:v>40750</c:v>
                </c:pt>
                <c:pt idx="2938">
                  <c:v>40751</c:v>
                </c:pt>
                <c:pt idx="2939">
                  <c:v>40752</c:v>
                </c:pt>
                <c:pt idx="2940">
                  <c:v>40753</c:v>
                </c:pt>
                <c:pt idx="2941">
                  <c:v>40756</c:v>
                </c:pt>
                <c:pt idx="2942">
                  <c:v>40757</c:v>
                </c:pt>
                <c:pt idx="2943">
                  <c:v>40758</c:v>
                </c:pt>
                <c:pt idx="2944">
                  <c:v>40759</c:v>
                </c:pt>
                <c:pt idx="2945">
                  <c:v>40760</c:v>
                </c:pt>
                <c:pt idx="2946">
                  <c:v>40763</c:v>
                </c:pt>
                <c:pt idx="2947">
                  <c:v>40764</c:v>
                </c:pt>
                <c:pt idx="2948">
                  <c:v>40765</c:v>
                </c:pt>
                <c:pt idx="2949">
                  <c:v>40766</c:v>
                </c:pt>
                <c:pt idx="2950">
                  <c:v>40767</c:v>
                </c:pt>
                <c:pt idx="2951">
                  <c:v>40770</c:v>
                </c:pt>
                <c:pt idx="2952">
                  <c:v>40771</c:v>
                </c:pt>
                <c:pt idx="2953">
                  <c:v>40772</c:v>
                </c:pt>
                <c:pt idx="2954">
                  <c:v>40773</c:v>
                </c:pt>
                <c:pt idx="2955">
                  <c:v>40774</c:v>
                </c:pt>
                <c:pt idx="2956">
                  <c:v>40777</c:v>
                </c:pt>
                <c:pt idx="2957">
                  <c:v>40778</c:v>
                </c:pt>
                <c:pt idx="2958">
                  <c:v>40779</c:v>
                </c:pt>
                <c:pt idx="2959">
                  <c:v>40780</c:v>
                </c:pt>
                <c:pt idx="2960">
                  <c:v>40781</c:v>
                </c:pt>
                <c:pt idx="2961">
                  <c:v>40784</c:v>
                </c:pt>
                <c:pt idx="2962">
                  <c:v>40785</c:v>
                </c:pt>
                <c:pt idx="2963">
                  <c:v>40786</c:v>
                </c:pt>
                <c:pt idx="2964">
                  <c:v>40787</c:v>
                </c:pt>
                <c:pt idx="2965">
                  <c:v>40788</c:v>
                </c:pt>
                <c:pt idx="2966">
                  <c:v>40791</c:v>
                </c:pt>
                <c:pt idx="2967">
                  <c:v>40792</c:v>
                </c:pt>
                <c:pt idx="2968">
                  <c:v>40793</c:v>
                </c:pt>
                <c:pt idx="2969">
                  <c:v>40794</c:v>
                </c:pt>
                <c:pt idx="2970">
                  <c:v>40795</c:v>
                </c:pt>
                <c:pt idx="2971">
                  <c:v>40798</c:v>
                </c:pt>
                <c:pt idx="2972">
                  <c:v>40799</c:v>
                </c:pt>
                <c:pt idx="2973">
                  <c:v>40800</c:v>
                </c:pt>
                <c:pt idx="2974">
                  <c:v>40801</c:v>
                </c:pt>
                <c:pt idx="2975">
                  <c:v>40802</c:v>
                </c:pt>
                <c:pt idx="2976">
                  <c:v>40805</c:v>
                </c:pt>
                <c:pt idx="2977">
                  <c:v>40806</c:v>
                </c:pt>
                <c:pt idx="2978">
                  <c:v>40807</c:v>
                </c:pt>
                <c:pt idx="2979">
                  <c:v>40808</c:v>
                </c:pt>
                <c:pt idx="2980">
                  <c:v>40809</c:v>
                </c:pt>
                <c:pt idx="2981">
                  <c:v>40812</c:v>
                </c:pt>
                <c:pt idx="2982">
                  <c:v>40813</c:v>
                </c:pt>
                <c:pt idx="2983">
                  <c:v>40814</c:v>
                </c:pt>
                <c:pt idx="2984">
                  <c:v>40815</c:v>
                </c:pt>
                <c:pt idx="2985">
                  <c:v>40816</c:v>
                </c:pt>
                <c:pt idx="2986">
                  <c:v>40819</c:v>
                </c:pt>
                <c:pt idx="2987">
                  <c:v>40820</c:v>
                </c:pt>
                <c:pt idx="2988">
                  <c:v>40821</c:v>
                </c:pt>
                <c:pt idx="2989">
                  <c:v>40822</c:v>
                </c:pt>
                <c:pt idx="2990">
                  <c:v>40823</c:v>
                </c:pt>
                <c:pt idx="2991">
                  <c:v>40826</c:v>
                </c:pt>
                <c:pt idx="2992">
                  <c:v>40827</c:v>
                </c:pt>
                <c:pt idx="2993">
                  <c:v>40828</c:v>
                </c:pt>
                <c:pt idx="2994">
                  <c:v>40829</c:v>
                </c:pt>
                <c:pt idx="2995">
                  <c:v>40830</c:v>
                </c:pt>
                <c:pt idx="2996">
                  <c:v>40833</c:v>
                </c:pt>
                <c:pt idx="2997">
                  <c:v>40834</c:v>
                </c:pt>
                <c:pt idx="2998">
                  <c:v>40835</c:v>
                </c:pt>
                <c:pt idx="2999">
                  <c:v>40836</c:v>
                </c:pt>
                <c:pt idx="3000">
                  <c:v>40837</c:v>
                </c:pt>
                <c:pt idx="3001">
                  <c:v>40840</c:v>
                </c:pt>
                <c:pt idx="3002">
                  <c:v>40841</c:v>
                </c:pt>
                <c:pt idx="3003">
                  <c:v>40842</c:v>
                </c:pt>
                <c:pt idx="3004">
                  <c:v>40843</c:v>
                </c:pt>
                <c:pt idx="3005">
                  <c:v>40844</c:v>
                </c:pt>
                <c:pt idx="3006">
                  <c:v>40847</c:v>
                </c:pt>
                <c:pt idx="3007">
                  <c:v>40848</c:v>
                </c:pt>
                <c:pt idx="3008">
                  <c:v>40849</c:v>
                </c:pt>
                <c:pt idx="3009">
                  <c:v>40850</c:v>
                </c:pt>
                <c:pt idx="3010">
                  <c:v>40851</c:v>
                </c:pt>
                <c:pt idx="3011">
                  <c:v>40854</c:v>
                </c:pt>
                <c:pt idx="3012">
                  <c:v>40855</c:v>
                </c:pt>
                <c:pt idx="3013">
                  <c:v>40856</c:v>
                </c:pt>
                <c:pt idx="3014">
                  <c:v>40857</c:v>
                </c:pt>
                <c:pt idx="3015">
                  <c:v>40858</c:v>
                </c:pt>
                <c:pt idx="3016">
                  <c:v>40861</c:v>
                </c:pt>
                <c:pt idx="3017">
                  <c:v>40862</c:v>
                </c:pt>
                <c:pt idx="3018">
                  <c:v>40863</c:v>
                </c:pt>
                <c:pt idx="3019">
                  <c:v>40864</c:v>
                </c:pt>
                <c:pt idx="3020">
                  <c:v>40865</c:v>
                </c:pt>
                <c:pt idx="3021">
                  <c:v>40868</c:v>
                </c:pt>
                <c:pt idx="3022">
                  <c:v>40869</c:v>
                </c:pt>
                <c:pt idx="3023">
                  <c:v>40870</c:v>
                </c:pt>
                <c:pt idx="3024">
                  <c:v>40871</c:v>
                </c:pt>
                <c:pt idx="3025">
                  <c:v>40872</c:v>
                </c:pt>
                <c:pt idx="3026">
                  <c:v>40875</c:v>
                </c:pt>
                <c:pt idx="3027">
                  <c:v>40876</c:v>
                </c:pt>
                <c:pt idx="3028">
                  <c:v>40877</c:v>
                </c:pt>
                <c:pt idx="3029">
                  <c:v>40878</c:v>
                </c:pt>
                <c:pt idx="3030">
                  <c:v>40879</c:v>
                </c:pt>
                <c:pt idx="3031">
                  <c:v>40882</c:v>
                </c:pt>
                <c:pt idx="3032">
                  <c:v>40883</c:v>
                </c:pt>
                <c:pt idx="3033">
                  <c:v>40884</c:v>
                </c:pt>
                <c:pt idx="3034">
                  <c:v>40885</c:v>
                </c:pt>
                <c:pt idx="3035">
                  <c:v>40886</c:v>
                </c:pt>
                <c:pt idx="3036">
                  <c:v>40889</c:v>
                </c:pt>
                <c:pt idx="3037">
                  <c:v>40890</c:v>
                </c:pt>
                <c:pt idx="3038">
                  <c:v>40891</c:v>
                </c:pt>
                <c:pt idx="3039">
                  <c:v>40892</c:v>
                </c:pt>
                <c:pt idx="3040">
                  <c:v>40893</c:v>
                </c:pt>
                <c:pt idx="3041">
                  <c:v>40896</c:v>
                </c:pt>
                <c:pt idx="3042">
                  <c:v>40897</c:v>
                </c:pt>
                <c:pt idx="3043">
                  <c:v>40898</c:v>
                </c:pt>
                <c:pt idx="3044">
                  <c:v>40899</c:v>
                </c:pt>
                <c:pt idx="3045">
                  <c:v>40900</c:v>
                </c:pt>
                <c:pt idx="3046">
                  <c:v>40904</c:v>
                </c:pt>
                <c:pt idx="3047">
                  <c:v>40905</c:v>
                </c:pt>
                <c:pt idx="3048">
                  <c:v>40906</c:v>
                </c:pt>
                <c:pt idx="3049">
                  <c:v>40907</c:v>
                </c:pt>
                <c:pt idx="3050">
                  <c:v>40910</c:v>
                </c:pt>
                <c:pt idx="3051">
                  <c:v>40911</c:v>
                </c:pt>
                <c:pt idx="3052">
                  <c:v>40912</c:v>
                </c:pt>
                <c:pt idx="3053">
                  <c:v>40913</c:v>
                </c:pt>
                <c:pt idx="3054">
                  <c:v>40914</c:v>
                </c:pt>
                <c:pt idx="3055">
                  <c:v>40917</c:v>
                </c:pt>
                <c:pt idx="3056">
                  <c:v>40918</c:v>
                </c:pt>
                <c:pt idx="3057">
                  <c:v>40919</c:v>
                </c:pt>
                <c:pt idx="3058">
                  <c:v>40920</c:v>
                </c:pt>
                <c:pt idx="3059">
                  <c:v>40921</c:v>
                </c:pt>
                <c:pt idx="3060">
                  <c:v>40924</c:v>
                </c:pt>
                <c:pt idx="3061">
                  <c:v>40925</c:v>
                </c:pt>
                <c:pt idx="3062">
                  <c:v>40926</c:v>
                </c:pt>
                <c:pt idx="3063">
                  <c:v>40927</c:v>
                </c:pt>
                <c:pt idx="3064">
                  <c:v>40928</c:v>
                </c:pt>
                <c:pt idx="3065">
                  <c:v>40931</c:v>
                </c:pt>
                <c:pt idx="3066">
                  <c:v>40932</c:v>
                </c:pt>
                <c:pt idx="3067">
                  <c:v>40933</c:v>
                </c:pt>
                <c:pt idx="3068">
                  <c:v>40934</c:v>
                </c:pt>
                <c:pt idx="3069">
                  <c:v>40935</c:v>
                </c:pt>
                <c:pt idx="3070">
                  <c:v>40938</c:v>
                </c:pt>
                <c:pt idx="3071">
                  <c:v>40939</c:v>
                </c:pt>
                <c:pt idx="3072">
                  <c:v>40940</c:v>
                </c:pt>
                <c:pt idx="3073">
                  <c:v>40941</c:v>
                </c:pt>
                <c:pt idx="3074">
                  <c:v>40942</c:v>
                </c:pt>
                <c:pt idx="3075">
                  <c:v>40945</c:v>
                </c:pt>
                <c:pt idx="3076">
                  <c:v>40946</c:v>
                </c:pt>
                <c:pt idx="3077">
                  <c:v>40947</c:v>
                </c:pt>
                <c:pt idx="3078">
                  <c:v>40948</c:v>
                </c:pt>
                <c:pt idx="3079">
                  <c:v>40949</c:v>
                </c:pt>
                <c:pt idx="3080">
                  <c:v>40952</c:v>
                </c:pt>
                <c:pt idx="3081">
                  <c:v>40953</c:v>
                </c:pt>
                <c:pt idx="3082">
                  <c:v>40954</c:v>
                </c:pt>
                <c:pt idx="3083">
                  <c:v>40955</c:v>
                </c:pt>
                <c:pt idx="3084">
                  <c:v>40956</c:v>
                </c:pt>
                <c:pt idx="3085">
                  <c:v>40959</c:v>
                </c:pt>
                <c:pt idx="3086">
                  <c:v>40960</c:v>
                </c:pt>
                <c:pt idx="3087">
                  <c:v>40961</c:v>
                </c:pt>
                <c:pt idx="3088">
                  <c:v>40962</c:v>
                </c:pt>
                <c:pt idx="3089">
                  <c:v>40963</c:v>
                </c:pt>
                <c:pt idx="3090">
                  <c:v>40966</c:v>
                </c:pt>
                <c:pt idx="3091">
                  <c:v>40967</c:v>
                </c:pt>
                <c:pt idx="3092">
                  <c:v>40968</c:v>
                </c:pt>
                <c:pt idx="3093">
                  <c:v>40969</c:v>
                </c:pt>
                <c:pt idx="3094">
                  <c:v>40970</c:v>
                </c:pt>
                <c:pt idx="3095">
                  <c:v>40973</c:v>
                </c:pt>
                <c:pt idx="3096">
                  <c:v>40974</c:v>
                </c:pt>
                <c:pt idx="3097">
                  <c:v>40975</c:v>
                </c:pt>
                <c:pt idx="3098">
                  <c:v>40976</c:v>
                </c:pt>
                <c:pt idx="3099">
                  <c:v>40977</c:v>
                </c:pt>
                <c:pt idx="3100">
                  <c:v>40980</c:v>
                </c:pt>
                <c:pt idx="3101">
                  <c:v>40981</c:v>
                </c:pt>
                <c:pt idx="3102">
                  <c:v>40982</c:v>
                </c:pt>
                <c:pt idx="3103">
                  <c:v>40983</c:v>
                </c:pt>
                <c:pt idx="3104">
                  <c:v>40984</c:v>
                </c:pt>
                <c:pt idx="3105">
                  <c:v>40987</c:v>
                </c:pt>
                <c:pt idx="3106">
                  <c:v>40988</c:v>
                </c:pt>
                <c:pt idx="3107">
                  <c:v>40989</c:v>
                </c:pt>
                <c:pt idx="3108">
                  <c:v>40990</c:v>
                </c:pt>
                <c:pt idx="3109">
                  <c:v>40991</c:v>
                </c:pt>
                <c:pt idx="3110">
                  <c:v>40994</c:v>
                </c:pt>
                <c:pt idx="3111">
                  <c:v>40995</c:v>
                </c:pt>
                <c:pt idx="3112">
                  <c:v>40996</c:v>
                </c:pt>
                <c:pt idx="3113">
                  <c:v>40997</c:v>
                </c:pt>
                <c:pt idx="3114">
                  <c:v>40998</c:v>
                </c:pt>
                <c:pt idx="3115">
                  <c:v>41001</c:v>
                </c:pt>
                <c:pt idx="3116">
                  <c:v>41002</c:v>
                </c:pt>
                <c:pt idx="3117">
                  <c:v>41003</c:v>
                </c:pt>
                <c:pt idx="3118">
                  <c:v>41004</c:v>
                </c:pt>
                <c:pt idx="3119">
                  <c:v>41009</c:v>
                </c:pt>
                <c:pt idx="3120">
                  <c:v>41010</c:v>
                </c:pt>
                <c:pt idx="3121">
                  <c:v>41011</c:v>
                </c:pt>
                <c:pt idx="3122">
                  <c:v>41012</c:v>
                </c:pt>
                <c:pt idx="3123">
                  <c:v>41015</c:v>
                </c:pt>
                <c:pt idx="3124">
                  <c:v>41016</c:v>
                </c:pt>
                <c:pt idx="3125">
                  <c:v>41017</c:v>
                </c:pt>
                <c:pt idx="3126">
                  <c:v>41018</c:v>
                </c:pt>
                <c:pt idx="3127">
                  <c:v>41019</c:v>
                </c:pt>
                <c:pt idx="3128">
                  <c:v>41022</c:v>
                </c:pt>
                <c:pt idx="3129">
                  <c:v>41023</c:v>
                </c:pt>
                <c:pt idx="3130">
                  <c:v>41024</c:v>
                </c:pt>
                <c:pt idx="3131">
                  <c:v>41025</c:v>
                </c:pt>
                <c:pt idx="3132">
                  <c:v>41026</c:v>
                </c:pt>
                <c:pt idx="3133">
                  <c:v>41029</c:v>
                </c:pt>
                <c:pt idx="3134">
                  <c:v>41030</c:v>
                </c:pt>
                <c:pt idx="3135">
                  <c:v>41031</c:v>
                </c:pt>
                <c:pt idx="3136">
                  <c:v>41032</c:v>
                </c:pt>
                <c:pt idx="3137">
                  <c:v>41033</c:v>
                </c:pt>
                <c:pt idx="3138">
                  <c:v>41036</c:v>
                </c:pt>
                <c:pt idx="3139">
                  <c:v>41037</c:v>
                </c:pt>
                <c:pt idx="3140">
                  <c:v>41038</c:v>
                </c:pt>
                <c:pt idx="3141">
                  <c:v>41039</c:v>
                </c:pt>
                <c:pt idx="3142">
                  <c:v>41040</c:v>
                </c:pt>
                <c:pt idx="3143">
                  <c:v>41043</c:v>
                </c:pt>
                <c:pt idx="3144">
                  <c:v>41044</c:v>
                </c:pt>
                <c:pt idx="3145">
                  <c:v>41045</c:v>
                </c:pt>
                <c:pt idx="3146">
                  <c:v>41046</c:v>
                </c:pt>
                <c:pt idx="3147">
                  <c:v>41047</c:v>
                </c:pt>
                <c:pt idx="3148">
                  <c:v>41050</c:v>
                </c:pt>
                <c:pt idx="3149">
                  <c:v>41051</c:v>
                </c:pt>
                <c:pt idx="3150">
                  <c:v>41052</c:v>
                </c:pt>
                <c:pt idx="3151">
                  <c:v>41053</c:v>
                </c:pt>
                <c:pt idx="3152">
                  <c:v>41054</c:v>
                </c:pt>
                <c:pt idx="3153">
                  <c:v>41057</c:v>
                </c:pt>
                <c:pt idx="3154">
                  <c:v>41058</c:v>
                </c:pt>
                <c:pt idx="3155">
                  <c:v>41059</c:v>
                </c:pt>
                <c:pt idx="3156">
                  <c:v>41060</c:v>
                </c:pt>
                <c:pt idx="3157">
                  <c:v>41061</c:v>
                </c:pt>
                <c:pt idx="3158">
                  <c:v>41064</c:v>
                </c:pt>
                <c:pt idx="3159">
                  <c:v>41065</c:v>
                </c:pt>
                <c:pt idx="3160">
                  <c:v>41066</c:v>
                </c:pt>
                <c:pt idx="3161">
                  <c:v>41067</c:v>
                </c:pt>
                <c:pt idx="3162">
                  <c:v>41068</c:v>
                </c:pt>
                <c:pt idx="3163">
                  <c:v>41071</c:v>
                </c:pt>
                <c:pt idx="3164">
                  <c:v>41072</c:v>
                </c:pt>
                <c:pt idx="3165">
                  <c:v>41073</c:v>
                </c:pt>
                <c:pt idx="3166">
                  <c:v>41074</c:v>
                </c:pt>
                <c:pt idx="3167">
                  <c:v>41075</c:v>
                </c:pt>
                <c:pt idx="3168">
                  <c:v>41078</c:v>
                </c:pt>
                <c:pt idx="3169">
                  <c:v>41079</c:v>
                </c:pt>
                <c:pt idx="3170">
                  <c:v>41080</c:v>
                </c:pt>
                <c:pt idx="3171">
                  <c:v>41081</c:v>
                </c:pt>
              </c:numCache>
            </c:numRef>
          </c:cat>
          <c:val>
            <c:numRef>
              <c:f>Sheet1!$C$2:$C$3173</c:f>
              <c:numCache>
                <c:formatCode>General</c:formatCode>
                <c:ptCount val="3172"/>
                <c:pt idx="0">
                  <c:v>100</c:v>
                </c:pt>
                <c:pt idx="1">
                  <c:v>99.540202548704841</c:v>
                </c:pt>
                <c:pt idx="2">
                  <c:v>99.73839110529758</c:v>
                </c:pt>
                <c:pt idx="3">
                  <c:v>99.165626176744539</c:v>
                </c:pt>
                <c:pt idx="4">
                  <c:v>101.27038864775946</c:v>
                </c:pt>
                <c:pt idx="5">
                  <c:v>101.28426184672097</c:v>
                </c:pt>
                <c:pt idx="6">
                  <c:v>101.58352656717599</c:v>
                </c:pt>
                <c:pt idx="7">
                  <c:v>101.4626315476544</c:v>
                </c:pt>
                <c:pt idx="8">
                  <c:v>98.592861248191511</c:v>
                </c:pt>
                <c:pt idx="9">
                  <c:v>99.217155201458667</c:v>
                </c:pt>
                <c:pt idx="10">
                  <c:v>97.443367619953634</c:v>
                </c:pt>
                <c:pt idx="11">
                  <c:v>97.534534355986281</c:v>
                </c:pt>
                <c:pt idx="12">
                  <c:v>95.057177398577011</c:v>
                </c:pt>
                <c:pt idx="13">
                  <c:v>97.7366866837109</c:v>
                </c:pt>
                <c:pt idx="14">
                  <c:v>99.054640585052653</c:v>
                </c:pt>
                <c:pt idx="15">
                  <c:v>98.965455734585888</c:v>
                </c:pt>
                <c:pt idx="16">
                  <c:v>96.971678855262908</c:v>
                </c:pt>
                <c:pt idx="17">
                  <c:v>96.979606397526595</c:v>
                </c:pt>
                <c:pt idx="18">
                  <c:v>96.983570168658488</c:v>
                </c:pt>
                <c:pt idx="19">
                  <c:v>94.238658659849023</c:v>
                </c:pt>
                <c:pt idx="20">
                  <c:v>92.776027112194541</c:v>
                </c:pt>
                <c:pt idx="21">
                  <c:v>93.982995421844365</c:v>
                </c:pt>
                <c:pt idx="22">
                  <c:v>95.483282795251412</c:v>
                </c:pt>
                <c:pt idx="23">
                  <c:v>96.133341260875639</c:v>
                </c:pt>
                <c:pt idx="24">
                  <c:v>96.133341260875639</c:v>
                </c:pt>
                <c:pt idx="25">
                  <c:v>96.133341260875639</c:v>
                </c:pt>
                <c:pt idx="26">
                  <c:v>97.096537645916399</c:v>
                </c:pt>
                <c:pt idx="27">
                  <c:v>98.026041976336359</c:v>
                </c:pt>
                <c:pt idx="28">
                  <c:v>97.350218998355103</c:v>
                </c:pt>
                <c:pt idx="29">
                  <c:v>99.04076738609119</c:v>
                </c:pt>
                <c:pt idx="30">
                  <c:v>99.04076738609119</c:v>
                </c:pt>
                <c:pt idx="31">
                  <c:v>101.09003706126016</c:v>
                </c:pt>
                <c:pt idx="32">
                  <c:v>99.791902015577691</c:v>
                </c:pt>
                <c:pt idx="33">
                  <c:v>99.603622886814577</c:v>
                </c:pt>
                <c:pt idx="34">
                  <c:v>99.762173732088769</c:v>
                </c:pt>
                <c:pt idx="35">
                  <c:v>99.175535604574264</c:v>
                </c:pt>
                <c:pt idx="36">
                  <c:v>97.536516241552292</c:v>
                </c:pt>
                <c:pt idx="37">
                  <c:v>95.594268386943426</c:v>
                </c:pt>
                <c:pt idx="38">
                  <c:v>97.11041084487789</c:v>
                </c:pt>
                <c:pt idx="39">
                  <c:v>98.242067503022454</c:v>
                </c:pt>
                <c:pt idx="40">
                  <c:v>97.140139128366798</c:v>
                </c:pt>
                <c:pt idx="41">
                  <c:v>99.320213250886951</c:v>
                </c:pt>
                <c:pt idx="42">
                  <c:v>97.885328101155494</c:v>
                </c:pt>
                <c:pt idx="43">
                  <c:v>97.867491131062152</c:v>
                </c:pt>
                <c:pt idx="44">
                  <c:v>94.938264264621424</c:v>
                </c:pt>
                <c:pt idx="45">
                  <c:v>93.184295538775672</c:v>
                </c:pt>
                <c:pt idx="46">
                  <c:v>93.699585785916796</c:v>
                </c:pt>
                <c:pt idx="47">
                  <c:v>92.631349465881911</c:v>
                </c:pt>
                <c:pt idx="48">
                  <c:v>94.563687892661136</c:v>
                </c:pt>
                <c:pt idx="49">
                  <c:v>93.535089283944814</c:v>
                </c:pt>
                <c:pt idx="50">
                  <c:v>94.474503042194399</c:v>
                </c:pt>
                <c:pt idx="51">
                  <c:v>95.889569336266575</c:v>
                </c:pt>
                <c:pt idx="52">
                  <c:v>96.200725370117198</c:v>
                </c:pt>
                <c:pt idx="53">
                  <c:v>97.544443783816007</c:v>
                </c:pt>
                <c:pt idx="54">
                  <c:v>99.906851378401484</c:v>
                </c:pt>
                <c:pt idx="55">
                  <c:v>99.06455001288235</c:v>
                </c:pt>
                <c:pt idx="56">
                  <c:v>98.438274174049283</c:v>
                </c:pt>
                <c:pt idx="57">
                  <c:v>97.78028816616137</c:v>
                </c:pt>
                <c:pt idx="58">
                  <c:v>97.766414967199893</c:v>
                </c:pt>
                <c:pt idx="59">
                  <c:v>97.901183185682967</c:v>
                </c:pt>
                <c:pt idx="60">
                  <c:v>97.869473016628078</c:v>
                </c:pt>
                <c:pt idx="61">
                  <c:v>97.607864121925687</c:v>
                </c:pt>
                <c:pt idx="62">
                  <c:v>98.588897477059717</c:v>
                </c:pt>
                <c:pt idx="63">
                  <c:v>98.224230532929084</c:v>
                </c:pt>
                <c:pt idx="64">
                  <c:v>97.633628634282715</c:v>
                </c:pt>
                <c:pt idx="65">
                  <c:v>97.447331391085541</c:v>
                </c:pt>
                <c:pt idx="66">
                  <c:v>98.327288582357312</c:v>
                </c:pt>
                <c:pt idx="67">
                  <c:v>97.530570584854502</c:v>
                </c:pt>
                <c:pt idx="68">
                  <c:v>97.294726202509153</c:v>
                </c:pt>
                <c:pt idx="69">
                  <c:v>97.157976098460153</c:v>
                </c:pt>
                <c:pt idx="70">
                  <c:v>97.10050141704825</c:v>
                </c:pt>
                <c:pt idx="71">
                  <c:v>96.521790831797446</c:v>
                </c:pt>
                <c:pt idx="72">
                  <c:v>96.670432249242012</c:v>
                </c:pt>
                <c:pt idx="73">
                  <c:v>94.458647957667011</c:v>
                </c:pt>
                <c:pt idx="74">
                  <c:v>95.465445825158142</c:v>
                </c:pt>
                <c:pt idx="75">
                  <c:v>96.78934538319767</c:v>
                </c:pt>
                <c:pt idx="76">
                  <c:v>96.783399726499866</c:v>
                </c:pt>
                <c:pt idx="77">
                  <c:v>96.254236280397279</c:v>
                </c:pt>
                <c:pt idx="78">
                  <c:v>96.476207463781122</c:v>
                </c:pt>
                <c:pt idx="79">
                  <c:v>98.057752145391191</c:v>
                </c:pt>
                <c:pt idx="80">
                  <c:v>97.806052678518412</c:v>
                </c:pt>
                <c:pt idx="81">
                  <c:v>97.802088907386548</c:v>
                </c:pt>
                <c:pt idx="82">
                  <c:v>98.531422795647885</c:v>
                </c:pt>
                <c:pt idx="83">
                  <c:v>99.042749271657144</c:v>
                </c:pt>
                <c:pt idx="84">
                  <c:v>99.320213250886979</c:v>
                </c:pt>
                <c:pt idx="85">
                  <c:v>100.02180074122529</c:v>
                </c:pt>
                <c:pt idx="86">
                  <c:v>99.215173315892812</c:v>
                </c:pt>
                <c:pt idx="87">
                  <c:v>99.256792912777286</c:v>
                </c:pt>
                <c:pt idx="88">
                  <c:v>99.974235487643028</c:v>
                </c:pt>
                <c:pt idx="89">
                  <c:v>98.634480845076069</c:v>
                </c:pt>
                <c:pt idx="90">
                  <c:v>98.711774382147254</c:v>
                </c:pt>
                <c:pt idx="91">
                  <c:v>98.335216124620999</c:v>
                </c:pt>
                <c:pt idx="92">
                  <c:v>98.041897060863761</c:v>
                </c:pt>
                <c:pt idx="93">
                  <c:v>96.862675149136948</c:v>
                </c:pt>
                <c:pt idx="94">
                  <c:v>96.331529817468379</c:v>
                </c:pt>
                <c:pt idx="95">
                  <c:v>97.048972392334093</c:v>
                </c:pt>
                <c:pt idx="96">
                  <c:v>97.122302158273413</c:v>
                </c:pt>
                <c:pt idx="97">
                  <c:v>97.286798660245424</c:v>
                </c:pt>
                <c:pt idx="98">
                  <c:v>96.103612977386746</c:v>
                </c:pt>
                <c:pt idx="99">
                  <c:v>97.023207879977093</c:v>
                </c:pt>
                <c:pt idx="100">
                  <c:v>97.811998335216202</c:v>
                </c:pt>
                <c:pt idx="101">
                  <c:v>98.030005747468209</c:v>
                </c:pt>
                <c:pt idx="102">
                  <c:v>98.945636878926678</c:v>
                </c:pt>
                <c:pt idx="103">
                  <c:v>98.618625760548667</c:v>
                </c:pt>
                <c:pt idx="104">
                  <c:v>98.787086033652457</c:v>
                </c:pt>
                <c:pt idx="105">
                  <c:v>99.593713458984908</c:v>
                </c:pt>
                <c:pt idx="106">
                  <c:v>99.393543016826243</c:v>
                </c:pt>
                <c:pt idx="107">
                  <c:v>99.750282418693189</c:v>
                </c:pt>
                <c:pt idx="108">
                  <c:v>99.250847256079467</c:v>
                </c:pt>
                <c:pt idx="109">
                  <c:v>99.332104564282503</c:v>
                </c:pt>
                <c:pt idx="110">
                  <c:v>99.482727867292979</c:v>
                </c:pt>
                <c:pt idx="111">
                  <c:v>99.710644707374669</c:v>
                </c:pt>
                <c:pt idx="112">
                  <c:v>99.585785916721179</c:v>
                </c:pt>
                <c:pt idx="113">
                  <c:v>99.102205838634902</c:v>
                </c:pt>
                <c:pt idx="114">
                  <c:v>99.5045286085182</c:v>
                </c:pt>
                <c:pt idx="115">
                  <c:v>99.835503498028075</c:v>
                </c:pt>
                <c:pt idx="116">
                  <c:v>99.591731573418969</c:v>
                </c:pt>
                <c:pt idx="117">
                  <c:v>99.49263729512262</c:v>
                </c:pt>
                <c:pt idx="118">
                  <c:v>100.33890243177362</c:v>
                </c:pt>
                <c:pt idx="119">
                  <c:v>101.83522603404886</c:v>
                </c:pt>
                <c:pt idx="120">
                  <c:v>102.72112888201842</c:v>
                </c:pt>
                <c:pt idx="121">
                  <c:v>102.17016469469058</c:v>
                </c:pt>
                <c:pt idx="122">
                  <c:v>101.96206671026822</c:v>
                </c:pt>
                <c:pt idx="123">
                  <c:v>101.94026596904305</c:v>
                </c:pt>
                <c:pt idx="124">
                  <c:v>100.48556196365227</c:v>
                </c:pt>
                <c:pt idx="125">
                  <c:v>100.34088431733956</c:v>
                </c:pt>
                <c:pt idx="126">
                  <c:v>99.869195552648833</c:v>
                </c:pt>
                <c:pt idx="127">
                  <c:v>98.777176605822831</c:v>
                </c:pt>
                <c:pt idx="128">
                  <c:v>99.631369284737559</c:v>
                </c:pt>
                <c:pt idx="129">
                  <c:v>98.697901183185706</c:v>
                </c:pt>
                <c:pt idx="130">
                  <c:v>98.291614642170629</c:v>
                </c:pt>
                <c:pt idx="131">
                  <c:v>98.347107438016565</c:v>
                </c:pt>
                <c:pt idx="132">
                  <c:v>97.106447073745969</c:v>
                </c:pt>
                <c:pt idx="133">
                  <c:v>95.822185227025003</c:v>
                </c:pt>
                <c:pt idx="134">
                  <c:v>95.608141585904846</c:v>
                </c:pt>
                <c:pt idx="135">
                  <c:v>96.551519115286311</c:v>
                </c:pt>
                <c:pt idx="136">
                  <c:v>95.73498226212422</c:v>
                </c:pt>
                <c:pt idx="137">
                  <c:v>96.101631091820792</c:v>
                </c:pt>
                <c:pt idx="138">
                  <c:v>95.788493172404259</c:v>
                </c:pt>
                <c:pt idx="139">
                  <c:v>95.941098360980703</c:v>
                </c:pt>
                <c:pt idx="140">
                  <c:v>96.581247398775247</c:v>
                </c:pt>
                <c:pt idx="141">
                  <c:v>97.259052262322442</c:v>
                </c:pt>
                <c:pt idx="142">
                  <c:v>96.765562756406496</c:v>
                </c:pt>
                <c:pt idx="143">
                  <c:v>97.266979804586114</c:v>
                </c:pt>
                <c:pt idx="144">
                  <c:v>96.727906930653859</c:v>
                </c:pt>
                <c:pt idx="145">
                  <c:v>94.746021364726445</c:v>
                </c:pt>
                <c:pt idx="146">
                  <c:v>94.926372951225829</c:v>
                </c:pt>
                <c:pt idx="147">
                  <c:v>93.005925837842156</c:v>
                </c:pt>
                <c:pt idx="148">
                  <c:v>93.638147333372999</c:v>
                </c:pt>
                <c:pt idx="149">
                  <c:v>94.308024654656478</c:v>
                </c:pt>
                <c:pt idx="150">
                  <c:v>94.967992548110317</c:v>
                </c:pt>
                <c:pt idx="151">
                  <c:v>94.020651247596973</c:v>
                </c:pt>
                <c:pt idx="152">
                  <c:v>93.39041163763207</c:v>
                </c:pt>
                <c:pt idx="153">
                  <c:v>95.439681312801</c:v>
                </c:pt>
                <c:pt idx="154">
                  <c:v>96.006500584656251</c:v>
                </c:pt>
                <c:pt idx="155">
                  <c:v>96.769526527538332</c:v>
                </c:pt>
                <c:pt idx="156">
                  <c:v>98.713756267713137</c:v>
                </c:pt>
                <c:pt idx="157">
                  <c:v>97.871454902193989</c:v>
                </c:pt>
                <c:pt idx="158">
                  <c:v>96.989515825356293</c:v>
                </c:pt>
                <c:pt idx="159">
                  <c:v>97.802088907386533</c:v>
                </c:pt>
                <c:pt idx="160">
                  <c:v>97.992349921715601</c:v>
                </c:pt>
                <c:pt idx="161">
                  <c:v>98.691955526487959</c:v>
                </c:pt>
                <c:pt idx="162">
                  <c:v>98.596825019323447</c:v>
                </c:pt>
                <c:pt idx="163">
                  <c:v>98.289632756604675</c:v>
                </c:pt>
                <c:pt idx="164">
                  <c:v>98.307469726698045</c:v>
                </c:pt>
                <c:pt idx="165">
                  <c:v>98.182610936044597</c:v>
                </c:pt>
                <c:pt idx="166">
                  <c:v>98.402600233862586</c:v>
                </c:pt>
                <c:pt idx="167">
                  <c:v>98.091444200011992</c:v>
                </c:pt>
                <c:pt idx="168">
                  <c:v>97.157976098460153</c:v>
                </c:pt>
                <c:pt idx="169">
                  <c:v>96.067939037200077</c:v>
                </c:pt>
                <c:pt idx="170">
                  <c:v>94.736111936896833</c:v>
                </c:pt>
                <c:pt idx="171">
                  <c:v>96.918167944982955</c:v>
                </c:pt>
                <c:pt idx="172">
                  <c:v>97.409675565332961</c:v>
                </c:pt>
                <c:pt idx="173">
                  <c:v>97.072755019125267</c:v>
                </c:pt>
                <c:pt idx="174">
                  <c:v>96.785381612065777</c:v>
                </c:pt>
                <c:pt idx="175">
                  <c:v>95.354460233466185</c:v>
                </c:pt>
                <c:pt idx="176">
                  <c:v>96.038210753711169</c:v>
                </c:pt>
                <c:pt idx="177">
                  <c:v>93.546980597340394</c:v>
                </c:pt>
                <c:pt idx="178">
                  <c:v>94.490358126721816</c:v>
                </c:pt>
                <c:pt idx="179">
                  <c:v>95.673543809580508</c:v>
                </c:pt>
                <c:pt idx="180">
                  <c:v>96.067939037200091</c:v>
                </c:pt>
                <c:pt idx="181">
                  <c:v>94.605307489545652</c:v>
                </c:pt>
                <c:pt idx="182">
                  <c:v>94.24856808767872</c:v>
                </c:pt>
                <c:pt idx="183">
                  <c:v>92.44901599381663</c:v>
                </c:pt>
                <c:pt idx="184">
                  <c:v>93.396357294329903</c:v>
                </c:pt>
                <c:pt idx="185">
                  <c:v>92.254791208355712</c:v>
                </c:pt>
                <c:pt idx="186">
                  <c:v>94.603325603979712</c:v>
                </c:pt>
                <c:pt idx="187">
                  <c:v>94.016687476465208</c:v>
                </c:pt>
                <c:pt idx="188">
                  <c:v>93.826426462136183</c:v>
                </c:pt>
                <c:pt idx="189">
                  <c:v>94.528013952474467</c:v>
                </c:pt>
                <c:pt idx="190">
                  <c:v>96.307747190677318</c:v>
                </c:pt>
                <c:pt idx="191">
                  <c:v>95.802366371365807</c:v>
                </c:pt>
                <c:pt idx="192">
                  <c:v>95.60021404364123</c:v>
                </c:pt>
                <c:pt idx="193">
                  <c:v>93.772915551856116</c:v>
                </c:pt>
                <c:pt idx="194">
                  <c:v>92.060566422894823</c:v>
                </c:pt>
                <c:pt idx="195">
                  <c:v>92.835483679172484</c:v>
                </c:pt>
                <c:pt idx="196">
                  <c:v>93.671839387993813</c:v>
                </c:pt>
                <c:pt idx="197">
                  <c:v>90.831797372019807</c:v>
                </c:pt>
                <c:pt idx="198">
                  <c:v>89.904274927165815</c:v>
                </c:pt>
                <c:pt idx="199">
                  <c:v>89.91418435499547</c:v>
                </c:pt>
                <c:pt idx="200">
                  <c:v>89.91418435499547</c:v>
                </c:pt>
                <c:pt idx="201">
                  <c:v>89.91418435499547</c:v>
                </c:pt>
                <c:pt idx="202">
                  <c:v>91.303486136710546</c:v>
                </c:pt>
                <c:pt idx="203">
                  <c:v>91.941653288939236</c:v>
                </c:pt>
                <c:pt idx="204">
                  <c:v>91.630497255088585</c:v>
                </c:pt>
                <c:pt idx="205">
                  <c:v>91.630497255088585</c:v>
                </c:pt>
                <c:pt idx="206">
                  <c:v>90.373981806290587</c:v>
                </c:pt>
                <c:pt idx="207">
                  <c:v>89.494024615018873</c:v>
                </c:pt>
                <c:pt idx="208">
                  <c:v>90.809996630794643</c:v>
                </c:pt>
                <c:pt idx="209">
                  <c:v>90.443347801098099</c:v>
                </c:pt>
                <c:pt idx="210">
                  <c:v>90.074717085835601</c:v>
                </c:pt>
                <c:pt idx="211">
                  <c:v>89.343401312008368</c:v>
                </c:pt>
                <c:pt idx="212">
                  <c:v>88.84991180609245</c:v>
                </c:pt>
                <c:pt idx="213">
                  <c:v>89.692213171611598</c:v>
                </c:pt>
                <c:pt idx="214">
                  <c:v>90.130209881681552</c:v>
                </c:pt>
                <c:pt idx="215">
                  <c:v>90.677210297877522</c:v>
                </c:pt>
                <c:pt idx="216">
                  <c:v>89.418712963513613</c:v>
                </c:pt>
                <c:pt idx="217">
                  <c:v>91.569058802544845</c:v>
                </c:pt>
                <c:pt idx="218">
                  <c:v>91.188536773886753</c:v>
                </c:pt>
                <c:pt idx="219">
                  <c:v>90.984402560596251</c:v>
                </c:pt>
                <c:pt idx="220">
                  <c:v>90.988366331728102</c:v>
                </c:pt>
                <c:pt idx="221">
                  <c:v>90.911072794656931</c:v>
                </c:pt>
                <c:pt idx="222">
                  <c:v>91.856432209604307</c:v>
                </c:pt>
                <c:pt idx="223">
                  <c:v>92.209207840339403</c:v>
                </c:pt>
                <c:pt idx="224">
                  <c:v>92.054620766197075</c:v>
                </c:pt>
                <c:pt idx="225">
                  <c:v>92.343976058822463</c:v>
                </c:pt>
                <c:pt idx="226">
                  <c:v>92.092276591949698</c:v>
                </c:pt>
                <c:pt idx="227">
                  <c:v>92.312265889767644</c:v>
                </c:pt>
                <c:pt idx="228">
                  <c:v>91.366906474820254</c:v>
                </c:pt>
                <c:pt idx="229">
                  <c:v>90.917018451354735</c:v>
                </c:pt>
                <c:pt idx="230">
                  <c:v>90.839724914283551</c:v>
                </c:pt>
                <c:pt idx="231">
                  <c:v>91.36096081812245</c:v>
                </c:pt>
                <c:pt idx="232">
                  <c:v>90.24912301563721</c:v>
                </c:pt>
                <c:pt idx="233">
                  <c:v>90.443347801098071</c:v>
                </c:pt>
                <c:pt idx="234">
                  <c:v>89.244307033711962</c:v>
                </c:pt>
                <c:pt idx="235">
                  <c:v>89.846800245753911</c:v>
                </c:pt>
                <c:pt idx="236">
                  <c:v>90.221376617714185</c:v>
                </c:pt>
                <c:pt idx="237">
                  <c:v>89.196741780129699</c:v>
                </c:pt>
                <c:pt idx="238">
                  <c:v>90.366054264026886</c:v>
                </c:pt>
                <c:pt idx="239">
                  <c:v>88.503081832055074</c:v>
                </c:pt>
                <c:pt idx="240">
                  <c:v>88.110668490001473</c:v>
                </c:pt>
                <c:pt idx="241">
                  <c:v>87.549794874843982</c:v>
                </c:pt>
                <c:pt idx="242">
                  <c:v>86.907663951483528</c:v>
                </c:pt>
                <c:pt idx="243">
                  <c:v>86.689656539231478</c:v>
                </c:pt>
                <c:pt idx="244">
                  <c:v>85.11802128545105</c:v>
                </c:pt>
                <c:pt idx="245">
                  <c:v>85.722496383058896</c:v>
                </c:pt>
                <c:pt idx="246">
                  <c:v>85.867174029371625</c:v>
                </c:pt>
                <c:pt idx="247">
                  <c:v>85.462869373922445</c:v>
                </c:pt>
                <c:pt idx="248">
                  <c:v>84.691915888776663</c:v>
                </c:pt>
                <c:pt idx="249">
                  <c:v>84.789028281507129</c:v>
                </c:pt>
                <c:pt idx="250">
                  <c:v>85.706641298531508</c:v>
                </c:pt>
                <c:pt idx="251">
                  <c:v>86.735239907247859</c:v>
                </c:pt>
                <c:pt idx="252">
                  <c:v>86.733258021681905</c:v>
                </c:pt>
                <c:pt idx="253">
                  <c:v>86.406246903303895</c:v>
                </c:pt>
                <c:pt idx="254">
                  <c:v>85.423231662603882</c:v>
                </c:pt>
                <c:pt idx="255">
                  <c:v>83.556295459500262</c:v>
                </c:pt>
                <c:pt idx="256">
                  <c:v>82.769486889827064</c:v>
                </c:pt>
                <c:pt idx="257">
                  <c:v>81.457478645183087</c:v>
                </c:pt>
                <c:pt idx="258">
                  <c:v>82.906236993876036</c:v>
                </c:pt>
                <c:pt idx="259">
                  <c:v>80.918405771250832</c:v>
                </c:pt>
                <c:pt idx="260">
                  <c:v>80.246546564401413</c:v>
                </c:pt>
                <c:pt idx="261">
                  <c:v>81.29694591434297</c:v>
                </c:pt>
                <c:pt idx="262">
                  <c:v>79.973046356303414</c:v>
                </c:pt>
                <c:pt idx="263">
                  <c:v>76.817884535346977</c:v>
                </c:pt>
                <c:pt idx="264">
                  <c:v>78.484650296291932</c:v>
                </c:pt>
                <c:pt idx="265">
                  <c:v>81.011554392849391</c:v>
                </c:pt>
                <c:pt idx="266">
                  <c:v>82.74570426303589</c:v>
                </c:pt>
                <c:pt idx="267">
                  <c:v>81.721069425451404</c:v>
                </c:pt>
                <c:pt idx="268">
                  <c:v>81.851873872802599</c:v>
                </c:pt>
                <c:pt idx="269">
                  <c:v>82.262124184949599</c:v>
                </c:pt>
                <c:pt idx="270">
                  <c:v>81.86772895733003</c:v>
                </c:pt>
                <c:pt idx="271">
                  <c:v>79.305150920585859</c:v>
                </c:pt>
                <c:pt idx="272">
                  <c:v>79.586578670947574</c:v>
                </c:pt>
                <c:pt idx="273">
                  <c:v>81.253344431892543</c:v>
                </c:pt>
                <c:pt idx="274">
                  <c:v>81.003626850585675</c:v>
                </c:pt>
                <c:pt idx="275">
                  <c:v>82.220504588065126</c:v>
                </c:pt>
                <c:pt idx="276">
                  <c:v>84.232118437481432</c:v>
                </c:pt>
                <c:pt idx="277">
                  <c:v>84.616604237271375</c:v>
                </c:pt>
                <c:pt idx="278">
                  <c:v>84.396614939453428</c:v>
                </c:pt>
                <c:pt idx="279">
                  <c:v>84.396614939453428</c:v>
                </c:pt>
                <c:pt idx="280">
                  <c:v>84.396614939453428</c:v>
                </c:pt>
                <c:pt idx="281">
                  <c:v>84.20635392512439</c:v>
                </c:pt>
                <c:pt idx="282">
                  <c:v>86.227877202370351</c:v>
                </c:pt>
                <c:pt idx="283">
                  <c:v>86.099054640585095</c:v>
                </c:pt>
                <c:pt idx="284">
                  <c:v>85.336028697703028</c:v>
                </c:pt>
                <c:pt idx="285">
                  <c:v>84.757318112452211</c:v>
                </c:pt>
                <c:pt idx="286">
                  <c:v>85.118021285451007</c:v>
                </c:pt>
                <c:pt idx="287">
                  <c:v>84.967397982440545</c:v>
                </c:pt>
                <c:pt idx="288">
                  <c:v>85.403412806944559</c:v>
                </c:pt>
                <c:pt idx="289">
                  <c:v>86.802624016489304</c:v>
                </c:pt>
                <c:pt idx="290">
                  <c:v>87.666726123233659</c:v>
                </c:pt>
                <c:pt idx="291">
                  <c:v>87.666726123233659</c:v>
                </c:pt>
                <c:pt idx="292">
                  <c:v>87.034504627702844</c:v>
                </c:pt>
                <c:pt idx="293">
                  <c:v>85.528271597597964</c:v>
                </c:pt>
                <c:pt idx="294">
                  <c:v>86.215985888974814</c:v>
                </c:pt>
                <c:pt idx="295">
                  <c:v>86.739203678379681</c:v>
                </c:pt>
                <c:pt idx="296">
                  <c:v>86.766950076302663</c:v>
                </c:pt>
                <c:pt idx="297">
                  <c:v>86.326971480666742</c:v>
                </c:pt>
                <c:pt idx="298">
                  <c:v>87.884733535485694</c:v>
                </c:pt>
                <c:pt idx="299">
                  <c:v>87.488356422300228</c:v>
                </c:pt>
                <c:pt idx="300">
                  <c:v>86.085181441623618</c:v>
                </c:pt>
                <c:pt idx="301">
                  <c:v>87.014685772043592</c:v>
                </c:pt>
                <c:pt idx="302">
                  <c:v>87.179182274015545</c:v>
                </c:pt>
                <c:pt idx="303">
                  <c:v>88.009592326139128</c:v>
                </c:pt>
                <c:pt idx="304">
                  <c:v>88.909368373070208</c:v>
                </c:pt>
                <c:pt idx="305">
                  <c:v>89.371147709931279</c:v>
                </c:pt>
                <c:pt idx="306">
                  <c:v>90.148046851774836</c:v>
                </c:pt>
                <c:pt idx="307">
                  <c:v>89.434568048040987</c:v>
                </c:pt>
                <c:pt idx="308">
                  <c:v>89.390966565590574</c:v>
                </c:pt>
                <c:pt idx="309">
                  <c:v>88.952969855520593</c:v>
                </c:pt>
                <c:pt idx="310">
                  <c:v>89.065937332778432</c:v>
                </c:pt>
                <c:pt idx="311">
                  <c:v>88.675505876290742</c:v>
                </c:pt>
                <c:pt idx="312">
                  <c:v>87.706363834552249</c:v>
                </c:pt>
                <c:pt idx="313">
                  <c:v>88.007610440573245</c:v>
                </c:pt>
                <c:pt idx="314">
                  <c:v>87.918425590106494</c:v>
                </c:pt>
                <c:pt idx="315">
                  <c:v>88.291020076500843</c:v>
                </c:pt>
                <c:pt idx="316">
                  <c:v>89.022335850328034</c:v>
                </c:pt>
                <c:pt idx="317">
                  <c:v>88.423806409417963</c:v>
                </c:pt>
                <c:pt idx="318">
                  <c:v>88.322730245555618</c:v>
                </c:pt>
                <c:pt idx="319">
                  <c:v>88.017519868402843</c:v>
                </c:pt>
                <c:pt idx="320">
                  <c:v>87.309986721366741</c:v>
                </c:pt>
                <c:pt idx="321">
                  <c:v>85.651148502685459</c:v>
                </c:pt>
                <c:pt idx="322">
                  <c:v>86.319043938403041</c:v>
                </c:pt>
                <c:pt idx="323">
                  <c:v>85.040727748379865</c:v>
                </c:pt>
                <c:pt idx="324">
                  <c:v>84.477872247656464</c:v>
                </c:pt>
                <c:pt idx="325">
                  <c:v>83.740610817131468</c:v>
                </c:pt>
                <c:pt idx="326">
                  <c:v>84.154824900410333</c:v>
                </c:pt>
                <c:pt idx="327">
                  <c:v>83.863487722218963</c:v>
                </c:pt>
                <c:pt idx="328">
                  <c:v>83.942763144856087</c:v>
                </c:pt>
                <c:pt idx="329">
                  <c:v>84.081495134470984</c:v>
                </c:pt>
                <c:pt idx="330">
                  <c:v>84.018074796361319</c:v>
                </c:pt>
                <c:pt idx="331">
                  <c:v>82.694175238321776</c:v>
                </c:pt>
                <c:pt idx="332">
                  <c:v>82.920110192837512</c:v>
                </c:pt>
                <c:pt idx="333">
                  <c:v>84.144915472580649</c:v>
                </c:pt>
                <c:pt idx="334">
                  <c:v>84.903977644330865</c:v>
                </c:pt>
                <c:pt idx="335">
                  <c:v>86.065362585964309</c:v>
                </c:pt>
                <c:pt idx="336">
                  <c:v>84.80884713716631</c:v>
                </c:pt>
                <c:pt idx="337">
                  <c:v>84.358959113700777</c:v>
                </c:pt>
                <c:pt idx="338">
                  <c:v>83.87141526448265</c:v>
                </c:pt>
                <c:pt idx="339">
                  <c:v>82.091682026279841</c:v>
                </c:pt>
                <c:pt idx="340">
                  <c:v>81.960877578928617</c:v>
                </c:pt>
                <c:pt idx="341">
                  <c:v>81.352438710188864</c:v>
                </c:pt>
                <c:pt idx="342">
                  <c:v>80.143488514973157</c:v>
                </c:pt>
                <c:pt idx="343">
                  <c:v>81.354420595754817</c:v>
                </c:pt>
                <c:pt idx="344">
                  <c:v>81.796381076956635</c:v>
                </c:pt>
                <c:pt idx="345">
                  <c:v>81.251362546326618</c:v>
                </c:pt>
                <c:pt idx="346">
                  <c:v>80.442753235428214</c:v>
                </c:pt>
                <c:pt idx="347">
                  <c:v>79.539013417365325</c:v>
                </c:pt>
                <c:pt idx="348">
                  <c:v>80.841112234179633</c:v>
                </c:pt>
                <c:pt idx="349">
                  <c:v>80.089977604693132</c:v>
                </c:pt>
                <c:pt idx="350">
                  <c:v>80.270329191192531</c:v>
                </c:pt>
                <c:pt idx="351">
                  <c:v>79.069306538240511</c:v>
                </c:pt>
                <c:pt idx="352">
                  <c:v>77.963414392452989</c:v>
                </c:pt>
                <c:pt idx="353">
                  <c:v>78.569871375626775</c:v>
                </c:pt>
                <c:pt idx="354">
                  <c:v>79.965118814039684</c:v>
                </c:pt>
                <c:pt idx="355">
                  <c:v>80.914442000118953</c:v>
                </c:pt>
                <c:pt idx="356">
                  <c:v>81.760707136769923</c:v>
                </c:pt>
                <c:pt idx="357">
                  <c:v>82.022316031472357</c:v>
                </c:pt>
                <c:pt idx="358">
                  <c:v>82.03222545930204</c:v>
                </c:pt>
                <c:pt idx="359">
                  <c:v>81.334601740095565</c:v>
                </c:pt>
                <c:pt idx="360">
                  <c:v>81.261271974156244</c:v>
                </c:pt>
                <c:pt idx="361">
                  <c:v>81.392076421507454</c:v>
                </c:pt>
                <c:pt idx="362">
                  <c:v>80.411043066373409</c:v>
                </c:pt>
                <c:pt idx="363">
                  <c:v>78.853281011554387</c:v>
                </c:pt>
                <c:pt idx="364">
                  <c:v>78.270606655171747</c:v>
                </c:pt>
                <c:pt idx="365">
                  <c:v>78.581762689022369</c:v>
                </c:pt>
                <c:pt idx="366">
                  <c:v>79.574687357551952</c:v>
                </c:pt>
                <c:pt idx="367">
                  <c:v>78.993994886735265</c:v>
                </c:pt>
                <c:pt idx="368">
                  <c:v>78.1021463820679</c:v>
                </c:pt>
                <c:pt idx="369">
                  <c:v>76.982381037318916</c:v>
                </c:pt>
                <c:pt idx="370">
                  <c:v>77.004181778544122</c:v>
                </c:pt>
                <c:pt idx="371">
                  <c:v>77.933686108964082</c:v>
                </c:pt>
                <c:pt idx="372">
                  <c:v>77.687932298789065</c:v>
                </c:pt>
                <c:pt idx="373">
                  <c:v>77.812791089442513</c:v>
                </c:pt>
                <c:pt idx="374">
                  <c:v>79.009849971262696</c:v>
                </c:pt>
                <c:pt idx="375">
                  <c:v>79.112908020690895</c:v>
                </c:pt>
                <c:pt idx="376">
                  <c:v>78.385556017995526</c:v>
                </c:pt>
                <c:pt idx="377">
                  <c:v>78.215113859325797</c:v>
                </c:pt>
                <c:pt idx="378">
                  <c:v>76.691043859127603</c:v>
                </c:pt>
                <c:pt idx="379">
                  <c:v>76.960580296093738</c:v>
                </c:pt>
                <c:pt idx="380">
                  <c:v>76.201518124343536</c:v>
                </c:pt>
                <c:pt idx="381">
                  <c:v>77.489743742196353</c:v>
                </c:pt>
                <c:pt idx="382">
                  <c:v>76.461145133480002</c:v>
                </c:pt>
                <c:pt idx="383">
                  <c:v>74.629882870563051</c:v>
                </c:pt>
                <c:pt idx="384">
                  <c:v>72.719345185009047</c:v>
                </c:pt>
                <c:pt idx="385">
                  <c:v>72.108924430703382</c:v>
                </c:pt>
                <c:pt idx="386">
                  <c:v>67.631844937273357</c:v>
                </c:pt>
                <c:pt idx="387">
                  <c:v>68.898269813900981</c:v>
                </c:pt>
                <c:pt idx="388">
                  <c:v>69.496799254811066</c:v>
                </c:pt>
                <c:pt idx="389">
                  <c:v>66.004716887646921</c:v>
                </c:pt>
                <c:pt idx="390">
                  <c:v>67.455457121905809</c:v>
                </c:pt>
                <c:pt idx="391">
                  <c:v>66.823235626374952</c:v>
                </c:pt>
                <c:pt idx="392">
                  <c:v>65.219890203539649</c:v>
                </c:pt>
                <c:pt idx="393">
                  <c:v>62.698931763679994</c:v>
                </c:pt>
                <c:pt idx="394">
                  <c:v>61.036129773866875</c:v>
                </c:pt>
                <c:pt idx="395">
                  <c:v>64.19129159482334</c:v>
                </c:pt>
                <c:pt idx="396">
                  <c:v>64.968190736666884</c:v>
                </c:pt>
                <c:pt idx="397">
                  <c:v>65.800582674356406</c:v>
                </c:pt>
                <c:pt idx="398">
                  <c:v>66.698376835721504</c:v>
                </c:pt>
                <c:pt idx="399">
                  <c:v>68.920070555126188</c:v>
                </c:pt>
                <c:pt idx="400">
                  <c:v>67.267177993142724</c:v>
                </c:pt>
                <c:pt idx="401">
                  <c:v>67.713102245476392</c:v>
                </c:pt>
                <c:pt idx="402">
                  <c:v>68.170917811205626</c:v>
                </c:pt>
                <c:pt idx="403">
                  <c:v>70.319281764670976</c:v>
                </c:pt>
                <c:pt idx="404">
                  <c:v>70.018035158649994</c:v>
                </c:pt>
                <c:pt idx="405">
                  <c:v>69.877321283469158</c:v>
                </c:pt>
                <c:pt idx="406">
                  <c:v>69.71084289593125</c:v>
                </c:pt>
                <c:pt idx="407">
                  <c:v>71.452920308381451</c:v>
                </c:pt>
                <c:pt idx="408">
                  <c:v>72.53106605624599</c:v>
                </c:pt>
                <c:pt idx="409">
                  <c:v>71.99992072457745</c:v>
                </c:pt>
                <c:pt idx="410">
                  <c:v>70.745387161345363</c:v>
                </c:pt>
                <c:pt idx="411">
                  <c:v>71.292387577541334</c:v>
                </c:pt>
                <c:pt idx="412">
                  <c:v>72.971044651881883</c:v>
                </c:pt>
                <c:pt idx="413">
                  <c:v>71.775967655627653</c:v>
                </c:pt>
                <c:pt idx="414">
                  <c:v>70.701785678894979</c:v>
                </c:pt>
                <c:pt idx="415">
                  <c:v>71.625344352617148</c:v>
                </c:pt>
                <c:pt idx="416">
                  <c:v>73.452642844402249</c:v>
                </c:pt>
                <c:pt idx="417">
                  <c:v>73.583447291753458</c:v>
                </c:pt>
                <c:pt idx="418">
                  <c:v>72.287294131636912</c:v>
                </c:pt>
                <c:pt idx="419">
                  <c:v>73.961987434845597</c:v>
                </c:pt>
                <c:pt idx="420">
                  <c:v>72.433953663515581</c:v>
                </c:pt>
                <c:pt idx="421">
                  <c:v>70.743405275779466</c:v>
                </c:pt>
                <c:pt idx="422">
                  <c:v>71.835424222605468</c:v>
                </c:pt>
                <c:pt idx="423">
                  <c:v>72.263511504845823</c:v>
                </c:pt>
                <c:pt idx="424">
                  <c:v>72.598450165487549</c:v>
                </c:pt>
                <c:pt idx="425">
                  <c:v>74.302871752185112</c:v>
                </c:pt>
                <c:pt idx="426">
                  <c:v>74.263234040866593</c:v>
                </c:pt>
                <c:pt idx="427">
                  <c:v>74.881582337435916</c:v>
                </c:pt>
                <c:pt idx="428">
                  <c:v>76.215391323305113</c:v>
                </c:pt>
                <c:pt idx="429">
                  <c:v>75.452365380423032</c:v>
                </c:pt>
                <c:pt idx="430">
                  <c:v>73.819291674098864</c:v>
                </c:pt>
                <c:pt idx="431">
                  <c:v>76.298630517074059</c:v>
                </c:pt>
                <c:pt idx="432">
                  <c:v>76.195572467645832</c:v>
                </c:pt>
                <c:pt idx="433">
                  <c:v>76.405652337634137</c:v>
                </c:pt>
                <c:pt idx="434">
                  <c:v>76.918960699209379</c:v>
                </c:pt>
                <c:pt idx="435">
                  <c:v>77.66018590086621</c:v>
                </c:pt>
                <c:pt idx="436">
                  <c:v>76.754464197237397</c:v>
                </c:pt>
                <c:pt idx="437">
                  <c:v>76.746536654973696</c:v>
                </c:pt>
                <c:pt idx="438">
                  <c:v>77.285609528905923</c:v>
                </c:pt>
                <c:pt idx="439">
                  <c:v>76.899141843550055</c:v>
                </c:pt>
                <c:pt idx="440">
                  <c:v>76.905087500247873</c:v>
                </c:pt>
                <c:pt idx="441">
                  <c:v>76.005311453316793</c:v>
                </c:pt>
                <c:pt idx="442">
                  <c:v>75.036169411578314</c:v>
                </c:pt>
                <c:pt idx="443">
                  <c:v>74.952930217809325</c:v>
                </c:pt>
                <c:pt idx="444">
                  <c:v>74.887527994133734</c:v>
                </c:pt>
                <c:pt idx="445">
                  <c:v>74.608082129337959</c:v>
                </c:pt>
                <c:pt idx="446">
                  <c:v>75.527677031928278</c:v>
                </c:pt>
                <c:pt idx="447">
                  <c:v>77.707751154448431</c:v>
                </c:pt>
                <c:pt idx="448">
                  <c:v>77.91981291000269</c:v>
                </c:pt>
                <c:pt idx="449">
                  <c:v>77.257863130982912</c:v>
                </c:pt>
                <c:pt idx="450">
                  <c:v>76.094496303783515</c:v>
                </c:pt>
                <c:pt idx="451">
                  <c:v>76.110351388310946</c:v>
                </c:pt>
                <c:pt idx="452">
                  <c:v>75.29976019184663</c:v>
                </c:pt>
                <c:pt idx="453">
                  <c:v>74.174049190399842</c:v>
                </c:pt>
                <c:pt idx="454">
                  <c:v>73.541827694869013</c:v>
                </c:pt>
                <c:pt idx="455">
                  <c:v>75.262104366093993</c:v>
                </c:pt>
                <c:pt idx="456">
                  <c:v>75.232376082605086</c:v>
                </c:pt>
                <c:pt idx="457">
                  <c:v>74.580335731414948</c:v>
                </c:pt>
                <c:pt idx="458">
                  <c:v>74.15819410587244</c:v>
                </c:pt>
                <c:pt idx="459">
                  <c:v>75.537586459757932</c:v>
                </c:pt>
                <c:pt idx="460">
                  <c:v>77.022018748637578</c:v>
                </c:pt>
                <c:pt idx="461">
                  <c:v>77.440196603048307</c:v>
                </c:pt>
                <c:pt idx="462">
                  <c:v>77.440196603048307</c:v>
                </c:pt>
                <c:pt idx="463">
                  <c:v>77.440196603048307</c:v>
                </c:pt>
                <c:pt idx="464">
                  <c:v>76.144043442931732</c:v>
                </c:pt>
                <c:pt idx="465">
                  <c:v>77.545236538042417</c:v>
                </c:pt>
                <c:pt idx="466">
                  <c:v>77.931704223398285</c:v>
                </c:pt>
                <c:pt idx="467">
                  <c:v>77.204352220702901</c:v>
                </c:pt>
                <c:pt idx="468">
                  <c:v>76.580058267435732</c:v>
                </c:pt>
                <c:pt idx="469">
                  <c:v>76.550329983946853</c:v>
                </c:pt>
                <c:pt idx="470">
                  <c:v>75.870543234833718</c:v>
                </c:pt>
                <c:pt idx="471">
                  <c:v>76.393761024238572</c:v>
                </c:pt>
                <c:pt idx="472">
                  <c:v>74.723031492161738</c:v>
                </c:pt>
                <c:pt idx="473">
                  <c:v>75.436510295895644</c:v>
                </c:pt>
                <c:pt idx="474">
                  <c:v>74.661593039618026</c:v>
                </c:pt>
                <c:pt idx="475">
                  <c:v>75.525695146362352</c:v>
                </c:pt>
                <c:pt idx="476">
                  <c:v>75.273995679489573</c:v>
                </c:pt>
                <c:pt idx="477">
                  <c:v>74.853835939512962</c:v>
                </c:pt>
                <c:pt idx="478">
                  <c:v>74.847890282815214</c:v>
                </c:pt>
                <c:pt idx="479">
                  <c:v>75.486057435043833</c:v>
                </c:pt>
                <c:pt idx="480">
                  <c:v>76.393761024238586</c:v>
                </c:pt>
                <c:pt idx="481">
                  <c:v>76.126206472838376</c:v>
                </c:pt>
                <c:pt idx="482">
                  <c:v>76.804011336385557</c:v>
                </c:pt>
                <c:pt idx="483">
                  <c:v>75.725865588521032</c:v>
                </c:pt>
                <c:pt idx="484">
                  <c:v>74.883564223001883</c:v>
                </c:pt>
                <c:pt idx="485">
                  <c:v>75.85667003587227</c:v>
                </c:pt>
                <c:pt idx="486">
                  <c:v>76.1202608161406</c:v>
                </c:pt>
                <c:pt idx="487">
                  <c:v>75.220484769209577</c:v>
                </c:pt>
                <c:pt idx="488">
                  <c:v>73.979824404938995</c:v>
                </c:pt>
                <c:pt idx="489">
                  <c:v>73.23661731771621</c:v>
                </c:pt>
                <c:pt idx="490">
                  <c:v>73.862893156549248</c:v>
                </c:pt>
                <c:pt idx="491">
                  <c:v>73.757853221555123</c:v>
                </c:pt>
                <c:pt idx="492">
                  <c:v>74.433676199536379</c:v>
                </c:pt>
                <c:pt idx="493">
                  <c:v>74.405929801613397</c:v>
                </c:pt>
                <c:pt idx="494">
                  <c:v>74.937075133281937</c:v>
                </c:pt>
                <c:pt idx="495">
                  <c:v>75.668390907109156</c:v>
                </c:pt>
                <c:pt idx="496">
                  <c:v>75.149136888836182</c:v>
                </c:pt>
                <c:pt idx="497">
                  <c:v>74.709158293200304</c:v>
                </c:pt>
                <c:pt idx="498">
                  <c:v>73.319856511485156</c:v>
                </c:pt>
                <c:pt idx="499">
                  <c:v>72.907624313772274</c:v>
                </c:pt>
                <c:pt idx="500">
                  <c:v>73.634976316467601</c:v>
                </c:pt>
                <c:pt idx="501">
                  <c:v>72.917533741601915</c:v>
                </c:pt>
                <c:pt idx="502">
                  <c:v>73.948114235884162</c:v>
                </c:pt>
                <c:pt idx="503">
                  <c:v>74.471332025288987</c:v>
                </c:pt>
                <c:pt idx="504">
                  <c:v>75.569296628812836</c:v>
                </c:pt>
                <c:pt idx="505">
                  <c:v>75.299760191846673</c:v>
                </c:pt>
                <c:pt idx="506">
                  <c:v>76.106387617179124</c:v>
                </c:pt>
                <c:pt idx="507">
                  <c:v>77.588838020492844</c:v>
                </c:pt>
                <c:pt idx="508">
                  <c:v>77.253899359851118</c:v>
                </c:pt>
                <c:pt idx="509">
                  <c:v>77.378758150504495</c:v>
                </c:pt>
                <c:pt idx="510">
                  <c:v>77.804863547178925</c:v>
                </c:pt>
                <c:pt idx="511">
                  <c:v>78.308262480924498</c:v>
                </c:pt>
                <c:pt idx="512">
                  <c:v>77.854410686327128</c:v>
                </c:pt>
                <c:pt idx="513">
                  <c:v>77.287591414471862</c:v>
                </c:pt>
                <c:pt idx="514">
                  <c:v>77.311374041262994</c:v>
                </c:pt>
                <c:pt idx="515">
                  <c:v>77.301464613433353</c:v>
                </c:pt>
                <c:pt idx="516">
                  <c:v>77.947559307925729</c:v>
                </c:pt>
                <c:pt idx="517">
                  <c:v>78.379610361297907</c:v>
                </c:pt>
                <c:pt idx="518">
                  <c:v>78.61149097251139</c:v>
                </c:pt>
                <c:pt idx="519">
                  <c:v>77.959450621321295</c:v>
                </c:pt>
                <c:pt idx="520">
                  <c:v>77.75928017916263</c:v>
                </c:pt>
                <c:pt idx="521">
                  <c:v>78.201240660364476</c:v>
                </c:pt>
                <c:pt idx="522">
                  <c:v>77.662167786432178</c:v>
                </c:pt>
                <c:pt idx="523">
                  <c:v>77.814772975008609</c:v>
                </c:pt>
                <c:pt idx="524">
                  <c:v>78.02683473056284</c:v>
                </c:pt>
                <c:pt idx="525">
                  <c:v>78.940483976455383</c:v>
                </c:pt>
                <c:pt idx="526">
                  <c:v>78.940483976455383</c:v>
                </c:pt>
                <c:pt idx="527">
                  <c:v>78.940483976455383</c:v>
                </c:pt>
                <c:pt idx="528">
                  <c:v>78.482668410726149</c:v>
                </c:pt>
                <c:pt idx="529">
                  <c:v>78.373664704600174</c:v>
                </c:pt>
                <c:pt idx="530">
                  <c:v>77.64829458747073</c:v>
                </c:pt>
                <c:pt idx="531">
                  <c:v>77.64829458747073</c:v>
                </c:pt>
                <c:pt idx="532">
                  <c:v>76.679152545732208</c:v>
                </c:pt>
                <c:pt idx="533">
                  <c:v>76.772301167330767</c:v>
                </c:pt>
                <c:pt idx="534">
                  <c:v>77.43226906078462</c:v>
                </c:pt>
                <c:pt idx="535">
                  <c:v>76.195572467645889</c:v>
                </c:pt>
                <c:pt idx="536">
                  <c:v>76.587985809699532</c:v>
                </c:pt>
                <c:pt idx="537">
                  <c:v>77.107239827972521</c:v>
                </c:pt>
                <c:pt idx="538">
                  <c:v>78.302316824226736</c:v>
                </c:pt>
                <c:pt idx="539">
                  <c:v>78.332045107715658</c:v>
                </c:pt>
                <c:pt idx="540">
                  <c:v>77.814772975008609</c:v>
                </c:pt>
                <c:pt idx="541">
                  <c:v>77.903957825475345</c:v>
                </c:pt>
                <c:pt idx="542">
                  <c:v>77.402540777295712</c:v>
                </c:pt>
                <c:pt idx="543">
                  <c:v>77.16669639495035</c:v>
                </c:pt>
                <c:pt idx="544">
                  <c:v>76.863467903363443</c:v>
                </c:pt>
                <c:pt idx="545">
                  <c:v>76.096478189349511</c:v>
                </c:pt>
                <c:pt idx="546">
                  <c:v>75.704064847295896</c:v>
                </c:pt>
                <c:pt idx="547">
                  <c:v>75.486057435043875</c:v>
                </c:pt>
                <c:pt idx="548">
                  <c:v>75.922072259547889</c:v>
                </c:pt>
                <c:pt idx="549">
                  <c:v>75.922072259547889</c:v>
                </c:pt>
                <c:pt idx="550">
                  <c:v>75.779376498801113</c:v>
                </c:pt>
                <c:pt idx="551">
                  <c:v>75.151118774402121</c:v>
                </c:pt>
                <c:pt idx="552">
                  <c:v>74.998513585825748</c:v>
                </c:pt>
                <c:pt idx="553">
                  <c:v>74.205759359454731</c:v>
                </c:pt>
                <c:pt idx="554">
                  <c:v>75.813068553421857</c:v>
                </c:pt>
                <c:pt idx="555">
                  <c:v>75.567314743246897</c:v>
                </c:pt>
                <c:pt idx="556">
                  <c:v>74.750777890084748</c:v>
                </c:pt>
                <c:pt idx="557">
                  <c:v>75.333452246467459</c:v>
                </c:pt>
                <c:pt idx="558">
                  <c:v>76.324395029431159</c:v>
                </c:pt>
                <c:pt idx="559">
                  <c:v>76.649424262243286</c:v>
                </c:pt>
                <c:pt idx="560">
                  <c:v>76.318449372733369</c:v>
                </c:pt>
                <c:pt idx="561">
                  <c:v>75.757575757575907</c:v>
                </c:pt>
                <c:pt idx="562">
                  <c:v>75.357234873258577</c:v>
                </c:pt>
                <c:pt idx="563">
                  <c:v>75.32948847533558</c:v>
                </c:pt>
                <c:pt idx="564">
                  <c:v>74.265215926432575</c:v>
                </c:pt>
                <c:pt idx="565">
                  <c:v>74.437639970668286</c:v>
                </c:pt>
                <c:pt idx="566">
                  <c:v>74.522861050003129</c:v>
                </c:pt>
                <c:pt idx="567">
                  <c:v>74.556553104623902</c:v>
                </c:pt>
                <c:pt idx="568">
                  <c:v>73.743980022593647</c:v>
                </c:pt>
                <c:pt idx="569">
                  <c:v>73.492280555720882</c:v>
                </c:pt>
                <c:pt idx="570">
                  <c:v>72.538993598509776</c:v>
                </c:pt>
                <c:pt idx="571">
                  <c:v>73.19301583526584</c:v>
                </c:pt>
                <c:pt idx="572">
                  <c:v>72.673761816992823</c:v>
                </c:pt>
                <c:pt idx="573">
                  <c:v>71.326079632162177</c:v>
                </c:pt>
                <c:pt idx="574">
                  <c:v>70.937630061240441</c:v>
                </c:pt>
                <c:pt idx="575">
                  <c:v>70.620528370692028</c:v>
                </c:pt>
                <c:pt idx="576">
                  <c:v>69.730661751590631</c:v>
                </c:pt>
                <c:pt idx="577">
                  <c:v>69.883266940167076</c:v>
                </c:pt>
                <c:pt idx="578">
                  <c:v>70.555126147016452</c:v>
                </c:pt>
                <c:pt idx="579">
                  <c:v>69.046911231345717</c:v>
                </c:pt>
                <c:pt idx="580">
                  <c:v>68.242265691579178</c:v>
                </c:pt>
                <c:pt idx="581">
                  <c:v>66.521989020354141</c:v>
                </c:pt>
                <c:pt idx="582">
                  <c:v>68.686208058346878</c:v>
                </c:pt>
                <c:pt idx="583">
                  <c:v>68.264066432804356</c:v>
                </c:pt>
                <c:pt idx="584">
                  <c:v>67.138355431357581</c:v>
                </c:pt>
                <c:pt idx="585">
                  <c:v>65.701488396060185</c:v>
                </c:pt>
                <c:pt idx="586">
                  <c:v>65.441861386923705</c:v>
                </c:pt>
                <c:pt idx="587">
                  <c:v>63.927700814555159</c:v>
                </c:pt>
                <c:pt idx="588">
                  <c:v>65.299165626176944</c:v>
                </c:pt>
                <c:pt idx="589">
                  <c:v>64.04066829181302</c:v>
                </c:pt>
                <c:pt idx="590">
                  <c:v>64.773965951206165</c:v>
                </c:pt>
                <c:pt idx="591">
                  <c:v>66.76972471609507</c:v>
                </c:pt>
                <c:pt idx="592">
                  <c:v>67.007550984006386</c:v>
                </c:pt>
                <c:pt idx="593">
                  <c:v>65.126741581941218</c:v>
                </c:pt>
                <c:pt idx="594">
                  <c:v>63.305388746853936</c:v>
                </c:pt>
                <c:pt idx="595">
                  <c:v>64.551994767822293</c:v>
                </c:pt>
                <c:pt idx="596">
                  <c:v>67.005569098440432</c:v>
                </c:pt>
                <c:pt idx="597">
                  <c:v>66.716213805815059</c:v>
                </c:pt>
                <c:pt idx="598">
                  <c:v>65.941296549537441</c:v>
                </c:pt>
                <c:pt idx="599">
                  <c:v>63.999048694928533</c:v>
                </c:pt>
                <c:pt idx="600">
                  <c:v>61.805101373446853</c:v>
                </c:pt>
                <c:pt idx="601">
                  <c:v>61.763481776562365</c:v>
                </c:pt>
                <c:pt idx="602">
                  <c:v>58.655885209188156</c:v>
                </c:pt>
                <c:pt idx="603">
                  <c:v>58.544899617496213</c:v>
                </c:pt>
                <c:pt idx="604">
                  <c:v>60.449491646352477</c:v>
                </c:pt>
                <c:pt idx="605">
                  <c:v>61.32350318092648</c:v>
                </c:pt>
                <c:pt idx="606">
                  <c:v>58.529044532968811</c:v>
                </c:pt>
                <c:pt idx="607">
                  <c:v>55.922865013774242</c:v>
                </c:pt>
                <c:pt idx="608">
                  <c:v>54.91606714628309</c:v>
                </c:pt>
                <c:pt idx="609">
                  <c:v>54.026200527181693</c:v>
                </c:pt>
                <c:pt idx="610">
                  <c:v>56.010067978675032</c:v>
                </c:pt>
                <c:pt idx="611">
                  <c:v>56.578869136096209</c:v>
                </c:pt>
                <c:pt idx="612">
                  <c:v>59.773668668371229</c:v>
                </c:pt>
                <c:pt idx="613">
                  <c:v>59.474403947916173</c:v>
                </c:pt>
                <c:pt idx="614">
                  <c:v>59.894563687892791</c:v>
                </c:pt>
                <c:pt idx="615">
                  <c:v>57.409279188219806</c:v>
                </c:pt>
                <c:pt idx="616">
                  <c:v>57.333967536714567</c:v>
                </c:pt>
                <c:pt idx="617">
                  <c:v>55.639455377846616</c:v>
                </c:pt>
                <c:pt idx="618">
                  <c:v>57.869076639514972</c:v>
                </c:pt>
                <c:pt idx="619">
                  <c:v>57.217036288324849</c:v>
                </c:pt>
                <c:pt idx="620">
                  <c:v>59.375309669619796</c:v>
                </c:pt>
                <c:pt idx="621">
                  <c:v>60.181937094952275</c:v>
                </c:pt>
                <c:pt idx="622">
                  <c:v>58.840200566819391</c:v>
                </c:pt>
                <c:pt idx="623">
                  <c:v>59.420893037636127</c:v>
                </c:pt>
                <c:pt idx="624">
                  <c:v>58.148522504310719</c:v>
                </c:pt>
                <c:pt idx="625">
                  <c:v>59.846998434310528</c:v>
                </c:pt>
                <c:pt idx="626">
                  <c:v>60.104643557881083</c:v>
                </c:pt>
                <c:pt idx="627">
                  <c:v>61.783300632221632</c:v>
                </c:pt>
                <c:pt idx="628">
                  <c:v>60.915234754345413</c:v>
                </c:pt>
                <c:pt idx="629">
                  <c:v>61.513764195255497</c:v>
                </c:pt>
                <c:pt idx="630">
                  <c:v>62.70487742037789</c:v>
                </c:pt>
                <c:pt idx="631">
                  <c:v>61.898249995045425</c:v>
                </c:pt>
                <c:pt idx="632">
                  <c:v>61.434488772618401</c:v>
                </c:pt>
                <c:pt idx="633">
                  <c:v>62.508670749351069</c:v>
                </c:pt>
                <c:pt idx="634">
                  <c:v>60.267158174287154</c:v>
                </c:pt>
                <c:pt idx="635">
                  <c:v>59.264324077927867</c:v>
                </c:pt>
                <c:pt idx="636">
                  <c:v>59.866817289969809</c:v>
                </c:pt>
                <c:pt idx="637">
                  <c:v>58.792635313237149</c:v>
                </c:pt>
                <c:pt idx="638">
                  <c:v>56.446082803179081</c:v>
                </c:pt>
                <c:pt idx="639">
                  <c:v>56.788949006084515</c:v>
                </c:pt>
                <c:pt idx="640">
                  <c:v>56.428245833085739</c:v>
                </c:pt>
                <c:pt idx="641">
                  <c:v>58.136631190915161</c:v>
                </c:pt>
                <c:pt idx="642">
                  <c:v>57.389460332560525</c:v>
                </c:pt>
                <c:pt idx="643">
                  <c:v>58.850109994649031</c:v>
                </c:pt>
                <c:pt idx="644">
                  <c:v>59.934201399211339</c:v>
                </c:pt>
                <c:pt idx="645">
                  <c:v>57.855203440553474</c:v>
                </c:pt>
                <c:pt idx="646">
                  <c:v>56.788949006084515</c:v>
                </c:pt>
                <c:pt idx="647">
                  <c:v>56.725528667974849</c:v>
                </c:pt>
                <c:pt idx="648">
                  <c:v>56.273658758943377</c:v>
                </c:pt>
                <c:pt idx="649">
                  <c:v>54.273936222922615</c:v>
                </c:pt>
                <c:pt idx="650">
                  <c:v>53.243355728640331</c:v>
                </c:pt>
                <c:pt idx="651">
                  <c:v>53.421725429573812</c:v>
                </c:pt>
                <c:pt idx="652">
                  <c:v>51.608300136750209</c:v>
                </c:pt>
                <c:pt idx="653">
                  <c:v>50.799690825851819</c:v>
                </c:pt>
                <c:pt idx="654">
                  <c:v>51.628118992409497</c:v>
                </c:pt>
                <c:pt idx="655">
                  <c:v>53.895396079830455</c:v>
                </c:pt>
                <c:pt idx="656">
                  <c:v>53.942961333412711</c:v>
                </c:pt>
                <c:pt idx="657">
                  <c:v>51.451731177041935</c:v>
                </c:pt>
                <c:pt idx="658">
                  <c:v>52.187010722001013</c:v>
                </c:pt>
                <c:pt idx="659">
                  <c:v>53.661533583051011</c:v>
                </c:pt>
                <c:pt idx="660">
                  <c:v>52.926254038091948</c:v>
                </c:pt>
                <c:pt idx="661">
                  <c:v>51.901619200507454</c:v>
                </c:pt>
                <c:pt idx="662">
                  <c:v>51.192104167905448</c:v>
                </c:pt>
                <c:pt idx="663">
                  <c:v>50.423132568325606</c:v>
                </c:pt>
                <c:pt idx="664">
                  <c:v>50.030719226271984</c:v>
                </c:pt>
                <c:pt idx="665">
                  <c:v>51.116792516400203</c:v>
                </c:pt>
                <c:pt idx="666">
                  <c:v>53.570366847018356</c:v>
                </c:pt>
                <c:pt idx="667">
                  <c:v>53.051112828745367</c:v>
                </c:pt>
                <c:pt idx="668">
                  <c:v>56.128981112630655</c:v>
                </c:pt>
                <c:pt idx="669">
                  <c:v>55.316408030600421</c:v>
                </c:pt>
                <c:pt idx="670">
                  <c:v>57.131815208989963</c:v>
                </c:pt>
                <c:pt idx="671">
                  <c:v>56.83651425966675</c:v>
                </c:pt>
                <c:pt idx="672">
                  <c:v>56.905880254474212</c:v>
                </c:pt>
                <c:pt idx="673">
                  <c:v>56.390590007333074</c:v>
                </c:pt>
                <c:pt idx="674">
                  <c:v>54.769407614404457</c:v>
                </c:pt>
                <c:pt idx="675">
                  <c:v>56.121053570366954</c:v>
                </c:pt>
                <c:pt idx="676">
                  <c:v>55.788096795291146</c:v>
                </c:pt>
                <c:pt idx="677">
                  <c:v>56.448064688744978</c:v>
                </c:pt>
                <c:pt idx="678">
                  <c:v>54.220425312642554</c:v>
                </c:pt>
                <c:pt idx="679">
                  <c:v>55.54234298511615</c:v>
                </c:pt>
                <c:pt idx="680">
                  <c:v>56.319242126959715</c:v>
                </c:pt>
                <c:pt idx="681">
                  <c:v>55.647382920110303</c:v>
                </c:pt>
                <c:pt idx="682">
                  <c:v>57.544047406702845</c:v>
                </c:pt>
                <c:pt idx="683">
                  <c:v>57.746199734427456</c:v>
                </c:pt>
                <c:pt idx="684">
                  <c:v>57.165507263610714</c:v>
                </c:pt>
                <c:pt idx="685">
                  <c:v>56.115107913669178</c:v>
                </c:pt>
                <c:pt idx="686">
                  <c:v>55.498741502665752</c:v>
                </c:pt>
                <c:pt idx="687">
                  <c:v>55.149929643062507</c:v>
                </c:pt>
                <c:pt idx="688">
                  <c:v>55.88124541688974</c:v>
                </c:pt>
                <c:pt idx="689">
                  <c:v>55.467031333610905</c:v>
                </c:pt>
                <c:pt idx="690">
                  <c:v>56.483738628931683</c:v>
                </c:pt>
                <c:pt idx="691">
                  <c:v>56.775075807123038</c:v>
                </c:pt>
                <c:pt idx="692">
                  <c:v>57.337931307846397</c:v>
                </c:pt>
                <c:pt idx="693">
                  <c:v>57.038666587391354</c:v>
                </c:pt>
                <c:pt idx="694">
                  <c:v>56.943536080226849</c:v>
                </c:pt>
                <c:pt idx="695">
                  <c:v>58.709396119468202</c:v>
                </c:pt>
                <c:pt idx="696">
                  <c:v>58.830291138989764</c:v>
                </c:pt>
                <c:pt idx="697">
                  <c:v>58.447787224765761</c:v>
                </c:pt>
                <c:pt idx="698">
                  <c:v>57.230909487286304</c:v>
                </c:pt>
                <c:pt idx="699">
                  <c:v>58.60237429890811</c:v>
                </c:pt>
                <c:pt idx="700">
                  <c:v>58.990823869829882</c:v>
                </c:pt>
                <c:pt idx="701">
                  <c:v>58.877856392572014</c:v>
                </c:pt>
                <c:pt idx="702">
                  <c:v>58.873892621440149</c:v>
                </c:pt>
                <c:pt idx="703">
                  <c:v>57.670888082922211</c:v>
                </c:pt>
                <c:pt idx="704">
                  <c:v>57.308203024357496</c:v>
                </c:pt>
                <c:pt idx="705">
                  <c:v>56.755256951463743</c:v>
                </c:pt>
                <c:pt idx="706">
                  <c:v>56.440137146481284</c:v>
                </c:pt>
                <c:pt idx="707">
                  <c:v>55.294607289375229</c:v>
                </c:pt>
                <c:pt idx="708">
                  <c:v>55.425411736726453</c:v>
                </c:pt>
                <c:pt idx="709">
                  <c:v>56.035832491032082</c:v>
                </c:pt>
                <c:pt idx="710">
                  <c:v>55.149929643062514</c:v>
                </c:pt>
                <c:pt idx="711">
                  <c:v>54.434468953762718</c:v>
                </c:pt>
                <c:pt idx="712">
                  <c:v>55.912955585944573</c:v>
                </c:pt>
                <c:pt idx="713">
                  <c:v>55.145965871930656</c:v>
                </c:pt>
                <c:pt idx="714">
                  <c:v>54.143131775571383</c:v>
                </c:pt>
                <c:pt idx="715">
                  <c:v>53.970707731335686</c:v>
                </c:pt>
                <c:pt idx="716">
                  <c:v>54.464197237251611</c:v>
                </c:pt>
                <c:pt idx="717">
                  <c:v>54.585092256773201</c:v>
                </c:pt>
                <c:pt idx="718">
                  <c:v>54.585092256773201</c:v>
                </c:pt>
                <c:pt idx="719">
                  <c:v>54.585092256773201</c:v>
                </c:pt>
                <c:pt idx="720">
                  <c:v>54.585092256773201</c:v>
                </c:pt>
                <c:pt idx="721">
                  <c:v>52.924272152526015</c:v>
                </c:pt>
                <c:pt idx="722">
                  <c:v>53.425689200705648</c:v>
                </c:pt>
                <c:pt idx="723">
                  <c:v>53.425689200705648</c:v>
                </c:pt>
                <c:pt idx="724">
                  <c:v>53.425689200705648</c:v>
                </c:pt>
                <c:pt idx="725">
                  <c:v>55.437303050122004</c:v>
                </c:pt>
                <c:pt idx="726">
                  <c:v>55.726658342747406</c:v>
                </c:pt>
                <c:pt idx="727">
                  <c:v>55.839625820005253</c:v>
                </c:pt>
                <c:pt idx="728">
                  <c:v>55.447212477951624</c:v>
                </c:pt>
                <c:pt idx="729">
                  <c:v>54.658422022712514</c:v>
                </c:pt>
                <c:pt idx="730">
                  <c:v>54.963632399865347</c:v>
                </c:pt>
                <c:pt idx="731">
                  <c:v>55.056781021463927</c:v>
                </c:pt>
                <c:pt idx="732">
                  <c:v>55.003270111183888</c:v>
                </c:pt>
                <c:pt idx="733">
                  <c:v>55.260915234754471</c:v>
                </c:pt>
                <c:pt idx="734">
                  <c:v>54.513744376399821</c:v>
                </c:pt>
                <c:pt idx="735">
                  <c:v>54.476088550647191</c:v>
                </c:pt>
                <c:pt idx="736">
                  <c:v>53.235428186376637</c:v>
                </c:pt>
                <c:pt idx="737">
                  <c:v>52.537804467170169</c:v>
                </c:pt>
                <c:pt idx="738">
                  <c:v>52.002695364369778</c:v>
                </c:pt>
                <c:pt idx="739">
                  <c:v>51.10291931743874</c:v>
                </c:pt>
                <c:pt idx="740">
                  <c:v>50.724379174346574</c:v>
                </c:pt>
                <c:pt idx="741">
                  <c:v>50.256654180787706</c:v>
                </c:pt>
                <c:pt idx="742">
                  <c:v>48.593852190974609</c:v>
                </c:pt>
                <c:pt idx="743">
                  <c:v>48.683037041441324</c:v>
                </c:pt>
                <c:pt idx="744">
                  <c:v>48.863388627940729</c:v>
                </c:pt>
                <c:pt idx="745">
                  <c:v>50.030719226271998</c:v>
                </c:pt>
                <c:pt idx="746">
                  <c:v>50.096121449947596</c:v>
                </c:pt>
                <c:pt idx="747">
                  <c:v>50.928513387637118</c:v>
                </c:pt>
                <c:pt idx="748">
                  <c:v>49.341023049329245</c:v>
                </c:pt>
                <c:pt idx="749">
                  <c:v>50.300255663238104</c:v>
                </c:pt>
                <c:pt idx="750">
                  <c:v>49.154725806132056</c:v>
                </c:pt>
                <c:pt idx="751">
                  <c:v>48.71276532493026</c:v>
                </c:pt>
                <c:pt idx="752">
                  <c:v>48.488812255980442</c:v>
                </c:pt>
                <c:pt idx="753">
                  <c:v>49.551102919317543</c:v>
                </c:pt>
                <c:pt idx="754">
                  <c:v>48.685018927007263</c:v>
                </c:pt>
                <c:pt idx="755">
                  <c:v>48.35404403749736</c:v>
                </c:pt>
                <c:pt idx="756">
                  <c:v>49.119051865945366</c:v>
                </c:pt>
                <c:pt idx="757">
                  <c:v>49.997027171651219</c:v>
                </c:pt>
                <c:pt idx="758">
                  <c:v>50.4865529064353</c:v>
                </c:pt>
                <c:pt idx="759">
                  <c:v>49.352914362724803</c:v>
                </c:pt>
                <c:pt idx="760">
                  <c:v>49.012030045385281</c:v>
                </c:pt>
                <c:pt idx="761">
                  <c:v>49.350932477158864</c:v>
                </c:pt>
                <c:pt idx="762">
                  <c:v>48.853479200111074</c:v>
                </c:pt>
                <c:pt idx="763">
                  <c:v>47.470123075093731</c:v>
                </c:pt>
                <c:pt idx="764">
                  <c:v>47.127256872188298</c:v>
                </c:pt>
                <c:pt idx="765">
                  <c:v>47.507778900846354</c:v>
                </c:pt>
                <c:pt idx="766">
                  <c:v>48.280714271558061</c:v>
                </c:pt>
                <c:pt idx="767">
                  <c:v>48.367917236458865</c:v>
                </c:pt>
                <c:pt idx="768">
                  <c:v>47.416612164813685</c:v>
                </c:pt>
                <c:pt idx="769">
                  <c:v>47.004379967100782</c:v>
                </c:pt>
                <c:pt idx="770">
                  <c:v>46.586202112690096</c:v>
                </c:pt>
                <c:pt idx="771">
                  <c:v>45.670570981231627</c:v>
                </c:pt>
                <c:pt idx="772">
                  <c:v>44.630081059119725</c:v>
                </c:pt>
                <c:pt idx="773">
                  <c:v>44.669718770438287</c:v>
                </c:pt>
                <c:pt idx="774">
                  <c:v>43.278435103157236</c:v>
                </c:pt>
                <c:pt idx="775">
                  <c:v>45.773629030659862</c:v>
                </c:pt>
                <c:pt idx="776">
                  <c:v>47.573181124521973</c:v>
                </c:pt>
                <c:pt idx="777">
                  <c:v>49.055631527835672</c:v>
                </c:pt>
                <c:pt idx="778">
                  <c:v>49.230037457637287</c:v>
                </c:pt>
                <c:pt idx="779">
                  <c:v>49.905860435618536</c:v>
                </c:pt>
                <c:pt idx="780">
                  <c:v>49.668034167707255</c:v>
                </c:pt>
                <c:pt idx="781">
                  <c:v>51.297144102899601</c:v>
                </c:pt>
                <c:pt idx="782">
                  <c:v>49.168599005093547</c:v>
                </c:pt>
                <c:pt idx="783">
                  <c:v>49.777037873833258</c:v>
                </c:pt>
                <c:pt idx="784">
                  <c:v>49.763164674871788</c:v>
                </c:pt>
                <c:pt idx="785">
                  <c:v>48.883207483599989</c:v>
                </c:pt>
                <c:pt idx="786">
                  <c:v>48.736547951721356</c:v>
                </c:pt>
                <c:pt idx="787">
                  <c:v>47.057890877380828</c:v>
                </c:pt>
                <c:pt idx="788">
                  <c:v>47.727768198664307</c:v>
                </c:pt>
                <c:pt idx="789">
                  <c:v>49.235983114335092</c:v>
                </c:pt>
                <c:pt idx="790">
                  <c:v>49.7433458192125</c:v>
                </c:pt>
                <c:pt idx="791">
                  <c:v>50.276473036446987</c:v>
                </c:pt>
                <c:pt idx="792">
                  <c:v>52.008641021067547</c:v>
                </c:pt>
                <c:pt idx="793">
                  <c:v>51.176249083378032</c:v>
                </c:pt>
                <c:pt idx="794">
                  <c:v>51.126701944229865</c:v>
                </c:pt>
                <c:pt idx="795">
                  <c:v>50.290346235408478</c:v>
                </c:pt>
                <c:pt idx="796">
                  <c:v>50.686723348593965</c:v>
                </c:pt>
                <c:pt idx="797">
                  <c:v>51.174267197812085</c:v>
                </c:pt>
                <c:pt idx="798">
                  <c:v>51.996749707672002</c:v>
                </c:pt>
                <c:pt idx="799">
                  <c:v>51.463622490437508</c:v>
                </c:pt>
                <c:pt idx="800">
                  <c:v>51.832253205700006</c:v>
                </c:pt>
                <c:pt idx="801">
                  <c:v>51.832253205700006</c:v>
                </c:pt>
                <c:pt idx="802">
                  <c:v>51.832253205700006</c:v>
                </c:pt>
                <c:pt idx="803">
                  <c:v>52.078007015875023</c:v>
                </c:pt>
                <c:pt idx="804">
                  <c:v>52.811304675268161</c:v>
                </c:pt>
                <c:pt idx="805">
                  <c:v>51.969003309749027</c:v>
                </c:pt>
                <c:pt idx="806">
                  <c:v>51.334799928652231</c:v>
                </c:pt>
                <c:pt idx="807">
                  <c:v>52.561587093961307</c:v>
                </c:pt>
                <c:pt idx="808">
                  <c:v>52.282141229165553</c:v>
                </c:pt>
                <c:pt idx="809">
                  <c:v>52.246467288978863</c:v>
                </c:pt>
                <c:pt idx="810">
                  <c:v>52.044314961254251</c:v>
                </c:pt>
                <c:pt idx="811">
                  <c:v>52.353489109538927</c:v>
                </c:pt>
                <c:pt idx="812">
                  <c:v>52.634916859900621</c:v>
                </c:pt>
                <c:pt idx="813">
                  <c:v>53.370196404859698</c:v>
                </c:pt>
                <c:pt idx="814">
                  <c:v>52.870761242245976</c:v>
                </c:pt>
                <c:pt idx="815">
                  <c:v>51.51316962958569</c:v>
                </c:pt>
                <c:pt idx="816">
                  <c:v>52.000713478803839</c:v>
                </c:pt>
                <c:pt idx="817">
                  <c:v>51.970985195314924</c:v>
                </c:pt>
                <c:pt idx="818">
                  <c:v>52.187010722001027</c:v>
                </c:pt>
                <c:pt idx="819">
                  <c:v>52.268268030204048</c:v>
                </c:pt>
                <c:pt idx="820">
                  <c:v>53.047149057613495</c:v>
                </c:pt>
                <c:pt idx="821">
                  <c:v>53.112551281289115</c:v>
                </c:pt>
                <c:pt idx="822">
                  <c:v>51.433894206948573</c:v>
                </c:pt>
                <c:pt idx="823">
                  <c:v>51.671720474859882</c:v>
                </c:pt>
                <c:pt idx="824">
                  <c:v>51.166339655548377</c:v>
                </c:pt>
                <c:pt idx="825">
                  <c:v>51.877836573716301</c:v>
                </c:pt>
                <c:pt idx="826">
                  <c:v>51.481459460530829</c:v>
                </c:pt>
                <c:pt idx="827">
                  <c:v>51.289216560635879</c:v>
                </c:pt>
                <c:pt idx="828">
                  <c:v>51.596408823354622</c:v>
                </c:pt>
                <c:pt idx="829">
                  <c:v>52.755811879422176</c:v>
                </c:pt>
                <c:pt idx="830">
                  <c:v>52.852924272152613</c:v>
                </c:pt>
                <c:pt idx="831">
                  <c:v>52.936163465921574</c:v>
                </c:pt>
                <c:pt idx="832">
                  <c:v>53.988544701429042</c:v>
                </c:pt>
                <c:pt idx="833">
                  <c:v>53.550547991359075</c:v>
                </c:pt>
                <c:pt idx="834">
                  <c:v>54.145113661137302</c:v>
                </c:pt>
                <c:pt idx="835">
                  <c:v>53.847830826248178</c:v>
                </c:pt>
                <c:pt idx="836">
                  <c:v>55.090473076084692</c:v>
                </c:pt>
                <c:pt idx="837">
                  <c:v>54.384921814614515</c:v>
                </c:pt>
                <c:pt idx="838">
                  <c:v>54.670313336108094</c:v>
                </c:pt>
                <c:pt idx="839">
                  <c:v>55.354063856353022</c:v>
                </c:pt>
                <c:pt idx="840">
                  <c:v>55.710803258219975</c:v>
                </c:pt>
                <c:pt idx="841">
                  <c:v>54.912103375151219</c:v>
                </c:pt>
                <c:pt idx="842">
                  <c:v>55.811879422082256</c:v>
                </c:pt>
                <c:pt idx="843">
                  <c:v>56.382662465069352</c:v>
                </c:pt>
                <c:pt idx="844">
                  <c:v>56.802822205045985</c:v>
                </c:pt>
                <c:pt idx="845">
                  <c:v>55.879263531323794</c:v>
                </c:pt>
                <c:pt idx="846">
                  <c:v>56.307350813564135</c:v>
                </c:pt>
                <c:pt idx="847">
                  <c:v>55.431357393424207</c:v>
                </c:pt>
                <c:pt idx="848">
                  <c:v>55.177676040985503</c:v>
                </c:pt>
                <c:pt idx="849">
                  <c:v>55.350100085221172</c:v>
                </c:pt>
                <c:pt idx="850">
                  <c:v>55.314426145034489</c:v>
                </c:pt>
                <c:pt idx="851">
                  <c:v>55.338208771825627</c:v>
                </c:pt>
                <c:pt idx="852">
                  <c:v>54.799135897893372</c:v>
                </c:pt>
                <c:pt idx="853">
                  <c:v>53.711080722199206</c:v>
                </c:pt>
                <c:pt idx="854">
                  <c:v>54.696077848465158</c:v>
                </c:pt>
                <c:pt idx="855">
                  <c:v>55.052817250332055</c:v>
                </c:pt>
                <c:pt idx="856">
                  <c:v>54.910121489585293</c:v>
                </c:pt>
                <c:pt idx="857">
                  <c:v>56.230057276492978</c:v>
                </c:pt>
                <c:pt idx="858">
                  <c:v>56.130962998196608</c:v>
                </c:pt>
                <c:pt idx="859">
                  <c:v>55.728640228313331</c:v>
                </c:pt>
                <c:pt idx="860">
                  <c:v>55.199476782210709</c:v>
                </c:pt>
                <c:pt idx="861">
                  <c:v>55.841607705571192</c:v>
                </c:pt>
                <c:pt idx="862">
                  <c:v>56.606615534019198</c:v>
                </c:pt>
                <c:pt idx="863">
                  <c:v>56.245912361020409</c:v>
                </c:pt>
                <c:pt idx="864">
                  <c:v>55.942683869433488</c:v>
                </c:pt>
                <c:pt idx="865">
                  <c:v>55.441266821253855</c:v>
                </c:pt>
                <c:pt idx="866">
                  <c:v>55.441266821253855</c:v>
                </c:pt>
                <c:pt idx="867">
                  <c:v>54.97948748439277</c:v>
                </c:pt>
                <c:pt idx="868">
                  <c:v>55.215331866738154</c:v>
                </c:pt>
                <c:pt idx="869">
                  <c:v>55.11029193174398</c:v>
                </c:pt>
                <c:pt idx="870">
                  <c:v>56.069524545652854</c:v>
                </c:pt>
                <c:pt idx="871">
                  <c:v>55.631527835582901</c:v>
                </c:pt>
                <c:pt idx="872">
                  <c:v>56.279604415641167</c:v>
                </c:pt>
                <c:pt idx="873">
                  <c:v>56.071506431218786</c:v>
                </c:pt>
                <c:pt idx="874">
                  <c:v>56.446082803179081</c:v>
                </c:pt>
                <c:pt idx="875">
                  <c:v>57.086231840973653</c:v>
                </c:pt>
                <c:pt idx="876">
                  <c:v>56.455992231008729</c:v>
                </c:pt>
                <c:pt idx="877">
                  <c:v>56.014031749806904</c:v>
                </c:pt>
                <c:pt idx="878">
                  <c:v>56.410408862992384</c:v>
                </c:pt>
                <c:pt idx="879">
                  <c:v>55.637473492280691</c:v>
                </c:pt>
                <c:pt idx="880">
                  <c:v>55.798006223120836</c:v>
                </c:pt>
                <c:pt idx="881">
                  <c:v>56.273658758943398</c:v>
                </c:pt>
                <c:pt idx="882">
                  <c:v>56.432209604217583</c:v>
                </c:pt>
                <c:pt idx="883">
                  <c:v>56.798858433914162</c:v>
                </c:pt>
                <c:pt idx="884">
                  <c:v>56.977228134847628</c:v>
                </c:pt>
                <c:pt idx="885">
                  <c:v>57.746199734427485</c:v>
                </c:pt>
                <c:pt idx="886">
                  <c:v>57.851239669421616</c:v>
                </c:pt>
                <c:pt idx="887">
                  <c:v>58.433914025804285</c:v>
                </c:pt>
                <c:pt idx="888">
                  <c:v>58.531026418534736</c:v>
                </c:pt>
                <c:pt idx="889">
                  <c:v>58.382385001090171</c:v>
                </c:pt>
                <c:pt idx="890">
                  <c:v>58.976950670868405</c:v>
                </c:pt>
                <c:pt idx="891">
                  <c:v>59.165229799631511</c:v>
                </c:pt>
                <c:pt idx="892">
                  <c:v>58.727233089561558</c:v>
                </c:pt>
                <c:pt idx="893">
                  <c:v>58.213924727986353</c:v>
                </c:pt>
                <c:pt idx="894">
                  <c:v>58.632102582397039</c:v>
                </c:pt>
                <c:pt idx="895">
                  <c:v>58.854073765780889</c:v>
                </c:pt>
                <c:pt idx="896">
                  <c:v>58.233743583645605</c:v>
                </c:pt>
                <c:pt idx="897">
                  <c:v>59.040371008978092</c:v>
                </c:pt>
                <c:pt idx="898">
                  <c:v>59.307925560378294</c:v>
                </c:pt>
                <c:pt idx="899">
                  <c:v>60.263194403155318</c:v>
                </c:pt>
                <c:pt idx="900">
                  <c:v>60.110589214578916</c:v>
                </c:pt>
                <c:pt idx="901">
                  <c:v>59.724121529223055</c:v>
                </c:pt>
                <c:pt idx="902">
                  <c:v>60.066987732128503</c:v>
                </c:pt>
                <c:pt idx="903">
                  <c:v>59.264324077927881</c:v>
                </c:pt>
                <c:pt idx="904">
                  <c:v>58.79858096993496</c:v>
                </c:pt>
                <c:pt idx="905">
                  <c:v>58.951186158511348</c:v>
                </c:pt>
                <c:pt idx="906">
                  <c:v>58.604356184474064</c:v>
                </c:pt>
                <c:pt idx="907">
                  <c:v>58.808490397764572</c:v>
                </c:pt>
                <c:pt idx="908">
                  <c:v>59.452603206690995</c:v>
                </c:pt>
                <c:pt idx="909">
                  <c:v>59.632954793190386</c:v>
                </c:pt>
                <c:pt idx="910">
                  <c:v>60.096716015617403</c:v>
                </c:pt>
                <c:pt idx="911">
                  <c:v>59.539806171591799</c:v>
                </c:pt>
                <c:pt idx="912">
                  <c:v>58.513189448441381</c:v>
                </c:pt>
                <c:pt idx="913">
                  <c:v>58.30112769288715</c:v>
                </c:pt>
                <c:pt idx="914">
                  <c:v>58.299145807321239</c:v>
                </c:pt>
                <c:pt idx="915">
                  <c:v>57.875022296212748</c:v>
                </c:pt>
                <c:pt idx="916">
                  <c:v>57.456844441802048</c:v>
                </c:pt>
                <c:pt idx="917">
                  <c:v>57.129833323424045</c:v>
                </c:pt>
                <c:pt idx="918">
                  <c:v>56.152763739421822</c:v>
                </c:pt>
                <c:pt idx="919">
                  <c:v>56.945517965792774</c:v>
                </c:pt>
                <c:pt idx="920">
                  <c:v>57.258655885209322</c:v>
                </c:pt>
                <c:pt idx="921">
                  <c:v>58.675704064847423</c:v>
                </c:pt>
                <c:pt idx="922">
                  <c:v>58.368511802128687</c:v>
                </c:pt>
                <c:pt idx="923">
                  <c:v>57.880967952910524</c:v>
                </c:pt>
                <c:pt idx="924">
                  <c:v>57.880967952910524</c:v>
                </c:pt>
                <c:pt idx="925">
                  <c:v>59.006678954357305</c:v>
                </c:pt>
                <c:pt idx="926">
                  <c:v>58.667776522583722</c:v>
                </c:pt>
                <c:pt idx="927">
                  <c:v>59.700338902431923</c:v>
                </c:pt>
                <c:pt idx="928">
                  <c:v>59.523951087064354</c:v>
                </c:pt>
                <c:pt idx="929">
                  <c:v>60.120498642408535</c:v>
                </c:pt>
                <c:pt idx="930">
                  <c:v>59.940147055909122</c:v>
                </c:pt>
                <c:pt idx="931">
                  <c:v>59.785559981766802</c:v>
                </c:pt>
                <c:pt idx="932">
                  <c:v>59.759795469409731</c:v>
                </c:pt>
                <c:pt idx="933">
                  <c:v>59.835107120914984</c:v>
                </c:pt>
                <c:pt idx="934">
                  <c:v>58.826327367857907</c:v>
                </c:pt>
                <c:pt idx="935">
                  <c:v>58.398240085617573</c:v>
                </c:pt>
                <c:pt idx="936">
                  <c:v>58.301127692887135</c:v>
                </c:pt>
                <c:pt idx="937">
                  <c:v>58.830291138989757</c:v>
                </c:pt>
                <c:pt idx="938">
                  <c:v>59.462512634520614</c:v>
                </c:pt>
                <c:pt idx="939">
                  <c:v>59.686465703470404</c:v>
                </c:pt>
                <c:pt idx="940">
                  <c:v>60.158154468161136</c:v>
                </c:pt>
                <c:pt idx="941">
                  <c:v>60.181937094952254</c:v>
                </c:pt>
                <c:pt idx="942">
                  <c:v>61.129278395465569</c:v>
                </c:pt>
                <c:pt idx="943">
                  <c:v>60.863705729631299</c:v>
                </c:pt>
                <c:pt idx="944">
                  <c:v>60.522821412291776</c:v>
                </c:pt>
                <c:pt idx="945">
                  <c:v>60.802267277087537</c:v>
                </c:pt>
                <c:pt idx="946">
                  <c:v>61.400796717997615</c:v>
                </c:pt>
                <c:pt idx="947">
                  <c:v>60.891452127554281</c:v>
                </c:pt>
                <c:pt idx="948">
                  <c:v>60.608042491626641</c:v>
                </c:pt>
                <c:pt idx="949">
                  <c:v>60.814158590483096</c:v>
                </c:pt>
                <c:pt idx="950">
                  <c:v>60.980636978021003</c:v>
                </c:pt>
                <c:pt idx="951">
                  <c:v>61.240263987157491</c:v>
                </c:pt>
                <c:pt idx="952">
                  <c:v>60.122480527974432</c:v>
                </c:pt>
                <c:pt idx="953">
                  <c:v>60.065005846562528</c:v>
                </c:pt>
                <c:pt idx="954">
                  <c:v>59.698357016865963</c:v>
                </c:pt>
                <c:pt idx="955">
                  <c:v>59.579443882910297</c:v>
                </c:pt>
                <c:pt idx="956">
                  <c:v>59.74195849931634</c:v>
                </c:pt>
                <c:pt idx="957">
                  <c:v>60.899379669817954</c:v>
                </c:pt>
                <c:pt idx="958">
                  <c:v>60.931089838872808</c:v>
                </c:pt>
                <c:pt idx="959">
                  <c:v>60.719028083318562</c:v>
                </c:pt>
                <c:pt idx="960">
                  <c:v>61.012347147075836</c:v>
                </c:pt>
                <c:pt idx="961">
                  <c:v>60.740828824543769</c:v>
                </c:pt>
                <c:pt idx="962">
                  <c:v>61.690152010623009</c:v>
                </c:pt>
                <c:pt idx="963">
                  <c:v>61.369086548942747</c:v>
                </c:pt>
                <c:pt idx="964">
                  <c:v>61.686188239491152</c:v>
                </c:pt>
                <c:pt idx="965">
                  <c:v>61.602949045722191</c:v>
                </c:pt>
                <c:pt idx="966">
                  <c:v>61.180807420179654</c:v>
                </c:pt>
                <c:pt idx="967">
                  <c:v>60.899379669817954</c:v>
                </c:pt>
                <c:pt idx="968">
                  <c:v>61.343322036585704</c:v>
                </c:pt>
                <c:pt idx="969">
                  <c:v>60.851814416235698</c:v>
                </c:pt>
                <c:pt idx="970">
                  <c:v>61.200626275838928</c:v>
                </c:pt>
                <c:pt idx="971">
                  <c:v>61.121350853201832</c:v>
                </c:pt>
                <c:pt idx="972">
                  <c:v>61.224408902630067</c:v>
                </c:pt>
                <c:pt idx="973">
                  <c:v>60.929107953306875</c:v>
                </c:pt>
                <c:pt idx="974">
                  <c:v>60.972709435757274</c:v>
                </c:pt>
                <c:pt idx="975">
                  <c:v>61.55142002100807</c:v>
                </c:pt>
                <c:pt idx="976">
                  <c:v>61.706007095150412</c:v>
                </c:pt>
                <c:pt idx="977">
                  <c:v>61.460253284975423</c:v>
                </c:pt>
                <c:pt idx="978">
                  <c:v>61.769427433260084</c:v>
                </c:pt>
                <c:pt idx="979">
                  <c:v>61.902213766177219</c:v>
                </c:pt>
                <c:pt idx="980">
                  <c:v>62.0885110093744</c:v>
                </c:pt>
                <c:pt idx="981">
                  <c:v>62.308500307192347</c:v>
                </c:pt>
                <c:pt idx="982">
                  <c:v>62.399667043225008</c:v>
                </c:pt>
                <c:pt idx="983">
                  <c:v>62.399667043225008</c:v>
                </c:pt>
                <c:pt idx="984">
                  <c:v>63.071526250074406</c:v>
                </c:pt>
                <c:pt idx="985">
                  <c:v>63.38862794062279</c:v>
                </c:pt>
                <c:pt idx="986">
                  <c:v>63.364845313831665</c:v>
                </c:pt>
                <c:pt idx="987">
                  <c:v>63.063598707810698</c:v>
                </c:pt>
                <c:pt idx="988">
                  <c:v>63.691856432209697</c:v>
                </c:pt>
                <c:pt idx="989">
                  <c:v>63.368809084963523</c:v>
                </c:pt>
                <c:pt idx="990">
                  <c:v>63.299443090156061</c:v>
                </c:pt>
                <c:pt idx="991">
                  <c:v>63.418356224111726</c:v>
                </c:pt>
                <c:pt idx="992">
                  <c:v>64.001030580494373</c:v>
                </c:pt>
                <c:pt idx="993">
                  <c:v>64.032740749549205</c:v>
                </c:pt>
                <c:pt idx="994">
                  <c:v>64.728382583189727</c:v>
                </c:pt>
                <c:pt idx="995">
                  <c:v>64.882969657332097</c:v>
                </c:pt>
                <c:pt idx="996">
                  <c:v>64.553976653388119</c:v>
                </c:pt>
                <c:pt idx="997">
                  <c:v>64.863150801672802</c:v>
                </c:pt>
                <c:pt idx="998">
                  <c:v>64.880987771766158</c:v>
                </c:pt>
                <c:pt idx="999">
                  <c:v>64.773965951206065</c:v>
                </c:pt>
                <c:pt idx="1000">
                  <c:v>64.593614364706696</c:v>
                </c:pt>
                <c:pt idx="1001">
                  <c:v>64.690726757437119</c:v>
                </c:pt>
                <c:pt idx="1002">
                  <c:v>65.0098103335514</c:v>
                </c:pt>
                <c:pt idx="1003">
                  <c:v>64.522266484333301</c:v>
                </c:pt>
                <c:pt idx="1004">
                  <c:v>64.211110450482693</c:v>
                </c:pt>
                <c:pt idx="1005">
                  <c:v>64.314168499910906</c:v>
                </c:pt>
                <c:pt idx="1006">
                  <c:v>64.157599540202654</c:v>
                </c:pt>
                <c:pt idx="1007">
                  <c:v>63.973284182571376</c:v>
                </c:pt>
                <c:pt idx="1008">
                  <c:v>63.882117446538722</c:v>
                </c:pt>
                <c:pt idx="1009">
                  <c:v>64.228947420576006</c:v>
                </c:pt>
                <c:pt idx="1010">
                  <c:v>65.045484273738111</c:v>
                </c:pt>
                <c:pt idx="1011">
                  <c:v>65.079176328358884</c:v>
                </c:pt>
                <c:pt idx="1012">
                  <c:v>65.223853974671613</c:v>
                </c:pt>
                <c:pt idx="1013">
                  <c:v>65.156469865430068</c:v>
                </c:pt>
                <c:pt idx="1014">
                  <c:v>65.031611074776663</c:v>
                </c:pt>
                <c:pt idx="1015">
                  <c:v>65.223853974671613</c:v>
                </c:pt>
                <c:pt idx="1016">
                  <c:v>65.806528331054267</c:v>
                </c:pt>
                <c:pt idx="1017">
                  <c:v>65.828329072279459</c:v>
                </c:pt>
                <c:pt idx="1018">
                  <c:v>66.680539865628262</c:v>
                </c:pt>
                <c:pt idx="1019">
                  <c:v>66.286144638008707</c:v>
                </c:pt>
                <c:pt idx="1020">
                  <c:v>66.405057771964351</c:v>
                </c:pt>
                <c:pt idx="1021">
                  <c:v>65.74905364964242</c:v>
                </c:pt>
                <c:pt idx="1022">
                  <c:v>66.095883623679683</c:v>
                </c:pt>
                <c:pt idx="1023">
                  <c:v>66.177140931882718</c:v>
                </c:pt>
                <c:pt idx="1024">
                  <c:v>66.149394533959708</c:v>
                </c:pt>
                <c:pt idx="1025">
                  <c:v>66.843054482034333</c:v>
                </c:pt>
                <c:pt idx="1026">
                  <c:v>67.241413480785766</c:v>
                </c:pt>
                <c:pt idx="1027">
                  <c:v>67.055116237588535</c:v>
                </c:pt>
                <c:pt idx="1028">
                  <c:v>67.39996432605993</c:v>
                </c:pt>
                <c:pt idx="1029">
                  <c:v>67.140337316923421</c:v>
                </c:pt>
                <c:pt idx="1030">
                  <c:v>67.396000554928079</c:v>
                </c:pt>
                <c:pt idx="1031">
                  <c:v>66.696394950155693</c:v>
                </c:pt>
                <c:pt idx="1032">
                  <c:v>66.567572388370422</c:v>
                </c:pt>
                <c:pt idx="1033">
                  <c:v>64.78982103573351</c:v>
                </c:pt>
                <c:pt idx="1034">
                  <c:v>64.970172622232909</c:v>
                </c:pt>
                <c:pt idx="1035">
                  <c:v>63.745367342489772</c:v>
                </c:pt>
                <c:pt idx="1036">
                  <c:v>64.058505261906305</c:v>
                </c:pt>
                <c:pt idx="1037">
                  <c:v>65.110886497413759</c:v>
                </c:pt>
                <c:pt idx="1038">
                  <c:v>64.094179202093002</c:v>
                </c:pt>
                <c:pt idx="1039">
                  <c:v>64.389480151416166</c:v>
                </c:pt>
                <c:pt idx="1040">
                  <c:v>63.154765443843388</c:v>
                </c:pt>
                <c:pt idx="1041">
                  <c:v>63.370790970529498</c:v>
                </c:pt>
                <c:pt idx="1042">
                  <c:v>63.243950294310139</c:v>
                </c:pt>
                <c:pt idx="1043">
                  <c:v>64.060487147472216</c:v>
                </c:pt>
                <c:pt idx="1044">
                  <c:v>64.199219137087141</c:v>
                </c:pt>
                <c:pt idx="1045">
                  <c:v>64.910716055255094</c:v>
                </c:pt>
                <c:pt idx="1046">
                  <c:v>64.894860970727677</c:v>
                </c:pt>
                <c:pt idx="1047">
                  <c:v>64.766038408942393</c:v>
                </c:pt>
                <c:pt idx="1048">
                  <c:v>65.523118695126669</c:v>
                </c:pt>
                <c:pt idx="1049">
                  <c:v>66.625047069782298</c:v>
                </c:pt>
                <c:pt idx="1050">
                  <c:v>67.080880749945635</c:v>
                </c:pt>
                <c:pt idx="1051">
                  <c:v>66.755851517133507</c:v>
                </c:pt>
                <c:pt idx="1052">
                  <c:v>66.648829696573472</c:v>
                </c:pt>
                <c:pt idx="1053">
                  <c:v>66.965931387121827</c:v>
                </c:pt>
                <c:pt idx="1054">
                  <c:v>67.54860574350451</c:v>
                </c:pt>
                <c:pt idx="1055">
                  <c:v>66.525952791485935</c:v>
                </c:pt>
                <c:pt idx="1056">
                  <c:v>66.476405652337775</c:v>
                </c:pt>
                <c:pt idx="1057">
                  <c:v>66.87476465108918</c:v>
                </c:pt>
                <c:pt idx="1058">
                  <c:v>67.023406068533731</c:v>
                </c:pt>
                <c:pt idx="1059">
                  <c:v>67.49113106209262</c:v>
                </c:pt>
                <c:pt idx="1060">
                  <c:v>66.833145054204707</c:v>
                </c:pt>
                <c:pt idx="1061">
                  <c:v>67.223576510692396</c:v>
                </c:pt>
                <c:pt idx="1062">
                  <c:v>67.518877460015602</c:v>
                </c:pt>
                <c:pt idx="1063">
                  <c:v>67.788413896981695</c:v>
                </c:pt>
                <c:pt idx="1064">
                  <c:v>67.756703727926862</c:v>
                </c:pt>
                <c:pt idx="1065">
                  <c:v>66.833145054204692</c:v>
                </c:pt>
                <c:pt idx="1066">
                  <c:v>66.276235210179081</c:v>
                </c:pt>
                <c:pt idx="1067">
                  <c:v>65.693560853796399</c:v>
                </c:pt>
                <c:pt idx="1068">
                  <c:v>66.097865509245636</c:v>
                </c:pt>
                <c:pt idx="1069">
                  <c:v>66.361456289513967</c:v>
                </c:pt>
                <c:pt idx="1070">
                  <c:v>66.658739124403027</c:v>
                </c:pt>
                <c:pt idx="1071">
                  <c:v>65.790673246526822</c:v>
                </c:pt>
                <c:pt idx="1072">
                  <c:v>65.842202271240964</c:v>
                </c:pt>
                <c:pt idx="1073">
                  <c:v>64.094179202092946</c:v>
                </c:pt>
                <c:pt idx="1074">
                  <c:v>64.801712349129048</c:v>
                </c:pt>
                <c:pt idx="1075">
                  <c:v>64.175436510295953</c:v>
                </c:pt>
                <c:pt idx="1076">
                  <c:v>64.835404403749791</c:v>
                </c:pt>
                <c:pt idx="1077">
                  <c:v>64.450918603959877</c:v>
                </c:pt>
                <c:pt idx="1078">
                  <c:v>63.509522960144366</c:v>
                </c:pt>
                <c:pt idx="1079">
                  <c:v>63.995084923796568</c:v>
                </c:pt>
                <c:pt idx="1080">
                  <c:v>65.093049527320375</c:v>
                </c:pt>
                <c:pt idx="1081">
                  <c:v>64.684781100739301</c:v>
                </c:pt>
                <c:pt idx="1082">
                  <c:v>64.637215847157066</c:v>
                </c:pt>
                <c:pt idx="1083">
                  <c:v>65.063321243831453</c:v>
                </c:pt>
                <c:pt idx="1084">
                  <c:v>64.708563727530446</c:v>
                </c:pt>
                <c:pt idx="1085">
                  <c:v>65.29321996947904</c:v>
                </c:pt>
                <c:pt idx="1086">
                  <c:v>65.632122401252616</c:v>
                </c:pt>
                <c:pt idx="1087">
                  <c:v>65.431951959093936</c:v>
                </c:pt>
                <c:pt idx="1088">
                  <c:v>65.55086509304958</c:v>
                </c:pt>
                <c:pt idx="1089">
                  <c:v>65.114850268545567</c:v>
                </c:pt>
                <c:pt idx="1090">
                  <c:v>65.388350476643538</c:v>
                </c:pt>
                <c:pt idx="1091">
                  <c:v>65.63212240125263</c:v>
                </c:pt>
                <c:pt idx="1092">
                  <c:v>66.107774937075192</c:v>
                </c:pt>
                <c:pt idx="1093">
                  <c:v>66.561626731672604</c:v>
                </c:pt>
                <c:pt idx="1094">
                  <c:v>66.743960203737927</c:v>
                </c:pt>
                <c:pt idx="1095">
                  <c:v>66.789543571754251</c:v>
                </c:pt>
                <c:pt idx="1096">
                  <c:v>66.892601621182465</c:v>
                </c:pt>
                <c:pt idx="1097">
                  <c:v>66.831163168638724</c:v>
                </c:pt>
                <c:pt idx="1098">
                  <c:v>65.875894325861665</c:v>
                </c:pt>
                <c:pt idx="1099">
                  <c:v>66.371365717343551</c:v>
                </c:pt>
                <c:pt idx="1100">
                  <c:v>67.04124303862703</c:v>
                </c:pt>
                <c:pt idx="1101">
                  <c:v>67.144301088055272</c:v>
                </c:pt>
                <c:pt idx="1102">
                  <c:v>67.219612739560503</c:v>
                </c:pt>
                <c:pt idx="1103">
                  <c:v>67.1700656004123</c:v>
                </c:pt>
                <c:pt idx="1104">
                  <c:v>66.474423766771793</c:v>
                </c:pt>
                <c:pt idx="1105">
                  <c:v>66.710268149117169</c:v>
                </c:pt>
                <c:pt idx="1106">
                  <c:v>66.989714013912902</c:v>
                </c:pt>
                <c:pt idx="1107">
                  <c:v>66.997641556176617</c:v>
                </c:pt>
                <c:pt idx="1108">
                  <c:v>67.427710723982869</c:v>
                </c:pt>
                <c:pt idx="1109">
                  <c:v>67.118536575698172</c:v>
                </c:pt>
                <c:pt idx="1110">
                  <c:v>66.680539865628219</c:v>
                </c:pt>
                <c:pt idx="1111">
                  <c:v>66.476405652337704</c:v>
                </c:pt>
                <c:pt idx="1112">
                  <c:v>66.022553857740306</c:v>
                </c:pt>
                <c:pt idx="1113">
                  <c:v>65.982916146421744</c:v>
                </c:pt>
                <c:pt idx="1114">
                  <c:v>65.645995600214107</c:v>
                </c:pt>
                <c:pt idx="1115">
                  <c:v>65.562756406445146</c:v>
                </c:pt>
                <c:pt idx="1116">
                  <c:v>65.758963077471961</c:v>
                </c:pt>
                <c:pt idx="1117">
                  <c:v>65.727252908417142</c:v>
                </c:pt>
                <c:pt idx="1118">
                  <c:v>65.455734585885068</c:v>
                </c:pt>
                <c:pt idx="1119">
                  <c:v>65.558792635313281</c:v>
                </c:pt>
                <c:pt idx="1120">
                  <c:v>65.429970073527997</c:v>
                </c:pt>
                <c:pt idx="1121">
                  <c:v>64.758110866678606</c:v>
                </c:pt>
                <c:pt idx="1122">
                  <c:v>64.902788512991293</c:v>
                </c:pt>
                <c:pt idx="1123">
                  <c:v>64.573795509047372</c:v>
                </c:pt>
                <c:pt idx="1124">
                  <c:v>64.682799215173389</c:v>
                </c:pt>
                <c:pt idx="1125">
                  <c:v>65.320966367402008</c:v>
                </c:pt>
                <c:pt idx="1126">
                  <c:v>64.322096042174564</c:v>
                </c:pt>
                <c:pt idx="1127">
                  <c:v>64.488574429712514</c:v>
                </c:pt>
                <c:pt idx="1128">
                  <c:v>63.909863844461697</c:v>
                </c:pt>
                <c:pt idx="1129">
                  <c:v>64.450918603959863</c:v>
                </c:pt>
                <c:pt idx="1130">
                  <c:v>64.668926016211884</c:v>
                </c:pt>
                <c:pt idx="1131">
                  <c:v>65.402223675605072</c:v>
                </c:pt>
                <c:pt idx="1132">
                  <c:v>65.505281725033271</c:v>
                </c:pt>
                <c:pt idx="1133">
                  <c:v>65.437897615791741</c:v>
                </c:pt>
                <c:pt idx="1134">
                  <c:v>65.63410428681857</c:v>
                </c:pt>
                <c:pt idx="1135">
                  <c:v>65.134669124204834</c:v>
                </c:pt>
                <c:pt idx="1136">
                  <c:v>65.243672830330851</c:v>
                </c:pt>
                <c:pt idx="1137">
                  <c:v>63.779059397110487</c:v>
                </c:pt>
                <c:pt idx="1138">
                  <c:v>63.236022752046374</c:v>
                </c:pt>
                <c:pt idx="1139">
                  <c:v>63.624472322968145</c:v>
                </c:pt>
                <c:pt idx="1140">
                  <c:v>63.251877836573783</c:v>
                </c:pt>
                <c:pt idx="1141">
                  <c:v>63.138910359315929</c:v>
                </c:pt>
                <c:pt idx="1142">
                  <c:v>62.922884832629848</c:v>
                </c:pt>
                <c:pt idx="1143">
                  <c:v>63.527359930237722</c:v>
                </c:pt>
                <c:pt idx="1144">
                  <c:v>63.616544780704444</c:v>
                </c:pt>
                <c:pt idx="1145">
                  <c:v>63.685910775511907</c:v>
                </c:pt>
                <c:pt idx="1146">
                  <c:v>63.824642765126825</c:v>
                </c:pt>
                <c:pt idx="1147">
                  <c:v>63.66609191985264</c:v>
                </c:pt>
                <c:pt idx="1148">
                  <c:v>64.520284598767361</c:v>
                </c:pt>
                <c:pt idx="1149">
                  <c:v>64.441009176130265</c:v>
                </c:pt>
                <c:pt idx="1150">
                  <c:v>64.645143389420781</c:v>
                </c:pt>
                <c:pt idx="1151">
                  <c:v>65.168361178825606</c:v>
                </c:pt>
                <c:pt idx="1152">
                  <c:v>65.667796341439328</c:v>
                </c:pt>
                <c:pt idx="1153">
                  <c:v>65.56870206314295</c:v>
                </c:pt>
                <c:pt idx="1154">
                  <c:v>64.940444338743973</c:v>
                </c:pt>
                <c:pt idx="1155">
                  <c:v>65.386368591077641</c:v>
                </c:pt>
                <c:pt idx="1156">
                  <c:v>65.634104286818584</c:v>
                </c:pt>
                <c:pt idx="1157">
                  <c:v>66.147412648393782</c:v>
                </c:pt>
                <c:pt idx="1158">
                  <c:v>66.381275145173205</c:v>
                </c:pt>
                <c:pt idx="1159">
                  <c:v>66.347583090552433</c:v>
                </c:pt>
                <c:pt idx="1160">
                  <c:v>66.335691777156839</c:v>
                </c:pt>
                <c:pt idx="1161">
                  <c:v>65.929405236141733</c:v>
                </c:pt>
                <c:pt idx="1162">
                  <c:v>66.155340190657441</c:v>
                </c:pt>
                <c:pt idx="1163">
                  <c:v>66.724141348078646</c:v>
                </c:pt>
                <c:pt idx="1164">
                  <c:v>66.496224507996999</c:v>
                </c:pt>
                <c:pt idx="1165">
                  <c:v>66.381275145173191</c:v>
                </c:pt>
                <c:pt idx="1166">
                  <c:v>66.672612323364504</c:v>
                </c:pt>
                <c:pt idx="1167">
                  <c:v>67.053134352022568</c:v>
                </c:pt>
                <c:pt idx="1168">
                  <c:v>66.813326198545383</c:v>
                </c:pt>
                <c:pt idx="1169">
                  <c:v>67.124482232395962</c:v>
                </c:pt>
                <c:pt idx="1170">
                  <c:v>66.751887746001614</c:v>
                </c:pt>
                <c:pt idx="1171">
                  <c:v>66.256416354519757</c:v>
                </c:pt>
                <c:pt idx="1172">
                  <c:v>66.456586796678423</c:v>
                </c:pt>
                <c:pt idx="1173">
                  <c:v>66.02255385774032</c:v>
                </c:pt>
                <c:pt idx="1174">
                  <c:v>66.339655548288732</c:v>
                </c:pt>
                <c:pt idx="1175">
                  <c:v>66.577481816199992</c:v>
                </c:pt>
                <c:pt idx="1176">
                  <c:v>66.131557563866352</c:v>
                </c:pt>
                <c:pt idx="1177">
                  <c:v>67.275105535406453</c:v>
                </c:pt>
                <c:pt idx="1178">
                  <c:v>67.923182115464726</c:v>
                </c:pt>
                <c:pt idx="1179">
                  <c:v>67.982638682442555</c:v>
                </c:pt>
                <c:pt idx="1180">
                  <c:v>67.931109657728456</c:v>
                </c:pt>
                <c:pt idx="1181">
                  <c:v>67.921200229898815</c:v>
                </c:pt>
                <c:pt idx="1182">
                  <c:v>67.619953623877848</c:v>
                </c:pt>
                <c:pt idx="1183">
                  <c:v>67.584279683691136</c:v>
                </c:pt>
                <c:pt idx="1184">
                  <c:v>67.063043779852222</c:v>
                </c:pt>
                <c:pt idx="1185">
                  <c:v>67.219612739560503</c:v>
                </c:pt>
                <c:pt idx="1186">
                  <c:v>66.765760944963105</c:v>
                </c:pt>
                <c:pt idx="1187">
                  <c:v>66.632974612045956</c:v>
                </c:pt>
                <c:pt idx="1188">
                  <c:v>66.432804169887305</c:v>
                </c:pt>
                <c:pt idx="1189">
                  <c:v>67.067007550984059</c:v>
                </c:pt>
                <c:pt idx="1190">
                  <c:v>66.411003428662127</c:v>
                </c:pt>
                <c:pt idx="1191">
                  <c:v>66.803416770715742</c:v>
                </c:pt>
                <c:pt idx="1192">
                  <c:v>66.747923974869806</c:v>
                </c:pt>
                <c:pt idx="1193">
                  <c:v>65.659868799175612</c:v>
                </c:pt>
                <c:pt idx="1194">
                  <c:v>65.852111699070576</c:v>
                </c:pt>
                <c:pt idx="1195">
                  <c:v>66.642884039875611</c:v>
                </c:pt>
                <c:pt idx="1196">
                  <c:v>67.055116237588493</c:v>
                </c:pt>
                <c:pt idx="1197">
                  <c:v>66.87674653665502</c:v>
                </c:pt>
                <c:pt idx="1198">
                  <c:v>67.429692609548823</c:v>
                </c:pt>
                <c:pt idx="1199">
                  <c:v>68.050022791684071</c:v>
                </c:pt>
                <c:pt idx="1200">
                  <c:v>68.29181283072721</c:v>
                </c:pt>
                <c:pt idx="1201">
                  <c:v>68.087678617436694</c:v>
                </c:pt>
                <c:pt idx="1202">
                  <c:v>68.460273103831071</c:v>
                </c:pt>
                <c:pt idx="1203">
                  <c:v>68.37703391006211</c:v>
                </c:pt>
                <c:pt idx="1204">
                  <c:v>68.355233168836889</c:v>
                </c:pt>
                <c:pt idx="1205">
                  <c:v>68.52369344194075</c:v>
                </c:pt>
                <c:pt idx="1206">
                  <c:v>69.153933051905653</c:v>
                </c:pt>
                <c:pt idx="1207">
                  <c:v>69.401668747646596</c:v>
                </c:pt>
                <c:pt idx="1208">
                  <c:v>69.312483897179831</c:v>
                </c:pt>
                <c:pt idx="1209">
                  <c:v>68.854668331450597</c:v>
                </c:pt>
                <c:pt idx="1210">
                  <c:v>69.474998513585874</c:v>
                </c:pt>
                <c:pt idx="1211">
                  <c:v>69.488871712547365</c:v>
                </c:pt>
                <c:pt idx="1212">
                  <c:v>68.963672037576615</c:v>
                </c:pt>
                <c:pt idx="1213">
                  <c:v>68.604950750143757</c:v>
                </c:pt>
                <c:pt idx="1214">
                  <c:v>68.713954456269761</c:v>
                </c:pt>
                <c:pt idx="1215">
                  <c:v>68.686208058346779</c:v>
                </c:pt>
                <c:pt idx="1216">
                  <c:v>69.17969756426271</c:v>
                </c:pt>
                <c:pt idx="1217">
                  <c:v>69.070693858136693</c:v>
                </c:pt>
                <c:pt idx="1218">
                  <c:v>69.003309748895177</c:v>
                </c:pt>
                <c:pt idx="1219">
                  <c:v>68.719900112967551</c:v>
                </c:pt>
                <c:pt idx="1220">
                  <c:v>69.504726797074809</c:v>
                </c:pt>
                <c:pt idx="1221">
                  <c:v>69.792100204134286</c:v>
                </c:pt>
                <c:pt idx="1222">
                  <c:v>69.631567473294169</c:v>
                </c:pt>
                <c:pt idx="1223">
                  <c:v>69.298610698218397</c:v>
                </c:pt>
                <c:pt idx="1224">
                  <c:v>69.550310165091133</c:v>
                </c:pt>
                <c:pt idx="1225">
                  <c:v>69.421487603305863</c:v>
                </c:pt>
                <c:pt idx="1226">
                  <c:v>68.924034326258081</c:v>
                </c:pt>
                <c:pt idx="1227">
                  <c:v>69.201498305487902</c:v>
                </c:pt>
                <c:pt idx="1228">
                  <c:v>69.718770438194937</c:v>
                </c:pt>
                <c:pt idx="1229">
                  <c:v>69.796063975266151</c:v>
                </c:pt>
                <c:pt idx="1230">
                  <c:v>69.76237192064535</c:v>
                </c:pt>
                <c:pt idx="1231">
                  <c:v>70.018035158649994</c:v>
                </c:pt>
                <c:pt idx="1232">
                  <c:v>69.471034742453995</c:v>
                </c:pt>
                <c:pt idx="1233">
                  <c:v>69.794082089700225</c:v>
                </c:pt>
                <c:pt idx="1234">
                  <c:v>69.651386328953407</c:v>
                </c:pt>
                <c:pt idx="1235">
                  <c:v>69.97443367619961</c:v>
                </c:pt>
                <c:pt idx="1236">
                  <c:v>69.992270646292965</c:v>
                </c:pt>
                <c:pt idx="1237">
                  <c:v>70.071546068930061</c:v>
                </c:pt>
                <c:pt idx="1238">
                  <c:v>69.952632934974403</c:v>
                </c:pt>
                <c:pt idx="1239">
                  <c:v>70.021998929781873</c:v>
                </c:pt>
                <c:pt idx="1240">
                  <c:v>70.012089501952246</c:v>
                </c:pt>
                <c:pt idx="1241">
                  <c:v>70.010107616386307</c:v>
                </c:pt>
                <c:pt idx="1242">
                  <c:v>70.035872128743335</c:v>
                </c:pt>
                <c:pt idx="1243">
                  <c:v>70.446122440890377</c:v>
                </c:pt>
                <c:pt idx="1244">
                  <c:v>70.723586420120199</c:v>
                </c:pt>
                <c:pt idx="1245">
                  <c:v>70.255861426561296</c:v>
                </c:pt>
                <c:pt idx="1246">
                  <c:v>70.602691400598616</c:v>
                </c:pt>
                <c:pt idx="1247">
                  <c:v>71.058525080761939</c:v>
                </c:pt>
                <c:pt idx="1248">
                  <c:v>71.034742453970793</c:v>
                </c:pt>
                <c:pt idx="1249">
                  <c:v>70.511524664565982</c:v>
                </c:pt>
                <c:pt idx="1250">
                  <c:v>69.972451790633684</c:v>
                </c:pt>
                <c:pt idx="1251">
                  <c:v>70.234060685336161</c:v>
                </c:pt>
                <c:pt idx="1252">
                  <c:v>70.58485443050526</c:v>
                </c:pt>
                <c:pt idx="1253">
                  <c:v>70.876191608696587</c:v>
                </c:pt>
                <c:pt idx="1254">
                  <c:v>70.94753948907001</c:v>
                </c:pt>
                <c:pt idx="1255">
                  <c:v>71.078343936421149</c:v>
                </c:pt>
                <c:pt idx="1256">
                  <c:v>70.78700675822985</c:v>
                </c:pt>
                <c:pt idx="1257">
                  <c:v>70.713676992290544</c:v>
                </c:pt>
                <c:pt idx="1258">
                  <c:v>70.678003052103819</c:v>
                </c:pt>
                <c:pt idx="1259">
                  <c:v>71.139782388964917</c:v>
                </c:pt>
                <c:pt idx="1260">
                  <c:v>71.167528786887928</c:v>
                </c:pt>
                <c:pt idx="1261">
                  <c:v>71.470757278474807</c:v>
                </c:pt>
                <c:pt idx="1262">
                  <c:v>71.207166498206504</c:v>
                </c:pt>
                <c:pt idx="1263">
                  <c:v>71.686782805160902</c:v>
                </c:pt>
                <c:pt idx="1264">
                  <c:v>72.255583962582079</c:v>
                </c:pt>
                <c:pt idx="1265">
                  <c:v>72.48151891709783</c:v>
                </c:pt>
                <c:pt idx="1266">
                  <c:v>72.443863091345222</c:v>
                </c:pt>
                <c:pt idx="1267">
                  <c:v>73.133559268287954</c:v>
                </c:pt>
                <c:pt idx="1268">
                  <c:v>73.525972610341555</c:v>
                </c:pt>
                <c:pt idx="1269">
                  <c:v>73.658758943258704</c:v>
                </c:pt>
                <c:pt idx="1270">
                  <c:v>73.577501635055683</c:v>
                </c:pt>
                <c:pt idx="1271">
                  <c:v>73.502189983550423</c:v>
                </c:pt>
                <c:pt idx="1272">
                  <c:v>74.172067304833874</c:v>
                </c:pt>
                <c:pt idx="1273">
                  <c:v>74.281071010959892</c:v>
                </c:pt>
                <c:pt idx="1274">
                  <c:v>74.576371960283069</c:v>
                </c:pt>
                <c:pt idx="1275">
                  <c:v>74.164139762570187</c:v>
                </c:pt>
                <c:pt idx="1276">
                  <c:v>74.245397070773208</c:v>
                </c:pt>
                <c:pt idx="1277">
                  <c:v>74.348455120201422</c:v>
                </c:pt>
                <c:pt idx="1278">
                  <c:v>74.249360841905087</c:v>
                </c:pt>
                <c:pt idx="1279">
                  <c:v>73.716233624670608</c:v>
                </c:pt>
                <c:pt idx="1280">
                  <c:v>73.343639138276217</c:v>
                </c:pt>
                <c:pt idx="1281">
                  <c:v>73.302019541391743</c:v>
                </c:pt>
                <c:pt idx="1282">
                  <c:v>74.140357135779027</c:v>
                </c:pt>
                <c:pt idx="1283">
                  <c:v>73.902530867867753</c:v>
                </c:pt>
                <c:pt idx="1284">
                  <c:v>74.451513169629663</c:v>
                </c:pt>
                <c:pt idx="1285">
                  <c:v>74.445567512931859</c:v>
                </c:pt>
                <c:pt idx="1286">
                  <c:v>74.453495055195575</c:v>
                </c:pt>
                <c:pt idx="1287">
                  <c:v>74.960857760072997</c:v>
                </c:pt>
                <c:pt idx="1288">
                  <c:v>74.895455536397378</c:v>
                </c:pt>
                <c:pt idx="1289">
                  <c:v>74.487187109816333</c:v>
                </c:pt>
                <c:pt idx="1290">
                  <c:v>74.082882454367152</c:v>
                </c:pt>
                <c:pt idx="1291">
                  <c:v>73.484353013457053</c:v>
                </c:pt>
                <c:pt idx="1292">
                  <c:v>73.652813286560885</c:v>
                </c:pt>
                <c:pt idx="1293">
                  <c:v>73.543809580434882</c:v>
                </c:pt>
                <c:pt idx="1294">
                  <c:v>74.142339021344952</c:v>
                </c:pt>
                <c:pt idx="1295">
                  <c:v>73.212834690925007</c:v>
                </c:pt>
                <c:pt idx="1296">
                  <c:v>73.212834690925007</c:v>
                </c:pt>
                <c:pt idx="1297">
                  <c:v>73.37733119289696</c:v>
                </c:pt>
                <c:pt idx="1298">
                  <c:v>73.200943377529441</c:v>
                </c:pt>
                <c:pt idx="1299">
                  <c:v>73.341657252710291</c:v>
                </c:pt>
                <c:pt idx="1300">
                  <c:v>73.097885328101214</c:v>
                </c:pt>
                <c:pt idx="1301">
                  <c:v>73.523990724775615</c:v>
                </c:pt>
                <c:pt idx="1302">
                  <c:v>73.523990724775615</c:v>
                </c:pt>
                <c:pt idx="1303">
                  <c:v>73.523990724775615</c:v>
                </c:pt>
                <c:pt idx="1304">
                  <c:v>73.72416116693428</c:v>
                </c:pt>
                <c:pt idx="1305">
                  <c:v>73.52002695364375</c:v>
                </c:pt>
                <c:pt idx="1306">
                  <c:v>73.547773351566732</c:v>
                </c:pt>
                <c:pt idx="1307">
                  <c:v>73.910458410131469</c:v>
                </c:pt>
                <c:pt idx="1308">
                  <c:v>73.58344729175343</c:v>
                </c:pt>
                <c:pt idx="1309">
                  <c:v>74.203777473888735</c:v>
                </c:pt>
                <c:pt idx="1310">
                  <c:v>74.516915393305297</c:v>
                </c:pt>
                <c:pt idx="1311">
                  <c:v>74.756723546782482</c:v>
                </c:pt>
                <c:pt idx="1312">
                  <c:v>74.939057018847834</c:v>
                </c:pt>
                <c:pt idx="1313">
                  <c:v>74.796361258101044</c:v>
                </c:pt>
                <c:pt idx="1314">
                  <c:v>74.544661791228279</c:v>
                </c:pt>
                <c:pt idx="1315">
                  <c:v>74.901401193095182</c:v>
                </c:pt>
                <c:pt idx="1316">
                  <c:v>74.730959034425439</c:v>
                </c:pt>
                <c:pt idx="1317">
                  <c:v>73.577501635055683</c:v>
                </c:pt>
                <c:pt idx="1318">
                  <c:v>72.319004300691759</c:v>
                </c:pt>
                <c:pt idx="1319">
                  <c:v>72.816457577739527</c:v>
                </c:pt>
                <c:pt idx="1320">
                  <c:v>72.469627603702278</c:v>
                </c:pt>
                <c:pt idx="1321">
                  <c:v>72.368551439839948</c:v>
                </c:pt>
                <c:pt idx="1322">
                  <c:v>72.963117109618196</c:v>
                </c:pt>
                <c:pt idx="1323">
                  <c:v>73.304001426957683</c:v>
                </c:pt>
                <c:pt idx="1324">
                  <c:v>73.044374417821189</c:v>
                </c:pt>
                <c:pt idx="1325">
                  <c:v>72.100996888439738</c:v>
                </c:pt>
                <c:pt idx="1326">
                  <c:v>72.043522207027863</c:v>
                </c:pt>
                <c:pt idx="1327">
                  <c:v>72.194145510038339</c:v>
                </c:pt>
                <c:pt idx="1328">
                  <c:v>72.445844976911133</c:v>
                </c:pt>
                <c:pt idx="1329">
                  <c:v>72.764928553025442</c:v>
                </c:pt>
                <c:pt idx="1330">
                  <c:v>73.163287551776847</c:v>
                </c:pt>
                <c:pt idx="1331">
                  <c:v>73.591374834017174</c:v>
                </c:pt>
                <c:pt idx="1332">
                  <c:v>73.924331609093002</c:v>
                </c:pt>
                <c:pt idx="1333">
                  <c:v>73.676595913352045</c:v>
                </c:pt>
                <c:pt idx="1334">
                  <c:v>73.13752303941979</c:v>
                </c:pt>
                <c:pt idx="1335">
                  <c:v>73.030501218859698</c:v>
                </c:pt>
                <c:pt idx="1336">
                  <c:v>73.494262441286736</c:v>
                </c:pt>
                <c:pt idx="1337">
                  <c:v>73.522008839209676</c:v>
                </c:pt>
                <c:pt idx="1338">
                  <c:v>73.224726004320587</c:v>
                </c:pt>
                <c:pt idx="1339">
                  <c:v>73.31589274035322</c:v>
                </c:pt>
                <c:pt idx="1340">
                  <c:v>74.18990427492723</c:v>
                </c:pt>
                <c:pt idx="1341">
                  <c:v>74.556553104623802</c:v>
                </c:pt>
                <c:pt idx="1342">
                  <c:v>74.623937213865318</c:v>
                </c:pt>
                <c:pt idx="1343">
                  <c:v>74.978694730166353</c:v>
                </c:pt>
                <c:pt idx="1344">
                  <c:v>74.952930217809268</c:v>
                </c:pt>
                <c:pt idx="1345">
                  <c:v>74.917256277622613</c:v>
                </c:pt>
                <c:pt idx="1346">
                  <c:v>75.448401609291153</c:v>
                </c:pt>
                <c:pt idx="1347">
                  <c:v>75.402818241274801</c:v>
                </c:pt>
                <c:pt idx="1348">
                  <c:v>75.797213468894398</c:v>
                </c:pt>
                <c:pt idx="1349">
                  <c:v>75.777394613235103</c:v>
                </c:pt>
                <c:pt idx="1350">
                  <c:v>76.841667162138123</c:v>
                </c:pt>
                <c:pt idx="1351">
                  <c:v>76.829775848742543</c:v>
                </c:pt>
                <c:pt idx="1352">
                  <c:v>76.677170660166141</c:v>
                </c:pt>
                <c:pt idx="1353">
                  <c:v>76.437362506688913</c:v>
                </c:pt>
                <c:pt idx="1354">
                  <c:v>77.352993638147396</c:v>
                </c:pt>
                <c:pt idx="1355">
                  <c:v>77.190479021741353</c:v>
                </c:pt>
                <c:pt idx="1356">
                  <c:v>77.21227976296656</c:v>
                </c:pt>
                <c:pt idx="1357">
                  <c:v>77.680004756525406</c:v>
                </c:pt>
                <c:pt idx="1358">
                  <c:v>77.991160790376071</c:v>
                </c:pt>
                <c:pt idx="1359">
                  <c:v>78.098182610936121</c:v>
                </c:pt>
                <c:pt idx="1360">
                  <c:v>77.792972233783274</c:v>
                </c:pt>
                <c:pt idx="1361">
                  <c:v>78.223041401589541</c:v>
                </c:pt>
                <c:pt idx="1362">
                  <c:v>78.326099451017797</c:v>
                </c:pt>
                <c:pt idx="1363">
                  <c:v>78.339972649979273</c:v>
                </c:pt>
                <c:pt idx="1364">
                  <c:v>78.718512793071412</c:v>
                </c:pt>
                <c:pt idx="1365">
                  <c:v>78.817607071367817</c:v>
                </c:pt>
                <c:pt idx="1366">
                  <c:v>79.152545732009486</c:v>
                </c:pt>
                <c:pt idx="1367">
                  <c:v>78.508432923083078</c:v>
                </c:pt>
                <c:pt idx="1368">
                  <c:v>77.745406980201054</c:v>
                </c:pt>
                <c:pt idx="1369">
                  <c:v>78.407356759220804</c:v>
                </c:pt>
                <c:pt idx="1370">
                  <c:v>78.645183027132092</c:v>
                </c:pt>
                <c:pt idx="1371">
                  <c:v>78.399429216957103</c:v>
                </c:pt>
                <c:pt idx="1372">
                  <c:v>79.025705055790155</c:v>
                </c:pt>
                <c:pt idx="1373">
                  <c:v>79.221911726816998</c:v>
                </c:pt>
                <c:pt idx="1374">
                  <c:v>79.049487682581301</c:v>
                </c:pt>
                <c:pt idx="1375">
                  <c:v>79.529103989535756</c:v>
                </c:pt>
                <c:pt idx="1376">
                  <c:v>78.080345640842822</c:v>
                </c:pt>
                <c:pt idx="1377">
                  <c:v>79.156509503141379</c:v>
                </c:pt>
                <c:pt idx="1378">
                  <c:v>79.578651128683902</c:v>
                </c:pt>
                <c:pt idx="1379">
                  <c:v>79.277404522662948</c:v>
                </c:pt>
                <c:pt idx="1380">
                  <c:v>79.731256317260346</c:v>
                </c:pt>
                <c:pt idx="1381">
                  <c:v>80.095923261391007</c:v>
                </c:pt>
                <c:pt idx="1382">
                  <c:v>79.951245615078307</c:v>
                </c:pt>
                <c:pt idx="1383">
                  <c:v>79.762966486315207</c:v>
                </c:pt>
                <c:pt idx="1384">
                  <c:v>80.078086291297623</c:v>
                </c:pt>
                <c:pt idx="1385">
                  <c:v>79.907644132627851</c:v>
                </c:pt>
                <c:pt idx="1386">
                  <c:v>80.024575381017598</c:v>
                </c:pt>
                <c:pt idx="1387">
                  <c:v>80.080068176863534</c:v>
                </c:pt>
                <c:pt idx="1388">
                  <c:v>80.413024951939391</c:v>
                </c:pt>
                <c:pt idx="1389">
                  <c:v>80.46059020552164</c:v>
                </c:pt>
                <c:pt idx="1390">
                  <c:v>80.688507045603288</c:v>
                </c:pt>
                <c:pt idx="1391">
                  <c:v>81.090829815486558</c:v>
                </c:pt>
                <c:pt idx="1392">
                  <c:v>81.043264561904337</c:v>
                </c:pt>
                <c:pt idx="1393">
                  <c:v>81.12848564123918</c:v>
                </c:pt>
                <c:pt idx="1394">
                  <c:v>81.746833937808532</c:v>
                </c:pt>
                <c:pt idx="1395">
                  <c:v>81.697286798660343</c:v>
                </c:pt>
                <c:pt idx="1396">
                  <c:v>81.080920387656903</c:v>
                </c:pt>
                <c:pt idx="1397">
                  <c:v>80.773728124938145</c:v>
                </c:pt>
                <c:pt idx="1398">
                  <c:v>81.279108944249657</c:v>
                </c:pt>
                <c:pt idx="1399">
                  <c:v>81.7745803357315</c:v>
                </c:pt>
                <c:pt idx="1400">
                  <c:v>82.537606278613595</c:v>
                </c:pt>
                <c:pt idx="1401">
                  <c:v>82.281943040608965</c:v>
                </c:pt>
                <c:pt idx="1402">
                  <c:v>82.107537110807328</c:v>
                </c:pt>
                <c:pt idx="1403">
                  <c:v>82.077808827318407</c:v>
                </c:pt>
                <c:pt idx="1404">
                  <c:v>81.881602156291578</c:v>
                </c:pt>
                <c:pt idx="1405">
                  <c:v>81.725033196583311</c:v>
                </c:pt>
                <c:pt idx="1406">
                  <c:v>81.465406187446831</c:v>
                </c:pt>
                <c:pt idx="1407">
                  <c:v>82.244287214856314</c:v>
                </c:pt>
                <c:pt idx="1408">
                  <c:v>82.299780010702278</c:v>
                </c:pt>
                <c:pt idx="1409">
                  <c:v>81.830073131577478</c:v>
                </c:pt>
                <c:pt idx="1410">
                  <c:v>81.443605446221625</c:v>
                </c:pt>
                <c:pt idx="1411">
                  <c:v>80.888677487761925</c:v>
                </c:pt>
                <c:pt idx="1412">
                  <c:v>80.365459698357114</c:v>
                </c:pt>
                <c:pt idx="1413">
                  <c:v>80.591394652872822</c:v>
                </c:pt>
                <c:pt idx="1414">
                  <c:v>80.56959391164763</c:v>
                </c:pt>
                <c:pt idx="1415">
                  <c:v>81.221634262837767</c:v>
                </c:pt>
                <c:pt idx="1416">
                  <c:v>81.798362962522617</c:v>
                </c:pt>
                <c:pt idx="1417">
                  <c:v>81.760707136769994</c:v>
                </c:pt>
                <c:pt idx="1418">
                  <c:v>82.222486473631065</c:v>
                </c:pt>
                <c:pt idx="1419">
                  <c:v>82.906236993876064</c:v>
                </c:pt>
                <c:pt idx="1420">
                  <c:v>83.235229997820028</c:v>
                </c:pt>
                <c:pt idx="1421">
                  <c:v>83.155954575182889</c:v>
                </c:pt>
                <c:pt idx="1422">
                  <c:v>83.413599698753501</c:v>
                </c:pt>
                <c:pt idx="1423">
                  <c:v>83.603860713082497</c:v>
                </c:pt>
                <c:pt idx="1424">
                  <c:v>83.025150127831694</c:v>
                </c:pt>
                <c:pt idx="1425">
                  <c:v>83.31846919158896</c:v>
                </c:pt>
                <c:pt idx="1426">
                  <c:v>83.338288047248255</c:v>
                </c:pt>
                <c:pt idx="1427">
                  <c:v>83.839705095427888</c:v>
                </c:pt>
                <c:pt idx="1428">
                  <c:v>84.045821194284329</c:v>
                </c:pt>
                <c:pt idx="1429">
                  <c:v>84.14095170144887</c:v>
                </c:pt>
                <c:pt idx="1430">
                  <c:v>83.280813365836366</c:v>
                </c:pt>
                <c:pt idx="1431">
                  <c:v>82.981548645381324</c:v>
                </c:pt>
                <c:pt idx="1432">
                  <c:v>83.373961987434939</c:v>
                </c:pt>
                <c:pt idx="1433">
                  <c:v>84.380759854926069</c:v>
                </c:pt>
                <c:pt idx="1434">
                  <c:v>84.115187189091799</c:v>
                </c:pt>
                <c:pt idx="1435">
                  <c:v>84.840557306221228</c:v>
                </c:pt>
                <c:pt idx="1436">
                  <c:v>84.553183899161752</c:v>
                </c:pt>
                <c:pt idx="1437">
                  <c:v>84.862358047446435</c:v>
                </c:pt>
                <c:pt idx="1438">
                  <c:v>85.5322353687299</c:v>
                </c:pt>
                <c:pt idx="1439">
                  <c:v>85.777989178904903</c:v>
                </c:pt>
                <c:pt idx="1440">
                  <c:v>84.901995758764983</c:v>
                </c:pt>
                <c:pt idx="1441">
                  <c:v>83.734665160433735</c:v>
                </c:pt>
                <c:pt idx="1442">
                  <c:v>83.348197475077896</c:v>
                </c:pt>
                <c:pt idx="1443">
                  <c:v>83.582059971857333</c:v>
                </c:pt>
                <c:pt idx="1444">
                  <c:v>83.774302871752255</c:v>
                </c:pt>
                <c:pt idx="1445">
                  <c:v>83.177755316408081</c:v>
                </c:pt>
                <c:pt idx="1446">
                  <c:v>82.325544523059293</c:v>
                </c:pt>
                <c:pt idx="1447">
                  <c:v>82.460312741542396</c:v>
                </c:pt>
                <c:pt idx="1448">
                  <c:v>82.436530114751235</c:v>
                </c:pt>
                <c:pt idx="1449">
                  <c:v>82.274015498345221</c:v>
                </c:pt>
                <c:pt idx="1450">
                  <c:v>80.856967318707092</c:v>
                </c:pt>
                <c:pt idx="1451">
                  <c:v>81.227579919535543</c:v>
                </c:pt>
                <c:pt idx="1452">
                  <c:v>80.862912975404868</c:v>
                </c:pt>
                <c:pt idx="1453">
                  <c:v>81.826109360445628</c:v>
                </c:pt>
                <c:pt idx="1454">
                  <c:v>81.584319321402475</c:v>
                </c:pt>
                <c:pt idx="1455">
                  <c:v>81.913312325346425</c:v>
                </c:pt>
                <c:pt idx="1456">
                  <c:v>80.82922092078411</c:v>
                </c:pt>
                <c:pt idx="1457">
                  <c:v>80.946152169173857</c:v>
                </c:pt>
                <c:pt idx="1458">
                  <c:v>82.878490595953068</c:v>
                </c:pt>
                <c:pt idx="1459">
                  <c:v>82.932001506233092</c:v>
                </c:pt>
                <c:pt idx="1460">
                  <c:v>83.274867709138562</c:v>
                </c:pt>
                <c:pt idx="1461">
                  <c:v>84.509582416711339</c:v>
                </c:pt>
                <c:pt idx="1462">
                  <c:v>84.410488138414962</c:v>
                </c:pt>
                <c:pt idx="1463">
                  <c:v>84.739481142358926</c:v>
                </c:pt>
                <c:pt idx="1464">
                  <c:v>84.77911885367746</c:v>
                </c:pt>
                <c:pt idx="1465">
                  <c:v>84.729571714529257</c:v>
                </c:pt>
                <c:pt idx="1466">
                  <c:v>84.785064510375264</c:v>
                </c:pt>
                <c:pt idx="1467">
                  <c:v>85.678894900608498</c:v>
                </c:pt>
                <c:pt idx="1468">
                  <c:v>85.698713756267793</c:v>
                </c:pt>
                <c:pt idx="1469">
                  <c:v>85.443050518263163</c:v>
                </c:pt>
                <c:pt idx="1470">
                  <c:v>84.802901480468591</c:v>
                </c:pt>
                <c:pt idx="1471">
                  <c:v>85.171532195731103</c:v>
                </c:pt>
                <c:pt idx="1472">
                  <c:v>85.698713756267793</c:v>
                </c:pt>
                <c:pt idx="1473">
                  <c:v>85.944467566442825</c:v>
                </c:pt>
                <c:pt idx="1474">
                  <c:v>86.013833561250266</c:v>
                </c:pt>
                <c:pt idx="1475">
                  <c:v>86.416156331133536</c:v>
                </c:pt>
                <c:pt idx="1476">
                  <c:v>86.219949660106735</c:v>
                </c:pt>
                <c:pt idx="1477">
                  <c:v>86.471649126979486</c:v>
                </c:pt>
                <c:pt idx="1478">
                  <c:v>85.890956656162743</c:v>
                </c:pt>
                <c:pt idx="1479">
                  <c:v>86.083199556057707</c:v>
                </c:pt>
                <c:pt idx="1480">
                  <c:v>85.670967358344797</c:v>
                </c:pt>
                <c:pt idx="1481">
                  <c:v>87.054323483362182</c:v>
                </c:pt>
                <c:pt idx="1482">
                  <c:v>87.732128346909349</c:v>
                </c:pt>
                <c:pt idx="1483">
                  <c:v>87.393225915135787</c:v>
                </c:pt>
                <c:pt idx="1484">
                  <c:v>87.855005251996843</c:v>
                </c:pt>
                <c:pt idx="1485">
                  <c:v>87.769784172661943</c:v>
                </c:pt>
                <c:pt idx="1486">
                  <c:v>87.809421883980519</c:v>
                </c:pt>
                <c:pt idx="1487">
                  <c:v>87.791584913887192</c:v>
                </c:pt>
                <c:pt idx="1488">
                  <c:v>87.775729829359733</c:v>
                </c:pt>
                <c:pt idx="1489">
                  <c:v>87.89266107774948</c:v>
                </c:pt>
                <c:pt idx="1490">
                  <c:v>87.638979725310762</c:v>
                </c:pt>
                <c:pt idx="1491">
                  <c:v>87.458628138811378</c:v>
                </c:pt>
                <c:pt idx="1492">
                  <c:v>88.073012664248864</c:v>
                </c:pt>
                <c:pt idx="1493">
                  <c:v>87.967972729254711</c:v>
                </c:pt>
                <c:pt idx="1494">
                  <c:v>88.294983847632764</c:v>
                </c:pt>
                <c:pt idx="1495">
                  <c:v>88.75279941336197</c:v>
                </c:pt>
                <c:pt idx="1496">
                  <c:v>88.574429712428497</c:v>
                </c:pt>
                <c:pt idx="1497">
                  <c:v>88.616049309312999</c:v>
                </c:pt>
                <c:pt idx="1498">
                  <c:v>88.616049309312999</c:v>
                </c:pt>
                <c:pt idx="1499">
                  <c:v>88.857839348356123</c:v>
                </c:pt>
                <c:pt idx="1500">
                  <c:v>88.740908099966433</c:v>
                </c:pt>
                <c:pt idx="1501">
                  <c:v>89.244307033711976</c:v>
                </c:pt>
                <c:pt idx="1502">
                  <c:v>88.72108924430718</c:v>
                </c:pt>
                <c:pt idx="1503">
                  <c:v>89.059991676080728</c:v>
                </c:pt>
                <c:pt idx="1504">
                  <c:v>89.591137007749282</c:v>
                </c:pt>
                <c:pt idx="1505">
                  <c:v>90.481003626850722</c:v>
                </c:pt>
                <c:pt idx="1506">
                  <c:v>90.165883821868249</c:v>
                </c:pt>
                <c:pt idx="1507">
                  <c:v>90.756485720514618</c:v>
                </c:pt>
                <c:pt idx="1508">
                  <c:v>90.932873535882152</c:v>
                </c:pt>
                <c:pt idx="1509">
                  <c:v>90.362090492895049</c:v>
                </c:pt>
                <c:pt idx="1510">
                  <c:v>90.891253938997707</c:v>
                </c:pt>
                <c:pt idx="1511">
                  <c:v>91.220246942941642</c:v>
                </c:pt>
                <c:pt idx="1512">
                  <c:v>90.702974810234565</c:v>
                </c:pt>
                <c:pt idx="1513">
                  <c:v>90.90512713795917</c:v>
                </c:pt>
                <c:pt idx="1514">
                  <c:v>90.237231702241644</c:v>
                </c:pt>
                <c:pt idx="1515">
                  <c:v>89.462314445964026</c:v>
                </c:pt>
                <c:pt idx="1516">
                  <c:v>89.991477892066641</c:v>
                </c:pt>
                <c:pt idx="1517">
                  <c:v>89.448441247002535</c:v>
                </c:pt>
                <c:pt idx="1518">
                  <c:v>89.232415720316467</c:v>
                </c:pt>
                <c:pt idx="1519">
                  <c:v>89.032245278157802</c:v>
                </c:pt>
                <c:pt idx="1520">
                  <c:v>90.031115603385217</c:v>
                </c:pt>
                <c:pt idx="1521">
                  <c:v>90.907109023525123</c:v>
                </c:pt>
                <c:pt idx="1522">
                  <c:v>91.973363457994083</c:v>
                </c:pt>
                <c:pt idx="1523">
                  <c:v>91.931743861109624</c:v>
                </c:pt>
                <c:pt idx="1524">
                  <c:v>91.925798204411805</c:v>
                </c:pt>
                <c:pt idx="1525">
                  <c:v>92.918722872941458</c:v>
                </c:pt>
                <c:pt idx="1526">
                  <c:v>92.082367164120072</c:v>
                </c:pt>
                <c:pt idx="1527">
                  <c:v>92.141823731097929</c:v>
                </c:pt>
                <c:pt idx="1528">
                  <c:v>92.244881780526143</c:v>
                </c:pt>
                <c:pt idx="1529">
                  <c:v>91.949580831202965</c:v>
                </c:pt>
                <c:pt idx="1530">
                  <c:v>91.828685811681353</c:v>
                </c:pt>
                <c:pt idx="1531">
                  <c:v>92.896922131716281</c:v>
                </c:pt>
                <c:pt idx="1532">
                  <c:v>92.550092157678975</c:v>
                </c:pt>
                <c:pt idx="1533">
                  <c:v>93.011871494540102</c:v>
                </c:pt>
                <c:pt idx="1534">
                  <c:v>92.847374992568106</c:v>
                </c:pt>
                <c:pt idx="1535">
                  <c:v>92.97817943991933</c:v>
                </c:pt>
                <c:pt idx="1536">
                  <c:v>93.503379114890066</c:v>
                </c:pt>
                <c:pt idx="1537">
                  <c:v>93.78084309411993</c:v>
                </c:pt>
                <c:pt idx="1538">
                  <c:v>94.002814277503788</c:v>
                </c:pt>
                <c:pt idx="1539">
                  <c:v>94.315952196920293</c:v>
                </c:pt>
                <c:pt idx="1540">
                  <c:v>94.898626553302975</c:v>
                </c:pt>
                <c:pt idx="1541">
                  <c:v>94.728184394633203</c:v>
                </c:pt>
                <c:pt idx="1542">
                  <c:v>95.02546722952232</c:v>
                </c:pt>
                <c:pt idx="1543">
                  <c:v>95.310858751015871</c:v>
                </c:pt>
                <c:pt idx="1544">
                  <c:v>93.992904849674133</c:v>
                </c:pt>
                <c:pt idx="1545">
                  <c:v>94.851061299720698</c:v>
                </c:pt>
                <c:pt idx="1546">
                  <c:v>94.00479616306967</c:v>
                </c:pt>
                <c:pt idx="1547">
                  <c:v>93.977049765146717</c:v>
                </c:pt>
                <c:pt idx="1548">
                  <c:v>94.498285668985631</c:v>
                </c:pt>
                <c:pt idx="1549">
                  <c:v>93.967140337317076</c:v>
                </c:pt>
                <c:pt idx="1550">
                  <c:v>93.330955070654355</c:v>
                </c:pt>
                <c:pt idx="1551">
                  <c:v>94.07614404344308</c:v>
                </c:pt>
                <c:pt idx="1552">
                  <c:v>94.821333016231762</c:v>
                </c:pt>
                <c:pt idx="1553">
                  <c:v>95.542739362229355</c:v>
                </c:pt>
                <c:pt idx="1554">
                  <c:v>95.731018490992497</c:v>
                </c:pt>
                <c:pt idx="1555">
                  <c:v>95.982717957865248</c:v>
                </c:pt>
                <c:pt idx="1556">
                  <c:v>96.026319440315675</c:v>
                </c:pt>
                <c:pt idx="1557">
                  <c:v>96.103612977386831</c:v>
                </c:pt>
                <c:pt idx="1558">
                  <c:v>96.309729076243286</c:v>
                </c:pt>
                <c:pt idx="1559">
                  <c:v>96.4127871256715</c:v>
                </c:pt>
                <c:pt idx="1560">
                  <c:v>96.747725786313282</c:v>
                </c:pt>
                <c:pt idx="1561">
                  <c:v>96.676377905939844</c:v>
                </c:pt>
                <c:pt idx="1562">
                  <c:v>97.163921755158029</c:v>
                </c:pt>
                <c:pt idx="1563">
                  <c:v>96.408823354539678</c:v>
                </c:pt>
                <c:pt idx="1564">
                  <c:v>95.834076540420696</c:v>
                </c:pt>
                <c:pt idx="1565">
                  <c:v>96.065957151634237</c:v>
                </c:pt>
                <c:pt idx="1566">
                  <c:v>96.830964980082243</c:v>
                </c:pt>
                <c:pt idx="1567">
                  <c:v>96.224507996908443</c:v>
                </c:pt>
                <c:pt idx="1568">
                  <c:v>97.023207879977193</c:v>
                </c:pt>
                <c:pt idx="1569">
                  <c:v>96.549537229720542</c:v>
                </c:pt>
                <c:pt idx="1570">
                  <c:v>96.918167944983054</c:v>
                </c:pt>
                <c:pt idx="1571">
                  <c:v>97.163921755158043</c:v>
                </c:pt>
                <c:pt idx="1572">
                  <c:v>96.727906930654001</c:v>
                </c:pt>
                <c:pt idx="1573">
                  <c:v>97.205541352042516</c:v>
                </c:pt>
                <c:pt idx="1574">
                  <c:v>96.087757892859429</c:v>
                </c:pt>
                <c:pt idx="1575">
                  <c:v>95.925243276453386</c:v>
                </c:pt>
                <c:pt idx="1576">
                  <c:v>96.319638504072955</c:v>
                </c:pt>
                <c:pt idx="1577">
                  <c:v>96.319638504072955</c:v>
                </c:pt>
                <c:pt idx="1578">
                  <c:v>96.319638504072955</c:v>
                </c:pt>
                <c:pt idx="1579">
                  <c:v>96.24432685256771</c:v>
                </c:pt>
                <c:pt idx="1580">
                  <c:v>97.37598351071226</c:v>
                </c:pt>
                <c:pt idx="1581">
                  <c:v>97.651465604376213</c:v>
                </c:pt>
                <c:pt idx="1582">
                  <c:v>98.341161781318974</c:v>
                </c:pt>
                <c:pt idx="1583">
                  <c:v>97.861545474364505</c:v>
                </c:pt>
                <c:pt idx="1584">
                  <c:v>97.80010702182075</c:v>
                </c:pt>
                <c:pt idx="1585">
                  <c:v>98.028023861902426</c:v>
                </c:pt>
                <c:pt idx="1586">
                  <c:v>97.506787958063484</c:v>
                </c:pt>
                <c:pt idx="1587">
                  <c:v>97.134193471669164</c:v>
                </c:pt>
                <c:pt idx="1588">
                  <c:v>97.377965396278199</c:v>
                </c:pt>
                <c:pt idx="1589">
                  <c:v>98.166755851517308</c:v>
                </c:pt>
                <c:pt idx="1590">
                  <c:v>97.419584993162687</c:v>
                </c:pt>
                <c:pt idx="1591">
                  <c:v>97.938839011435647</c:v>
                </c:pt>
                <c:pt idx="1592">
                  <c:v>98.955546306756403</c:v>
                </c:pt>
                <c:pt idx="1593">
                  <c:v>99.048694928355019</c:v>
                </c:pt>
                <c:pt idx="1594">
                  <c:v>99.482727867293093</c:v>
                </c:pt>
                <c:pt idx="1595">
                  <c:v>99.034821729393528</c:v>
                </c:pt>
                <c:pt idx="1596">
                  <c:v>98.713756267713265</c:v>
                </c:pt>
                <c:pt idx="1597">
                  <c:v>96.692232990467289</c:v>
                </c:pt>
                <c:pt idx="1598">
                  <c:v>95.2850942386588</c:v>
                </c:pt>
                <c:pt idx="1599">
                  <c:v>95.443645083933035</c:v>
                </c:pt>
                <c:pt idx="1600">
                  <c:v>92.811701052381395</c:v>
                </c:pt>
                <c:pt idx="1601">
                  <c:v>92.423251481459616</c:v>
                </c:pt>
                <c:pt idx="1602">
                  <c:v>92.466852963910043</c:v>
                </c:pt>
                <c:pt idx="1603">
                  <c:v>89.878510414808787</c:v>
                </c:pt>
                <c:pt idx="1604">
                  <c:v>92.171552014586794</c:v>
                </c:pt>
                <c:pt idx="1605">
                  <c:v>90.895217710129558</c:v>
                </c:pt>
                <c:pt idx="1606">
                  <c:v>92.016964940444495</c:v>
                </c:pt>
                <c:pt idx="1607">
                  <c:v>93.836335889965881</c:v>
                </c:pt>
                <c:pt idx="1608">
                  <c:v>93.786788750817678</c:v>
                </c:pt>
                <c:pt idx="1609">
                  <c:v>91.741482846780556</c:v>
                </c:pt>
                <c:pt idx="1610">
                  <c:v>92.659095863804936</c:v>
                </c:pt>
                <c:pt idx="1611">
                  <c:v>93.023762807935597</c:v>
                </c:pt>
                <c:pt idx="1612">
                  <c:v>93.299244901599522</c:v>
                </c:pt>
                <c:pt idx="1613">
                  <c:v>92.714588659650929</c:v>
                </c:pt>
                <c:pt idx="1614">
                  <c:v>90.885308282299889</c:v>
                </c:pt>
                <c:pt idx="1615">
                  <c:v>91.462036981984781</c:v>
                </c:pt>
                <c:pt idx="1616">
                  <c:v>89.016390193630329</c:v>
                </c:pt>
                <c:pt idx="1617">
                  <c:v>90.520641338169241</c:v>
                </c:pt>
                <c:pt idx="1618">
                  <c:v>89.807162534435378</c:v>
                </c:pt>
                <c:pt idx="1619">
                  <c:v>87.801494341716833</c:v>
                </c:pt>
                <c:pt idx="1620">
                  <c:v>87.979864042650277</c:v>
                </c:pt>
                <c:pt idx="1621">
                  <c:v>90.122282339417808</c:v>
                </c:pt>
                <c:pt idx="1622">
                  <c:v>89.525734784073663</c:v>
                </c:pt>
                <c:pt idx="1623">
                  <c:v>90.211467189884573</c:v>
                </c:pt>
                <c:pt idx="1624">
                  <c:v>90.689101611273074</c:v>
                </c:pt>
                <c:pt idx="1625">
                  <c:v>90.712884238064177</c:v>
                </c:pt>
                <c:pt idx="1626">
                  <c:v>91.083496838892614</c:v>
                </c:pt>
                <c:pt idx="1627">
                  <c:v>91.214301286243852</c:v>
                </c:pt>
                <c:pt idx="1628">
                  <c:v>90.960619933805134</c:v>
                </c:pt>
                <c:pt idx="1629">
                  <c:v>90.348217293933573</c:v>
                </c:pt>
                <c:pt idx="1630">
                  <c:v>90.512713795905555</c:v>
                </c:pt>
                <c:pt idx="1631">
                  <c:v>92.120022989872695</c:v>
                </c:pt>
                <c:pt idx="1632">
                  <c:v>93.412212378857362</c:v>
                </c:pt>
                <c:pt idx="1633">
                  <c:v>93.879937372416194</c:v>
                </c:pt>
                <c:pt idx="1634">
                  <c:v>94.082089700140841</c:v>
                </c:pt>
                <c:pt idx="1635">
                  <c:v>92.968270012089604</c:v>
                </c:pt>
                <c:pt idx="1636">
                  <c:v>93.832372118833959</c:v>
                </c:pt>
                <c:pt idx="1637">
                  <c:v>93.659948074598304</c:v>
                </c:pt>
                <c:pt idx="1638">
                  <c:v>93.979031650712642</c:v>
                </c:pt>
                <c:pt idx="1639">
                  <c:v>93.116911429534213</c:v>
                </c:pt>
                <c:pt idx="1640">
                  <c:v>93.366629010841066</c:v>
                </c:pt>
                <c:pt idx="1641">
                  <c:v>92.007055512614826</c:v>
                </c:pt>
                <c:pt idx="1642">
                  <c:v>90.85359811324507</c:v>
                </c:pt>
                <c:pt idx="1643">
                  <c:v>90.481003626850722</c:v>
                </c:pt>
                <c:pt idx="1644">
                  <c:v>90.312543353746889</c:v>
                </c:pt>
                <c:pt idx="1645">
                  <c:v>92.349921715520281</c:v>
                </c:pt>
                <c:pt idx="1646">
                  <c:v>92.554055928810826</c:v>
                </c:pt>
                <c:pt idx="1647">
                  <c:v>91.701845135462008</c:v>
                </c:pt>
                <c:pt idx="1648">
                  <c:v>93.408248607725511</c:v>
                </c:pt>
                <c:pt idx="1649">
                  <c:v>93.515270428285632</c:v>
                </c:pt>
                <c:pt idx="1650">
                  <c:v>93.907683770339247</c:v>
                </c:pt>
                <c:pt idx="1651">
                  <c:v>94.857006956418459</c:v>
                </c:pt>
                <c:pt idx="1652">
                  <c:v>95.427789999405576</c:v>
                </c:pt>
                <c:pt idx="1653">
                  <c:v>95.057177398577139</c:v>
                </c:pt>
                <c:pt idx="1654">
                  <c:v>94.34171670927735</c:v>
                </c:pt>
                <c:pt idx="1655">
                  <c:v>95.340587034504736</c:v>
                </c:pt>
                <c:pt idx="1656">
                  <c:v>94.559724121529342</c:v>
                </c:pt>
                <c:pt idx="1657">
                  <c:v>95.655706839487181</c:v>
                </c:pt>
                <c:pt idx="1658">
                  <c:v>94.591434290584189</c:v>
                </c:pt>
                <c:pt idx="1659">
                  <c:v>94.654854628693869</c:v>
                </c:pt>
                <c:pt idx="1660">
                  <c:v>95.360405890164017</c:v>
                </c:pt>
                <c:pt idx="1661">
                  <c:v>94.609271260677531</c:v>
                </c:pt>
                <c:pt idx="1662">
                  <c:v>94.749985135858353</c:v>
                </c:pt>
                <c:pt idx="1663">
                  <c:v>95.604177814773067</c:v>
                </c:pt>
                <c:pt idx="1664">
                  <c:v>96.410805240105574</c:v>
                </c:pt>
                <c:pt idx="1665">
                  <c:v>96.878530233664392</c:v>
                </c:pt>
                <c:pt idx="1666">
                  <c:v>96.997443367620093</c:v>
                </c:pt>
                <c:pt idx="1667">
                  <c:v>96.745743900747314</c:v>
                </c:pt>
                <c:pt idx="1668">
                  <c:v>96.662504706978353</c:v>
                </c:pt>
                <c:pt idx="1669">
                  <c:v>96.963751312999293</c:v>
                </c:pt>
                <c:pt idx="1670">
                  <c:v>96.527736488495279</c:v>
                </c:pt>
                <c:pt idx="1671">
                  <c:v>96.789345383197713</c:v>
                </c:pt>
                <c:pt idx="1672">
                  <c:v>96.894385318191837</c:v>
                </c:pt>
                <c:pt idx="1673">
                  <c:v>97.296708088075135</c:v>
                </c:pt>
                <c:pt idx="1674">
                  <c:v>97.532552470420484</c:v>
                </c:pt>
                <c:pt idx="1675">
                  <c:v>98.093426085577974</c:v>
                </c:pt>
                <c:pt idx="1676">
                  <c:v>97.863527359930387</c:v>
                </c:pt>
                <c:pt idx="1677">
                  <c:v>98.362962522544066</c:v>
                </c:pt>
                <c:pt idx="1678">
                  <c:v>98.763303406861439</c:v>
                </c:pt>
                <c:pt idx="1679">
                  <c:v>98.4283647462197</c:v>
                </c:pt>
                <c:pt idx="1680">
                  <c:v>97.36805596844853</c:v>
                </c:pt>
                <c:pt idx="1681">
                  <c:v>96.458370493687823</c:v>
                </c:pt>
                <c:pt idx="1682">
                  <c:v>96.852765721307392</c:v>
                </c:pt>
                <c:pt idx="1683">
                  <c:v>96.327566046336628</c:v>
                </c:pt>
                <c:pt idx="1684">
                  <c:v>97.56624452504127</c:v>
                </c:pt>
                <c:pt idx="1685">
                  <c:v>97.875418673325896</c:v>
                </c:pt>
                <c:pt idx="1686">
                  <c:v>97.877400558891836</c:v>
                </c:pt>
                <c:pt idx="1687">
                  <c:v>98.176665279346892</c:v>
                </c:pt>
                <c:pt idx="1688">
                  <c:v>98.214321105099501</c:v>
                </c:pt>
                <c:pt idx="1689">
                  <c:v>97.677230116733142</c:v>
                </c:pt>
                <c:pt idx="1690">
                  <c:v>98.731593237806564</c:v>
                </c:pt>
                <c:pt idx="1691">
                  <c:v>99.159680520046862</c:v>
                </c:pt>
                <c:pt idx="1692">
                  <c:v>98.024060090770462</c:v>
                </c:pt>
                <c:pt idx="1693">
                  <c:v>97.970549180490409</c:v>
                </c:pt>
                <c:pt idx="1694">
                  <c:v>99.312285708623278</c:v>
                </c:pt>
                <c:pt idx="1695">
                  <c:v>99.867213667082979</c:v>
                </c:pt>
                <c:pt idx="1696">
                  <c:v>99.94054343302227</c:v>
                </c:pt>
                <c:pt idx="1697">
                  <c:v>99.881086866044427</c:v>
                </c:pt>
                <c:pt idx="1698">
                  <c:v>99.869195552648861</c:v>
                </c:pt>
                <c:pt idx="1699">
                  <c:v>99.615514200210171</c:v>
                </c:pt>
                <c:pt idx="1700">
                  <c:v>100.35277563073515</c:v>
                </c:pt>
                <c:pt idx="1701">
                  <c:v>100.93148621598597</c:v>
                </c:pt>
                <c:pt idx="1702">
                  <c:v>101.09796460352389</c:v>
                </c:pt>
                <c:pt idx="1703">
                  <c:v>101.2129139663477</c:v>
                </c:pt>
                <c:pt idx="1704">
                  <c:v>101.89666448659266</c:v>
                </c:pt>
                <c:pt idx="1705">
                  <c:v>101.99377687932308</c:v>
                </c:pt>
                <c:pt idx="1706">
                  <c:v>102.82815070257851</c:v>
                </c:pt>
                <c:pt idx="1707">
                  <c:v>103.11156033850615</c:v>
                </c:pt>
                <c:pt idx="1708">
                  <c:v>103.31767643736259</c:v>
                </c:pt>
                <c:pt idx="1709">
                  <c:v>102.19989297817951</c:v>
                </c:pt>
                <c:pt idx="1710">
                  <c:v>103.17894444774768</c:v>
                </c:pt>
                <c:pt idx="1711">
                  <c:v>103.17696256218173</c:v>
                </c:pt>
                <c:pt idx="1712">
                  <c:v>103.49406425273015</c:v>
                </c:pt>
                <c:pt idx="1713">
                  <c:v>103.85674931129483</c:v>
                </c:pt>
                <c:pt idx="1714">
                  <c:v>103.8765681669541</c:v>
                </c:pt>
                <c:pt idx="1715">
                  <c:v>104.20159739976623</c:v>
                </c:pt>
                <c:pt idx="1716">
                  <c:v>104.04106466892614</c:v>
                </c:pt>
                <c:pt idx="1717">
                  <c:v>103.77351011752587</c:v>
                </c:pt>
                <c:pt idx="1718">
                  <c:v>103.44451711358194</c:v>
                </c:pt>
                <c:pt idx="1719">
                  <c:v>103.42271637235673</c:v>
                </c:pt>
                <c:pt idx="1720">
                  <c:v>103.83296668450372</c:v>
                </c:pt>
                <c:pt idx="1721">
                  <c:v>103.42073448679081</c:v>
                </c:pt>
                <c:pt idx="1722">
                  <c:v>103.76360068969625</c:v>
                </c:pt>
                <c:pt idx="1723">
                  <c:v>104.91705808906602</c:v>
                </c:pt>
                <c:pt idx="1724">
                  <c:v>105.37685554036118</c:v>
                </c:pt>
                <c:pt idx="1725">
                  <c:v>105.33127217234482</c:v>
                </c:pt>
                <c:pt idx="1726">
                  <c:v>105.14497492914768</c:v>
                </c:pt>
                <c:pt idx="1727">
                  <c:v>105.03002556632389</c:v>
                </c:pt>
                <c:pt idx="1728">
                  <c:v>105.25001486414182</c:v>
                </c:pt>
                <c:pt idx="1729">
                  <c:v>104.96065957151644</c:v>
                </c:pt>
                <c:pt idx="1730">
                  <c:v>105.55720712686058</c:v>
                </c:pt>
                <c:pt idx="1731">
                  <c:v>105.79305150920597</c:v>
                </c:pt>
                <c:pt idx="1732">
                  <c:v>104.99633351170313</c:v>
                </c:pt>
                <c:pt idx="1733">
                  <c:v>105.3709098836634</c:v>
                </c:pt>
                <c:pt idx="1734">
                  <c:v>105.51756941554207</c:v>
                </c:pt>
                <c:pt idx="1735">
                  <c:v>105.45018530630053</c:v>
                </c:pt>
                <c:pt idx="1736">
                  <c:v>105.19650395386178</c:v>
                </c:pt>
                <c:pt idx="1737">
                  <c:v>104.4037497274908</c:v>
                </c:pt>
                <c:pt idx="1738">
                  <c:v>102.82616881701259</c:v>
                </c:pt>
                <c:pt idx="1739">
                  <c:v>102.51501278316198</c:v>
                </c:pt>
                <c:pt idx="1740">
                  <c:v>103.90233267931117</c:v>
                </c:pt>
                <c:pt idx="1741">
                  <c:v>103.18489010444543</c:v>
                </c:pt>
                <c:pt idx="1742">
                  <c:v>102.46348375844786</c:v>
                </c:pt>
                <c:pt idx="1743">
                  <c:v>103.13137919416539</c:v>
                </c:pt>
                <c:pt idx="1744">
                  <c:v>103.81116594327854</c:v>
                </c:pt>
                <c:pt idx="1745">
                  <c:v>103.85476742572891</c:v>
                </c:pt>
                <c:pt idx="1746">
                  <c:v>104.44140555324346</c:v>
                </c:pt>
                <c:pt idx="1747">
                  <c:v>104.53059040371016</c:v>
                </c:pt>
                <c:pt idx="1748">
                  <c:v>105.14497492914771</c:v>
                </c:pt>
                <c:pt idx="1749">
                  <c:v>105.51955130110798</c:v>
                </c:pt>
                <c:pt idx="1750">
                  <c:v>106.19537427908924</c:v>
                </c:pt>
                <c:pt idx="1751">
                  <c:v>106.83750520244975</c:v>
                </c:pt>
                <c:pt idx="1752">
                  <c:v>107.41819767326646</c:v>
                </c:pt>
                <c:pt idx="1753">
                  <c:v>107.35477733515675</c:v>
                </c:pt>
                <c:pt idx="1754">
                  <c:v>106.63337098915919</c:v>
                </c:pt>
                <c:pt idx="1755">
                  <c:v>106.95245456527354</c:v>
                </c:pt>
                <c:pt idx="1756">
                  <c:v>106.83750520244975</c:v>
                </c:pt>
                <c:pt idx="1757">
                  <c:v>106.33608815427007</c:v>
                </c:pt>
                <c:pt idx="1758">
                  <c:v>106.33608815427007</c:v>
                </c:pt>
                <c:pt idx="1759">
                  <c:v>106.33608815427007</c:v>
                </c:pt>
                <c:pt idx="1760">
                  <c:v>107.44198030005759</c:v>
                </c:pt>
                <c:pt idx="1761">
                  <c:v>107.48558178250798</c:v>
                </c:pt>
                <c:pt idx="1762">
                  <c:v>107.17244386309143</c:v>
                </c:pt>
                <c:pt idx="1763">
                  <c:v>107.17244386309143</c:v>
                </c:pt>
                <c:pt idx="1764">
                  <c:v>108.5320173613177</c:v>
                </c:pt>
                <c:pt idx="1765">
                  <c:v>108.53003547575175</c:v>
                </c:pt>
                <c:pt idx="1766">
                  <c:v>108.2129337852034</c:v>
                </c:pt>
                <c:pt idx="1767">
                  <c:v>107.3091939671405</c:v>
                </c:pt>
                <c:pt idx="1768">
                  <c:v>107.22199100223965</c:v>
                </c:pt>
                <c:pt idx="1769">
                  <c:v>107.46576292684875</c:v>
                </c:pt>
                <c:pt idx="1770">
                  <c:v>106.7780486354719</c:v>
                </c:pt>
                <c:pt idx="1771">
                  <c:v>108.61922032621852</c:v>
                </c:pt>
                <c:pt idx="1772">
                  <c:v>109.13451057335962</c:v>
                </c:pt>
                <c:pt idx="1773">
                  <c:v>109.81231543690681</c:v>
                </c:pt>
                <c:pt idx="1774">
                  <c:v>109.18405771250779</c:v>
                </c:pt>
                <c:pt idx="1775">
                  <c:v>109.10676417543665</c:v>
                </c:pt>
                <c:pt idx="1776">
                  <c:v>109.06514457855218</c:v>
                </c:pt>
                <c:pt idx="1777">
                  <c:v>109.8440256059617</c:v>
                </c:pt>
                <c:pt idx="1778">
                  <c:v>109.42584775155098</c:v>
                </c:pt>
                <c:pt idx="1779">
                  <c:v>109.37035495570504</c:v>
                </c:pt>
                <c:pt idx="1780">
                  <c:v>110.37517093763022</c:v>
                </c:pt>
                <c:pt idx="1781">
                  <c:v>110.03428662029076</c:v>
                </c:pt>
                <c:pt idx="1782">
                  <c:v>109.31882593099094</c:v>
                </c:pt>
                <c:pt idx="1783">
                  <c:v>109.60223556691855</c:v>
                </c:pt>
                <c:pt idx="1784">
                  <c:v>109.97284816774696</c:v>
                </c:pt>
                <c:pt idx="1785">
                  <c:v>109.42188398041918</c:v>
                </c:pt>
                <c:pt idx="1786">
                  <c:v>110.67245377251933</c:v>
                </c:pt>
                <c:pt idx="1787">
                  <c:v>111.26900132786351</c:v>
                </c:pt>
                <c:pt idx="1788">
                  <c:v>111.34233109380281</c:v>
                </c:pt>
                <c:pt idx="1789">
                  <c:v>111.72483500802682</c:v>
                </c:pt>
                <c:pt idx="1790">
                  <c:v>112.08157440989376</c:v>
                </c:pt>
                <c:pt idx="1791">
                  <c:v>111.10648671145746</c:v>
                </c:pt>
                <c:pt idx="1792">
                  <c:v>111.67528786887863</c:v>
                </c:pt>
                <c:pt idx="1793">
                  <c:v>111.03513883108405</c:v>
                </c:pt>
                <c:pt idx="1794">
                  <c:v>111.2313455021109</c:v>
                </c:pt>
                <c:pt idx="1795">
                  <c:v>112.1271577779101</c:v>
                </c:pt>
                <c:pt idx="1796">
                  <c:v>112.00428087282259</c:v>
                </c:pt>
                <c:pt idx="1797">
                  <c:v>111.86356699764175</c:v>
                </c:pt>
                <c:pt idx="1798">
                  <c:v>112.26985353865688</c:v>
                </c:pt>
                <c:pt idx="1799">
                  <c:v>111.91707790792181</c:v>
                </c:pt>
                <c:pt idx="1800">
                  <c:v>111.201617218622</c:v>
                </c:pt>
                <c:pt idx="1801">
                  <c:v>111.56628416275264</c:v>
                </c:pt>
                <c:pt idx="1802">
                  <c:v>111.80807420179578</c:v>
                </c:pt>
                <c:pt idx="1803">
                  <c:v>112.28967239431616</c:v>
                </c:pt>
                <c:pt idx="1804">
                  <c:v>108.88082922092097</c:v>
                </c:pt>
                <c:pt idx="1805">
                  <c:v>107.27153814138791</c:v>
                </c:pt>
                <c:pt idx="1806">
                  <c:v>106.31825118417682</c:v>
                </c:pt>
                <c:pt idx="1807">
                  <c:v>105.98925818023287</c:v>
                </c:pt>
                <c:pt idx="1808">
                  <c:v>104.73274273143485</c:v>
                </c:pt>
                <c:pt idx="1809">
                  <c:v>105.70188477317339</c:v>
                </c:pt>
                <c:pt idx="1810">
                  <c:v>106.43914620369837</c:v>
                </c:pt>
                <c:pt idx="1811">
                  <c:v>107.89781398022099</c:v>
                </c:pt>
                <c:pt idx="1812">
                  <c:v>108.15744098935748</c:v>
                </c:pt>
                <c:pt idx="1813">
                  <c:v>107.60845868759556</c:v>
                </c:pt>
                <c:pt idx="1814">
                  <c:v>106.45301940265988</c:v>
                </c:pt>
                <c:pt idx="1815">
                  <c:v>103.67045206809776</c:v>
                </c:pt>
                <c:pt idx="1816">
                  <c:v>105.75737756901934</c:v>
                </c:pt>
                <c:pt idx="1817">
                  <c:v>105.77917831024453</c:v>
                </c:pt>
                <c:pt idx="1818">
                  <c:v>107.35081356402497</c:v>
                </c:pt>
                <c:pt idx="1819">
                  <c:v>108.18320550171451</c:v>
                </c:pt>
                <c:pt idx="1820">
                  <c:v>108.68462254989416</c:v>
                </c:pt>
                <c:pt idx="1821">
                  <c:v>110.2919317438613</c:v>
                </c:pt>
                <c:pt idx="1822">
                  <c:v>110.81713141883206</c:v>
                </c:pt>
                <c:pt idx="1823">
                  <c:v>109.89555463067582</c:v>
                </c:pt>
                <c:pt idx="1824">
                  <c:v>109.78060526785202</c:v>
                </c:pt>
                <c:pt idx="1825">
                  <c:v>109.11072794656855</c:v>
                </c:pt>
                <c:pt idx="1826">
                  <c:v>110.35931585310284</c:v>
                </c:pt>
                <c:pt idx="1827">
                  <c:v>110.35535208197101</c:v>
                </c:pt>
                <c:pt idx="1828">
                  <c:v>110.74578353845867</c:v>
                </c:pt>
                <c:pt idx="1829">
                  <c:v>111.91509602235588</c:v>
                </c:pt>
                <c:pt idx="1830">
                  <c:v>112.08157440989379</c:v>
                </c:pt>
                <c:pt idx="1831">
                  <c:v>112.19454188715164</c:v>
                </c:pt>
                <c:pt idx="1832">
                  <c:v>112.19454188715164</c:v>
                </c:pt>
                <c:pt idx="1833">
                  <c:v>112.19454188715164</c:v>
                </c:pt>
                <c:pt idx="1834">
                  <c:v>112.88027429296253</c:v>
                </c:pt>
                <c:pt idx="1835">
                  <c:v>112.80298075589135</c:v>
                </c:pt>
                <c:pt idx="1836">
                  <c:v>112.40263987157404</c:v>
                </c:pt>
                <c:pt idx="1837">
                  <c:v>113.1597201577583</c:v>
                </c:pt>
                <c:pt idx="1838">
                  <c:v>114.46974651683635</c:v>
                </c:pt>
                <c:pt idx="1839">
                  <c:v>114.51929365598457</c:v>
                </c:pt>
                <c:pt idx="1840">
                  <c:v>113.95842004082709</c:v>
                </c:pt>
                <c:pt idx="1841">
                  <c:v>113.5719523554712</c:v>
                </c:pt>
                <c:pt idx="1842">
                  <c:v>115.02467447529602</c:v>
                </c:pt>
                <c:pt idx="1843">
                  <c:v>114.92954396813153</c:v>
                </c:pt>
                <c:pt idx="1844">
                  <c:v>113.91085478724483</c:v>
                </c:pt>
                <c:pt idx="1845">
                  <c:v>114.71946409814323</c:v>
                </c:pt>
                <c:pt idx="1846">
                  <c:v>114.93945339596118</c:v>
                </c:pt>
                <c:pt idx="1847">
                  <c:v>114.31119567156217</c:v>
                </c:pt>
                <c:pt idx="1848">
                  <c:v>114.59856907862164</c:v>
                </c:pt>
                <c:pt idx="1849">
                  <c:v>114.55298571060528</c:v>
                </c:pt>
                <c:pt idx="1850">
                  <c:v>115.15547892264721</c:v>
                </c:pt>
                <c:pt idx="1851">
                  <c:v>115.50627266781639</c:v>
                </c:pt>
                <c:pt idx="1852">
                  <c:v>116.49523356521418</c:v>
                </c:pt>
                <c:pt idx="1853">
                  <c:v>116.56063578888977</c:v>
                </c:pt>
                <c:pt idx="1854">
                  <c:v>115.64698654299723</c:v>
                </c:pt>
                <c:pt idx="1855">
                  <c:v>115.94426937788634</c:v>
                </c:pt>
                <c:pt idx="1856">
                  <c:v>115.12575063915828</c:v>
                </c:pt>
                <c:pt idx="1857">
                  <c:v>115.7480627068595</c:v>
                </c:pt>
                <c:pt idx="1858">
                  <c:v>115.51618209564602</c:v>
                </c:pt>
                <c:pt idx="1859">
                  <c:v>115.92048675109521</c:v>
                </c:pt>
                <c:pt idx="1860">
                  <c:v>115.74806270685951</c:v>
                </c:pt>
                <c:pt idx="1861">
                  <c:v>116.05525496957831</c:v>
                </c:pt>
                <c:pt idx="1862">
                  <c:v>117.13934637414059</c:v>
                </c:pt>
                <c:pt idx="1863">
                  <c:v>117.1234912896132</c:v>
                </c:pt>
                <c:pt idx="1864">
                  <c:v>117.1334007174428</c:v>
                </c:pt>
                <c:pt idx="1865">
                  <c:v>118.05101373446722</c:v>
                </c:pt>
                <c:pt idx="1866">
                  <c:v>117.24636819470068</c:v>
                </c:pt>
                <c:pt idx="1867">
                  <c:v>117.27609647818959</c:v>
                </c:pt>
                <c:pt idx="1868">
                  <c:v>117.45248429355715</c:v>
                </c:pt>
                <c:pt idx="1869">
                  <c:v>117.55554234298536</c:v>
                </c:pt>
                <c:pt idx="1870">
                  <c:v>117.35735378639265</c:v>
                </c:pt>
                <c:pt idx="1871">
                  <c:v>118.28289434568075</c:v>
                </c:pt>
                <c:pt idx="1872">
                  <c:v>119.35905820797933</c:v>
                </c:pt>
                <c:pt idx="1873">
                  <c:v>118.98249995045315</c:v>
                </c:pt>
                <c:pt idx="1874">
                  <c:v>118.27100303228518</c:v>
                </c:pt>
                <c:pt idx="1875">
                  <c:v>116.39613928691786</c:v>
                </c:pt>
                <c:pt idx="1876">
                  <c:v>115.06629407218055</c:v>
                </c:pt>
                <c:pt idx="1877">
                  <c:v>114.95729036605454</c:v>
                </c:pt>
                <c:pt idx="1878">
                  <c:v>116.09291079533097</c:v>
                </c:pt>
                <c:pt idx="1879">
                  <c:v>115.4745624987616</c:v>
                </c:pt>
                <c:pt idx="1880">
                  <c:v>115.90463166656787</c:v>
                </c:pt>
                <c:pt idx="1881">
                  <c:v>117.71607507382551</c:v>
                </c:pt>
                <c:pt idx="1882">
                  <c:v>119.20248924827109</c:v>
                </c:pt>
                <c:pt idx="1883">
                  <c:v>118.82394910517893</c:v>
                </c:pt>
                <c:pt idx="1884">
                  <c:v>118.39189805180675</c:v>
                </c:pt>
                <c:pt idx="1885">
                  <c:v>118.82394910517894</c:v>
                </c:pt>
                <c:pt idx="1886">
                  <c:v>117.59518005430395</c:v>
                </c:pt>
                <c:pt idx="1887">
                  <c:v>117.21267614007995</c:v>
                </c:pt>
                <c:pt idx="1888">
                  <c:v>117.06998037933319</c:v>
                </c:pt>
                <c:pt idx="1889">
                  <c:v>116.34857403333558</c:v>
                </c:pt>
                <c:pt idx="1890">
                  <c:v>115.82139247279886</c:v>
                </c:pt>
                <c:pt idx="1891">
                  <c:v>116.992686842262</c:v>
                </c:pt>
                <c:pt idx="1892">
                  <c:v>117.620944566661</c:v>
                </c:pt>
                <c:pt idx="1893">
                  <c:v>117.19880294111847</c:v>
                </c:pt>
                <c:pt idx="1894">
                  <c:v>118.23731097766445</c:v>
                </c:pt>
                <c:pt idx="1895">
                  <c:v>118.78431139386041</c:v>
                </c:pt>
                <c:pt idx="1896">
                  <c:v>118.02128545097838</c:v>
                </c:pt>
                <c:pt idx="1897">
                  <c:v>118.72287294131665</c:v>
                </c:pt>
                <c:pt idx="1898">
                  <c:v>119.09943119884288</c:v>
                </c:pt>
                <c:pt idx="1899">
                  <c:v>117.76165844184189</c:v>
                </c:pt>
                <c:pt idx="1900">
                  <c:v>117.38113641318378</c:v>
                </c:pt>
                <c:pt idx="1901">
                  <c:v>118.76251065263521</c:v>
                </c:pt>
                <c:pt idx="1902">
                  <c:v>119.26590958638077</c:v>
                </c:pt>
                <c:pt idx="1903">
                  <c:v>119.47400757080317</c:v>
                </c:pt>
                <c:pt idx="1904">
                  <c:v>118.89926075668419</c:v>
                </c:pt>
                <c:pt idx="1905">
                  <c:v>117.51590463166688</c:v>
                </c:pt>
                <c:pt idx="1906">
                  <c:v>118.64954317537737</c:v>
                </c:pt>
                <c:pt idx="1907">
                  <c:v>117.34942624412899</c:v>
                </c:pt>
                <c:pt idx="1908">
                  <c:v>118.06686881899469</c:v>
                </c:pt>
                <c:pt idx="1909">
                  <c:v>116.25938918286889</c:v>
                </c:pt>
                <c:pt idx="1910">
                  <c:v>115.23475434528443</c:v>
                </c:pt>
                <c:pt idx="1911">
                  <c:v>111.96067939037231</c:v>
                </c:pt>
                <c:pt idx="1912">
                  <c:v>111.40773331747855</c:v>
                </c:pt>
                <c:pt idx="1913">
                  <c:v>111.20954476088582</c:v>
                </c:pt>
                <c:pt idx="1914">
                  <c:v>113.62942703688317</c:v>
                </c:pt>
                <c:pt idx="1915">
                  <c:v>111.91509602235598</c:v>
                </c:pt>
                <c:pt idx="1916">
                  <c:v>112.74352418891365</c:v>
                </c:pt>
                <c:pt idx="1917">
                  <c:v>111.27891075569325</c:v>
                </c:pt>
                <c:pt idx="1918">
                  <c:v>110.26418534593842</c:v>
                </c:pt>
                <c:pt idx="1919">
                  <c:v>111.75456329151584</c:v>
                </c:pt>
                <c:pt idx="1920">
                  <c:v>114.0594962046894</c:v>
                </c:pt>
                <c:pt idx="1921">
                  <c:v>112.04788235527307</c:v>
                </c:pt>
                <c:pt idx="1922">
                  <c:v>108.62120221178454</c:v>
                </c:pt>
                <c:pt idx="1923">
                  <c:v>111.05693957230936</c:v>
                </c:pt>
                <c:pt idx="1924">
                  <c:v>109.68745664625354</c:v>
                </c:pt>
                <c:pt idx="1925">
                  <c:v>109.47143111956743</c:v>
                </c:pt>
                <c:pt idx="1926">
                  <c:v>105.57900786808597</c:v>
                </c:pt>
                <c:pt idx="1927">
                  <c:v>107.86015815446844</c:v>
                </c:pt>
                <c:pt idx="1928">
                  <c:v>108.56372753037267</c:v>
                </c:pt>
                <c:pt idx="1929">
                  <c:v>108.57958261490009</c:v>
                </c:pt>
                <c:pt idx="1930">
                  <c:v>110.49012030045414</c:v>
                </c:pt>
                <c:pt idx="1931">
                  <c:v>110.70416394157434</c:v>
                </c:pt>
                <c:pt idx="1932">
                  <c:v>111.06090334344123</c:v>
                </c:pt>
                <c:pt idx="1933">
                  <c:v>111.231345502111</c:v>
                </c:pt>
                <c:pt idx="1934">
                  <c:v>109.30297084646358</c:v>
                </c:pt>
                <c:pt idx="1935">
                  <c:v>109.95104742652187</c:v>
                </c:pt>
                <c:pt idx="1936">
                  <c:v>111.20558098975394</c:v>
                </c:pt>
                <c:pt idx="1937">
                  <c:v>112.69001327863359</c:v>
                </c:pt>
                <c:pt idx="1938">
                  <c:v>113.00711496918198</c:v>
                </c:pt>
                <c:pt idx="1939">
                  <c:v>113.74834017083882</c:v>
                </c:pt>
                <c:pt idx="1940">
                  <c:v>111.71690746576323</c:v>
                </c:pt>
                <c:pt idx="1941">
                  <c:v>112.0696830964983</c:v>
                </c:pt>
                <c:pt idx="1942">
                  <c:v>109.592326139089</c:v>
                </c:pt>
                <c:pt idx="1943">
                  <c:v>108.58949204272969</c:v>
                </c:pt>
                <c:pt idx="1944">
                  <c:v>110.44255504687186</c:v>
                </c:pt>
                <c:pt idx="1945">
                  <c:v>110.71407336940392</c:v>
                </c:pt>
                <c:pt idx="1946">
                  <c:v>111.60988564520312</c:v>
                </c:pt>
                <c:pt idx="1947">
                  <c:v>110.27211288820209</c:v>
                </c:pt>
                <c:pt idx="1948">
                  <c:v>108.61129278395491</c:v>
                </c:pt>
                <c:pt idx="1949">
                  <c:v>110.25823968924065</c:v>
                </c:pt>
                <c:pt idx="1950">
                  <c:v>113.23106803813177</c:v>
                </c:pt>
                <c:pt idx="1951">
                  <c:v>112.45615078185413</c:v>
                </c:pt>
                <c:pt idx="1952">
                  <c:v>112.99324177022046</c:v>
                </c:pt>
                <c:pt idx="1953">
                  <c:v>112.93576708880857</c:v>
                </c:pt>
                <c:pt idx="1954">
                  <c:v>111.6931248389721</c:v>
                </c:pt>
                <c:pt idx="1955">
                  <c:v>112.48587906534307</c:v>
                </c:pt>
                <c:pt idx="1956">
                  <c:v>113.3658362566148</c:v>
                </c:pt>
                <c:pt idx="1957">
                  <c:v>113.33412608755998</c:v>
                </c:pt>
                <c:pt idx="1958">
                  <c:v>114.23588402005694</c:v>
                </c:pt>
                <c:pt idx="1959">
                  <c:v>114.81063083417591</c:v>
                </c:pt>
                <c:pt idx="1960">
                  <c:v>115.06629407218057</c:v>
                </c:pt>
                <c:pt idx="1961">
                  <c:v>115.24466377311406</c:v>
                </c:pt>
                <c:pt idx="1962">
                  <c:v>116.07111005410574</c:v>
                </c:pt>
                <c:pt idx="1963">
                  <c:v>115.75004459242548</c:v>
                </c:pt>
                <c:pt idx="1964">
                  <c:v>116.34262837663779</c:v>
                </c:pt>
                <c:pt idx="1965">
                  <c:v>116.47937848068679</c:v>
                </c:pt>
                <c:pt idx="1966">
                  <c:v>117.14132825970655</c:v>
                </c:pt>
                <c:pt idx="1967">
                  <c:v>117.19880294111846</c:v>
                </c:pt>
                <c:pt idx="1968">
                  <c:v>116.09885645202871</c:v>
                </c:pt>
                <c:pt idx="1969">
                  <c:v>115.2248449174547</c:v>
                </c:pt>
                <c:pt idx="1970">
                  <c:v>116.00768971599608</c:v>
                </c:pt>
                <c:pt idx="1971">
                  <c:v>115.03062013199383</c:v>
                </c:pt>
                <c:pt idx="1972">
                  <c:v>114.28344927363918</c:v>
                </c:pt>
                <c:pt idx="1973">
                  <c:v>112.78514378579808</c:v>
                </c:pt>
                <c:pt idx="1974">
                  <c:v>113.97427512535451</c:v>
                </c:pt>
                <c:pt idx="1975">
                  <c:v>113.28457894841178</c:v>
                </c:pt>
                <c:pt idx="1976">
                  <c:v>114.59856907862167</c:v>
                </c:pt>
                <c:pt idx="1977">
                  <c:v>115.23673623085028</c:v>
                </c:pt>
                <c:pt idx="1978">
                  <c:v>116.03147234278718</c:v>
                </c:pt>
                <c:pt idx="1979">
                  <c:v>115.52014586677791</c:v>
                </c:pt>
                <c:pt idx="1980">
                  <c:v>116.610182928038</c:v>
                </c:pt>
                <c:pt idx="1981">
                  <c:v>114.86017797332406</c:v>
                </c:pt>
                <c:pt idx="1982">
                  <c:v>114.07336940365089</c:v>
                </c:pt>
                <c:pt idx="1983">
                  <c:v>113.29250649067549</c:v>
                </c:pt>
                <c:pt idx="1984">
                  <c:v>113.68888360386097</c:v>
                </c:pt>
                <c:pt idx="1985">
                  <c:v>112.80298075589141</c:v>
                </c:pt>
                <c:pt idx="1986">
                  <c:v>112.17274114592648</c:v>
                </c:pt>
                <c:pt idx="1987">
                  <c:v>110.39697167885554</c:v>
                </c:pt>
                <c:pt idx="1988">
                  <c:v>110.43264561904228</c:v>
                </c:pt>
                <c:pt idx="1989">
                  <c:v>110.68236320034912</c:v>
                </c:pt>
                <c:pt idx="1990">
                  <c:v>111.29080206908883</c:v>
                </c:pt>
                <c:pt idx="1991">
                  <c:v>109.89753651624184</c:v>
                </c:pt>
                <c:pt idx="1992">
                  <c:v>108.99181481261304</c:v>
                </c:pt>
                <c:pt idx="1993">
                  <c:v>106.59769704897271</c:v>
                </c:pt>
                <c:pt idx="1994">
                  <c:v>107.78484650296322</c:v>
                </c:pt>
                <c:pt idx="1995">
                  <c:v>104.99633351170334</c:v>
                </c:pt>
                <c:pt idx="1996">
                  <c:v>105.80296093703581</c:v>
                </c:pt>
                <c:pt idx="1997">
                  <c:v>107.56882097627712</c:v>
                </c:pt>
                <c:pt idx="1998">
                  <c:v>106.98020096319669</c:v>
                </c:pt>
                <c:pt idx="1999">
                  <c:v>106.52833105416522</c:v>
                </c:pt>
                <c:pt idx="2000">
                  <c:v>109.49719563192453</c:v>
                </c:pt>
                <c:pt idx="2001">
                  <c:v>109.9887032522745</c:v>
                </c:pt>
                <c:pt idx="2002">
                  <c:v>111.38791446181931</c:v>
                </c:pt>
                <c:pt idx="2003">
                  <c:v>110.92415323939231</c:v>
                </c:pt>
                <c:pt idx="2004">
                  <c:v>109.27918821967248</c:v>
                </c:pt>
                <c:pt idx="2005">
                  <c:v>111.17387082069908</c:v>
                </c:pt>
                <c:pt idx="2006">
                  <c:v>111.25512812890214</c:v>
                </c:pt>
                <c:pt idx="2007">
                  <c:v>112.15886794696505</c:v>
                </c:pt>
                <c:pt idx="2008">
                  <c:v>112.81487206928703</c:v>
                </c:pt>
                <c:pt idx="2009">
                  <c:v>112.36102027468965</c:v>
                </c:pt>
                <c:pt idx="2010">
                  <c:v>112.72568721882027</c:v>
                </c:pt>
                <c:pt idx="2011">
                  <c:v>109.97681193887894</c:v>
                </c:pt>
                <c:pt idx="2012">
                  <c:v>110.46831955922896</c:v>
                </c:pt>
                <c:pt idx="2013">
                  <c:v>108.54192678914752</c:v>
                </c:pt>
                <c:pt idx="2014">
                  <c:v>108.42103176962591</c:v>
                </c:pt>
                <c:pt idx="2015">
                  <c:v>107.91961472144631</c:v>
                </c:pt>
                <c:pt idx="2016">
                  <c:v>108.13564024813239</c:v>
                </c:pt>
                <c:pt idx="2017">
                  <c:v>109.647818934935</c:v>
                </c:pt>
                <c:pt idx="2018">
                  <c:v>109.83807994926403</c:v>
                </c:pt>
                <c:pt idx="2019">
                  <c:v>109.62998196484162</c:v>
                </c:pt>
                <c:pt idx="2020">
                  <c:v>109.70529361634689</c:v>
                </c:pt>
                <c:pt idx="2021">
                  <c:v>108.3417563469888</c:v>
                </c:pt>
                <c:pt idx="2022">
                  <c:v>108.0008720296493</c:v>
                </c:pt>
                <c:pt idx="2023">
                  <c:v>105.90998275759586</c:v>
                </c:pt>
                <c:pt idx="2024">
                  <c:v>105.69197534534386</c:v>
                </c:pt>
                <c:pt idx="2025">
                  <c:v>106.34203381096805</c:v>
                </c:pt>
                <c:pt idx="2026">
                  <c:v>104.94282260142329</c:v>
                </c:pt>
                <c:pt idx="2027">
                  <c:v>103.93007907723437</c:v>
                </c:pt>
                <c:pt idx="2028">
                  <c:v>103.42469825792288</c:v>
                </c:pt>
                <c:pt idx="2029">
                  <c:v>103.75369126186683</c:v>
                </c:pt>
                <c:pt idx="2030">
                  <c:v>101.09796460352409</c:v>
                </c:pt>
                <c:pt idx="2031">
                  <c:v>100.14665953187892</c:v>
                </c:pt>
                <c:pt idx="2032">
                  <c:v>99.643260598133352</c:v>
                </c:pt>
                <c:pt idx="2033">
                  <c:v>98.575024278098454</c:v>
                </c:pt>
                <c:pt idx="2034">
                  <c:v>92.934577957468989</c:v>
                </c:pt>
                <c:pt idx="2035">
                  <c:v>94.97592009037426</c:v>
                </c:pt>
                <c:pt idx="2036">
                  <c:v>92.114077333175018</c:v>
                </c:pt>
                <c:pt idx="2037">
                  <c:v>96.943932457340196</c:v>
                </c:pt>
                <c:pt idx="2038">
                  <c:v>97.007352795449862</c:v>
                </c:pt>
                <c:pt idx="2039">
                  <c:v>95.945062132112753</c:v>
                </c:pt>
                <c:pt idx="2040">
                  <c:v>97.635610519848854</c:v>
                </c:pt>
                <c:pt idx="2041">
                  <c:v>97.001407138752057</c:v>
                </c:pt>
                <c:pt idx="2042">
                  <c:v>96.993479596488342</c:v>
                </c:pt>
                <c:pt idx="2043">
                  <c:v>98.886180311949033</c:v>
                </c:pt>
                <c:pt idx="2044">
                  <c:v>99.100223953069204</c:v>
                </c:pt>
                <c:pt idx="2045">
                  <c:v>95.970826644469781</c:v>
                </c:pt>
                <c:pt idx="2046">
                  <c:v>96.494044433874635</c:v>
                </c:pt>
                <c:pt idx="2047">
                  <c:v>94.62116257407321</c:v>
                </c:pt>
                <c:pt idx="2048">
                  <c:v>95.033394771786107</c:v>
                </c:pt>
                <c:pt idx="2049">
                  <c:v>94.155419466080261</c:v>
                </c:pt>
                <c:pt idx="2050">
                  <c:v>97.300671859207114</c:v>
                </c:pt>
                <c:pt idx="2051">
                  <c:v>97.401748023069402</c:v>
                </c:pt>
                <c:pt idx="2052">
                  <c:v>97.508769843629466</c:v>
                </c:pt>
                <c:pt idx="2053">
                  <c:v>95.610123471471027</c:v>
                </c:pt>
                <c:pt idx="2054">
                  <c:v>97.469132132310946</c:v>
                </c:pt>
                <c:pt idx="2055">
                  <c:v>97.661375032205896</c:v>
                </c:pt>
                <c:pt idx="2056">
                  <c:v>96.547555344154702</c:v>
                </c:pt>
                <c:pt idx="2057">
                  <c:v>97.179776839685488</c:v>
                </c:pt>
                <c:pt idx="2058">
                  <c:v>96.410805240105717</c:v>
                </c:pt>
                <c:pt idx="2059">
                  <c:v>98.043878946429871</c:v>
                </c:pt>
                <c:pt idx="2060">
                  <c:v>99.46290901163394</c:v>
                </c:pt>
                <c:pt idx="2061">
                  <c:v>99.296430624096033</c:v>
                </c:pt>
                <c:pt idx="2062">
                  <c:v>97.469132132310932</c:v>
                </c:pt>
                <c:pt idx="2063">
                  <c:v>96.174960857760297</c:v>
                </c:pt>
                <c:pt idx="2064">
                  <c:v>94.821333016231861</c:v>
                </c:pt>
                <c:pt idx="2065">
                  <c:v>93.55689002517019</c:v>
                </c:pt>
                <c:pt idx="2066">
                  <c:v>95.326713835543373</c:v>
                </c:pt>
                <c:pt idx="2067">
                  <c:v>94.062270844481674</c:v>
                </c:pt>
                <c:pt idx="2068">
                  <c:v>93.047545434726842</c:v>
                </c:pt>
                <c:pt idx="2069">
                  <c:v>91.892106149791147</c:v>
                </c:pt>
                <c:pt idx="2070">
                  <c:v>92.997998295578682</c:v>
                </c:pt>
                <c:pt idx="2071">
                  <c:v>94.151455694948453</c:v>
                </c:pt>
                <c:pt idx="2072">
                  <c:v>92.877103276057099</c:v>
                </c:pt>
                <c:pt idx="2073">
                  <c:v>91.941653288939392</c:v>
                </c:pt>
                <c:pt idx="2074">
                  <c:v>87.744019660305113</c:v>
                </c:pt>
                <c:pt idx="2075">
                  <c:v>90.859543769942988</c:v>
                </c:pt>
                <c:pt idx="2076">
                  <c:v>89.981568464237142</c:v>
                </c:pt>
                <c:pt idx="2077">
                  <c:v>89.787343678776253</c:v>
                </c:pt>
                <c:pt idx="2078">
                  <c:v>92.75422637096959</c:v>
                </c:pt>
                <c:pt idx="2079">
                  <c:v>92.167588243455057</c:v>
                </c:pt>
                <c:pt idx="2080">
                  <c:v>93.311136214995187</c:v>
                </c:pt>
                <c:pt idx="2081">
                  <c:v>92.813682937947405</c:v>
                </c:pt>
                <c:pt idx="2082">
                  <c:v>92.597657411261324</c:v>
                </c:pt>
                <c:pt idx="2083">
                  <c:v>95.671561924014753</c:v>
                </c:pt>
                <c:pt idx="2084">
                  <c:v>96.769526527538574</c:v>
                </c:pt>
                <c:pt idx="2085">
                  <c:v>96.268109479358927</c:v>
                </c:pt>
                <c:pt idx="2086">
                  <c:v>96.6426858513192</c:v>
                </c:pt>
                <c:pt idx="2087">
                  <c:v>97.516697385893195</c:v>
                </c:pt>
                <c:pt idx="2088">
                  <c:v>96.543591573022809</c:v>
                </c:pt>
                <c:pt idx="2089">
                  <c:v>95.893533107398639</c:v>
                </c:pt>
                <c:pt idx="2090">
                  <c:v>95.562558217888736</c:v>
                </c:pt>
                <c:pt idx="2091">
                  <c:v>94.199020948530702</c:v>
                </c:pt>
                <c:pt idx="2092">
                  <c:v>93.447886319044187</c:v>
                </c:pt>
                <c:pt idx="2093">
                  <c:v>93.858136631191158</c:v>
                </c:pt>
                <c:pt idx="2094">
                  <c:v>95.55661256119096</c:v>
                </c:pt>
                <c:pt idx="2095">
                  <c:v>95.029431000654242</c:v>
                </c:pt>
                <c:pt idx="2096">
                  <c:v>97.358146540618989</c:v>
                </c:pt>
                <c:pt idx="2097">
                  <c:v>96.248290623699617</c:v>
                </c:pt>
                <c:pt idx="2098">
                  <c:v>95.804348256931846</c:v>
                </c:pt>
                <c:pt idx="2099">
                  <c:v>96.434587866896791</c:v>
                </c:pt>
                <c:pt idx="2100">
                  <c:v>96.573319856511688</c:v>
                </c:pt>
                <c:pt idx="2101">
                  <c:v>97.871454902194159</c:v>
                </c:pt>
                <c:pt idx="2102">
                  <c:v>98.491785084329464</c:v>
                </c:pt>
                <c:pt idx="2103">
                  <c:v>97.593990922964352</c:v>
                </c:pt>
                <c:pt idx="2104">
                  <c:v>98.372871950373806</c:v>
                </c:pt>
                <c:pt idx="2105">
                  <c:v>98.525477138950194</c:v>
                </c:pt>
                <c:pt idx="2106">
                  <c:v>100.34881185960346</c:v>
                </c:pt>
                <c:pt idx="2107">
                  <c:v>100.07332976593956</c:v>
                </c:pt>
                <c:pt idx="2108">
                  <c:v>99.601641001248836</c:v>
                </c:pt>
                <c:pt idx="2109">
                  <c:v>100.44790613789984</c:v>
                </c:pt>
                <c:pt idx="2110">
                  <c:v>100.43006916780649</c:v>
                </c:pt>
                <c:pt idx="2111">
                  <c:v>99.179499375706271</c:v>
                </c:pt>
                <c:pt idx="2112">
                  <c:v>99.526329349743591</c:v>
                </c:pt>
                <c:pt idx="2113">
                  <c:v>99.439126384842808</c:v>
                </c:pt>
                <c:pt idx="2114">
                  <c:v>99.984144915472854</c:v>
                </c:pt>
                <c:pt idx="2115">
                  <c:v>100.36664882969683</c:v>
                </c:pt>
                <c:pt idx="2116">
                  <c:v>100.89383039023355</c:v>
                </c:pt>
                <c:pt idx="2117">
                  <c:v>101.96999425253216</c:v>
                </c:pt>
                <c:pt idx="2118">
                  <c:v>99.896941950572057</c:v>
                </c:pt>
                <c:pt idx="2119">
                  <c:v>99.102205838635143</c:v>
                </c:pt>
                <c:pt idx="2120">
                  <c:v>99.542184434271036</c:v>
                </c:pt>
                <c:pt idx="2121">
                  <c:v>97.897219414551273</c:v>
                </c:pt>
                <c:pt idx="2122">
                  <c:v>97.704976514656295</c:v>
                </c:pt>
                <c:pt idx="2123">
                  <c:v>97.385892938541957</c:v>
                </c:pt>
                <c:pt idx="2124">
                  <c:v>98.315397268961931</c:v>
                </c:pt>
                <c:pt idx="2125">
                  <c:v>98.580969934796229</c:v>
                </c:pt>
                <c:pt idx="2126">
                  <c:v>98.989238361377289</c:v>
                </c:pt>
                <c:pt idx="2127">
                  <c:v>97.859563588798622</c:v>
                </c:pt>
                <c:pt idx="2128">
                  <c:v>98.670154785262937</c:v>
                </c:pt>
                <c:pt idx="2129">
                  <c:v>97.534534355986509</c:v>
                </c:pt>
                <c:pt idx="2130">
                  <c:v>97.395802366371598</c:v>
                </c:pt>
                <c:pt idx="2131">
                  <c:v>95.451572626196793</c:v>
                </c:pt>
                <c:pt idx="2132">
                  <c:v>94.966010662544591</c:v>
                </c:pt>
                <c:pt idx="2133">
                  <c:v>94.319915968052271</c:v>
                </c:pt>
                <c:pt idx="2134">
                  <c:v>92.718552430782879</c:v>
                </c:pt>
                <c:pt idx="2135">
                  <c:v>93.556890025170176</c:v>
                </c:pt>
                <c:pt idx="2136">
                  <c:v>94.05632518778387</c:v>
                </c:pt>
                <c:pt idx="2137">
                  <c:v>93.816517034306671</c:v>
                </c:pt>
                <c:pt idx="2138">
                  <c:v>94.264423172206264</c:v>
                </c:pt>
                <c:pt idx="2139">
                  <c:v>92.855302534831822</c:v>
                </c:pt>
                <c:pt idx="2140">
                  <c:v>92.39550508353669</c:v>
                </c:pt>
                <c:pt idx="2141">
                  <c:v>90.806032859662892</c:v>
                </c:pt>
                <c:pt idx="2142">
                  <c:v>90.74459440711918</c:v>
                </c:pt>
                <c:pt idx="2143">
                  <c:v>90.044988802346779</c:v>
                </c:pt>
                <c:pt idx="2144">
                  <c:v>91.154844719266151</c:v>
                </c:pt>
                <c:pt idx="2145">
                  <c:v>88.810274094774002</c:v>
                </c:pt>
                <c:pt idx="2146">
                  <c:v>88.461462235170785</c:v>
                </c:pt>
                <c:pt idx="2147">
                  <c:v>89.095665616267553</c:v>
                </c:pt>
                <c:pt idx="2148">
                  <c:v>87.145490219394929</c:v>
                </c:pt>
                <c:pt idx="2149">
                  <c:v>86.439938957924767</c:v>
                </c:pt>
                <c:pt idx="2150">
                  <c:v>87.177200388449776</c:v>
                </c:pt>
                <c:pt idx="2151">
                  <c:v>86.08121767049191</c:v>
                </c:pt>
                <c:pt idx="2152">
                  <c:v>87.208910557504609</c:v>
                </c:pt>
                <c:pt idx="2153">
                  <c:v>85.914739282954031</c:v>
                </c:pt>
                <c:pt idx="2154">
                  <c:v>87.444754939850029</c:v>
                </c:pt>
                <c:pt idx="2155">
                  <c:v>85.623402104762661</c:v>
                </c:pt>
                <c:pt idx="2156">
                  <c:v>83.288740908100181</c:v>
                </c:pt>
                <c:pt idx="2157">
                  <c:v>83.936817488158454</c:v>
                </c:pt>
                <c:pt idx="2158">
                  <c:v>82.103573339675563</c:v>
                </c:pt>
                <c:pt idx="2159">
                  <c:v>82.721921636244929</c:v>
                </c:pt>
                <c:pt idx="2160">
                  <c:v>85.114057514319313</c:v>
                </c:pt>
                <c:pt idx="2161">
                  <c:v>86.477594783677418</c:v>
                </c:pt>
                <c:pt idx="2162">
                  <c:v>86.992885030818542</c:v>
                </c:pt>
                <c:pt idx="2163">
                  <c:v>86.542997007353009</c:v>
                </c:pt>
                <c:pt idx="2164">
                  <c:v>88.354440414610679</c:v>
                </c:pt>
                <c:pt idx="2165">
                  <c:v>86.951265433934083</c:v>
                </c:pt>
                <c:pt idx="2166">
                  <c:v>86.808569673187293</c:v>
                </c:pt>
                <c:pt idx="2167">
                  <c:v>85.87708345720138</c:v>
                </c:pt>
                <c:pt idx="2168">
                  <c:v>86.160493093128991</c:v>
                </c:pt>
                <c:pt idx="2169">
                  <c:v>87.520066591355217</c:v>
                </c:pt>
                <c:pt idx="2170">
                  <c:v>87.44475493985</c:v>
                </c:pt>
                <c:pt idx="2171">
                  <c:v>86.380482390946938</c:v>
                </c:pt>
                <c:pt idx="2172">
                  <c:v>85.56196365221895</c:v>
                </c:pt>
                <c:pt idx="2173">
                  <c:v>87.849059595299195</c:v>
                </c:pt>
                <c:pt idx="2174">
                  <c:v>88.723071129873162</c:v>
                </c:pt>
                <c:pt idx="2175">
                  <c:v>88.485244861961903</c:v>
                </c:pt>
                <c:pt idx="2176">
                  <c:v>89.228451949184659</c:v>
                </c:pt>
                <c:pt idx="2177">
                  <c:v>90.393800661950024</c:v>
                </c:pt>
                <c:pt idx="2178">
                  <c:v>90.017242404423783</c:v>
                </c:pt>
                <c:pt idx="2179">
                  <c:v>87.777711714925786</c:v>
                </c:pt>
                <c:pt idx="2180">
                  <c:v>88.25336425074839</c:v>
                </c:pt>
                <c:pt idx="2181">
                  <c:v>88.665596448461272</c:v>
                </c:pt>
                <c:pt idx="2182">
                  <c:v>88.574429712428596</c:v>
                </c:pt>
                <c:pt idx="2183">
                  <c:v>86.338862794062479</c:v>
                </c:pt>
                <c:pt idx="2184">
                  <c:v>86.741185563945777</c:v>
                </c:pt>
                <c:pt idx="2185">
                  <c:v>86.025724874645945</c:v>
                </c:pt>
                <c:pt idx="2186">
                  <c:v>87.688526864459035</c:v>
                </c:pt>
                <c:pt idx="2187">
                  <c:v>87.171254731752001</c:v>
                </c:pt>
                <c:pt idx="2188">
                  <c:v>87.35358820381731</c:v>
                </c:pt>
                <c:pt idx="2189">
                  <c:v>87.514120934657456</c:v>
                </c:pt>
                <c:pt idx="2190">
                  <c:v>88.740908099966532</c:v>
                </c:pt>
                <c:pt idx="2191">
                  <c:v>89.040172820421532</c:v>
                </c:pt>
                <c:pt idx="2192">
                  <c:v>88.732980557702803</c:v>
                </c:pt>
                <c:pt idx="2193">
                  <c:v>89.630774719067929</c:v>
                </c:pt>
                <c:pt idx="2194">
                  <c:v>88.267237449709867</c:v>
                </c:pt>
                <c:pt idx="2195">
                  <c:v>85.982123392195533</c:v>
                </c:pt>
                <c:pt idx="2196">
                  <c:v>84.144915472580792</c:v>
                </c:pt>
                <c:pt idx="2197">
                  <c:v>86.959192976197755</c:v>
                </c:pt>
                <c:pt idx="2198">
                  <c:v>86.433993301226991</c:v>
                </c:pt>
                <c:pt idx="2199">
                  <c:v>85.754206552113885</c:v>
                </c:pt>
                <c:pt idx="2200">
                  <c:v>85.232970648274971</c:v>
                </c:pt>
                <c:pt idx="2201">
                  <c:v>86.699565967061275</c:v>
                </c:pt>
                <c:pt idx="2202">
                  <c:v>83.698991220247166</c:v>
                </c:pt>
                <c:pt idx="2203">
                  <c:v>81.489188814238062</c:v>
                </c:pt>
                <c:pt idx="2204">
                  <c:v>79.796658540936065</c:v>
                </c:pt>
                <c:pt idx="2205">
                  <c:v>79.402263313316496</c:v>
                </c:pt>
                <c:pt idx="2206">
                  <c:v>86.023742989080006</c:v>
                </c:pt>
                <c:pt idx="2207">
                  <c:v>84.242027865311286</c:v>
                </c:pt>
                <c:pt idx="2208">
                  <c:v>82.682283924926381</c:v>
                </c:pt>
                <c:pt idx="2209">
                  <c:v>82.184830647878599</c:v>
                </c:pt>
                <c:pt idx="2210">
                  <c:v>83.839705095427988</c:v>
                </c:pt>
                <c:pt idx="2211">
                  <c:v>82.266087956081606</c:v>
                </c:pt>
                <c:pt idx="2212">
                  <c:v>77.781080920387865</c:v>
                </c:pt>
                <c:pt idx="2213">
                  <c:v>79.212002298987471</c:v>
                </c:pt>
                <c:pt idx="2214">
                  <c:v>79.741165745090129</c:v>
                </c:pt>
                <c:pt idx="2215">
                  <c:v>78.657074340527785</c:v>
                </c:pt>
                <c:pt idx="2216">
                  <c:v>80.878768059932426</c:v>
                </c:pt>
                <c:pt idx="2217">
                  <c:v>74.715103949898179</c:v>
                </c:pt>
                <c:pt idx="2218">
                  <c:v>74.473313910854984</c:v>
                </c:pt>
                <c:pt idx="2219">
                  <c:v>70.025962700913851</c:v>
                </c:pt>
                <c:pt idx="2220">
                  <c:v>68.624769605803166</c:v>
                </c:pt>
                <c:pt idx="2221">
                  <c:v>63.479794676655558</c:v>
                </c:pt>
                <c:pt idx="2222">
                  <c:v>69.744534950552165</c:v>
                </c:pt>
                <c:pt idx="2223">
                  <c:v>71.865152506094475</c:v>
                </c:pt>
                <c:pt idx="2224">
                  <c:v>67.213667082862827</c:v>
                </c:pt>
                <c:pt idx="2225">
                  <c:v>63.880135560972882</c:v>
                </c:pt>
                <c:pt idx="2226">
                  <c:v>66.315872921497686</c:v>
                </c:pt>
                <c:pt idx="2227">
                  <c:v>68.713954456269903</c:v>
                </c:pt>
                <c:pt idx="2228">
                  <c:v>68.371088253364434</c:v>
                </c:pt>
                <c:pt idx="2229">
                  <c:v>64.871078343936574</c:v>
                </c:pt>
                <c:pt idx="2230">
                  <c:v>64.607487563668258</c:v>
                </c:pt>
                <c:pt idx="2231">
                  <c:v>61.541510593178522</c:v>
                </c:pt>
                <c:pt idx="2232">
                  <c:v>60.37417999484726</c:v>
                </c:pt>
                <c:pt idx="2233">
                  <c:v>61.735735378639419</c:v>
                </c:pt>
                <c:pt idx="2234">
                  <c:v>66.173177160750882</c:v>
                </c:pt>
                <c:pt idx="2235">
                  <c:v>66.956021959292258</c:v>
                </c:pt>
                <c:pt idx="2236">
                  <c:v>68.761519709852166</c:v>
                </c:pt>
                <c:pt idx="2237">
                  <c:v>69.177715678696885</c:v>
                </c:pt>
                <c:pt idx="2238">
                  <c:v>72.313058643994083</c:v>
                </c:pt>
                <c:pt idx="2239">
                  <c:v>70.681966823235811</c:v>
                </c:pt>
                <c:pt idx="2240">
                  <c:v>66.755851517133564</c:v>
                </c:pt>
                <c:pt idx="2241">
                  <c:v>68.038131478288619</c:v>
                </c:pt>
                <c:pt idx="2242">
                  <c:v>68.458291218265245</c:v>
                </c:pt>
                <c:pt idx="2243">
                  <c:v>65.735180450680943</c:v>
                </c:pt>
                <c:pt idx="2244">
                  <c:v>63.646273064193444</c:v>
                </c:pt>
                <c:pt idx="2245">
                  <c:v>63.29349743345837</c:v>
                </c:pt>
                <c:pt idx="2246">
                  <c:v>63.783023168242423</c:v>
                </c:pt>
                <c:pt idx="2247">
                  <c:v>62.169768317577521</c:v>
                </c:pt>
                <c:pt idx="2248">
                  <c:v>62.65136651009788</c:v>
                </c:pt>
                <c:pt idx="2249">
                  <c:v>60.179955209386378</c:v>
                </c:pt>
                <c:pt idx="2250">
                  <c:v>58.003844857998054</c:v>
                </c:pt>
                <c:pt idx="2251">
                  <c:v>56.568959708266604</c:v>
                </c:pt>
                <c:pt idx="2252">
                  <c:v>61.375032205640615</c:v>
                </c:pt>
                <c:pt idx="2253">
                  <c:v>61.767445547694244</c:v>
                </c:pt>
                <c:pt idx="2254">
                  <c:v>61.799155716749098</c:v>
                </c:pt>
                <c:pt idx="2255">
                  <c:v>63.281606120062804</c:v>
                </c:pt>
                <c:pt idx="2256">
                  <c:v>64.100124858790821</c:v>
                </c:pt>
                <c:pt idx="2257">
                  <c:v>60.265176288721271</c:v>
                </c:pt>
                <c:pt idx="2258">
                  <c:v>61.293774897437601</c:v>
                </c:pt>
                <c:pt idx="2259">
                  <c:v>61.644568642606757</c:v>
                </c:pt>
                <c:pt idx="2260">
                  <c:v>61.369086548942825</c:v>
                </c:pt>
                <c:pt idx="2261">
                  <c:v>59.016588382186981</c:v>
                </c:pt>
                <c:pt idx="2262">
                  <c:v>62.988287056305538</c:v>
                </c:pt>
                <c:pt idx="2263">
                  <c:v>63.83257030739064</c:v>
                </c:pt>
                <c:pt idx="2264">
                  <c:v>63.846443506352117</c:v>
                </c:pt>
                <c:pt idx="2265">
                  <c:v>63.356917771568057</c:v>
                </c:pt>
                <c:pt idx="2266">
                  <c:v>61.626731672513415</c:v>
                </c:pt>
                <c:pt idx="2267">
                  <c:v>61.410706145827326</c:v>
                </c:pt>
                <c:pt idx="2268">
                  <c:v>61.878431139386194</c:v>
                </c:pt>
                <c:pt idx="2269">
                  <c:v>61.414669916959177</c:v>
                </c:pt>
                <c:pt idx="2270">
                  <c:v>61.355213349981355</c:v>
                </c:pt>
                <c:pt idx="2271">
                  <c:v>61.079731256317444</c:v>
                </c:pt>
                <c:pt idx="2272">
                  <c:v>60.114552985710787</c:v>
                </c:pt>
                <c:pt idx="2273">
                  <c:v>60.02735002080999</c:v>
                </c:pt>
                <c:pt idx="2274">
                  <c:v>59.839070892046884</c:v>
                </c:pt>
                <c:pt idx="2275">
                  <c:v>60.162118239293065</c:v>
                </c:pt>
                <c:pt idx="2276">
                  <c:v>61.234318330459821</c:v>
                </c:pt>
                <c:pt idx="2277">
                  <c:v>61.688170125057184</c:v>
                </c:pt>
                <c:pt idx="2278">
                  <c:v>63.596725925045298</c:v>
                </c:pt>
                <c:pt idx="2279">
                  <c:v>64.912697940821104</c:v>
                </c:pt>
                <c:pt idx="2280">
                  <c:v>66.210832986503547</c:v>
                </c:pt>
                <c:pt idx="2281">
                  <c:v>65.416096874566648</c:v>
                </c:pt>
                <c:pt idx="2282">
                  <c:v>64.938462453178161</c:v>
                </c:pt>
                <c:pt idx="2283">
                  <c:v>64.643161503854955</c:v>
                </c:pt>
                <c:pt idx="2284">
                  <c:v>63.630417979666042</c:v>
                </c:pt>
                <c:pt idx="2285">
                  <c:v>62.738569474998712</c:v>
                </c:pt>
                <c:pt idx="2286">
                  <c:v>60.005549279584784</c:v>
                </c:pt>
                <c:pt idx="2287">
                  <c:v>59.482331490179945</c:v>
                </c:pt>
                <c:pt idx="2288">
                  <c:v>60.039241334205549</c:v>
                </c:pt>
                <c:pt idx="2289">
                  <c:v>59.032443466714405</c:v>
                </c:pt>
                <c:pt idx="2290">
                  <c:v>57.783855560180136</c:v>
                </c:pt>
                <c:pt idx="2291">
                  <c:v>57.425134272747272</c:v>
                </c:pt>
                <c:pt idx="2292">
                  <c:v>56.903898368908358</c:v>
                </c:pt>
                <c:pt idx="2293">
                  <c:v>56.790930891650504</c:v>
                </c:pt>
                <c:pt idx="2294">
                  <c:v>58.531026418534772</c:v>
                </c:pt>
                <c:pt idx="2295">
                  <c:v>58.612283726737807</c:v>
                </c:pt>
                <c:pt idx="2296">
                  <c:v>60.504984442198499</c:v>
                </c:pt>
                <c:pt idx="2297">
                  <c:v>59.407019838674721</c:v>
                </c:pt>
                <c:pt idx="2298">
                  <c:v>59.541788057157774</c:v>
                </c:pt>
                <c:pt idx="2299">
                  <c:v>58.025645599223282</c:v>
                </c:pt>
                <c:pt idx="2300">
                  <c:v>59.10577323265376</c:v>
                </c:pt>
                <c:pt idx="2301">
                  <c:v>60.673444715302324</c:v>
                </c:pt>
                <c:pt idx="2302">
                  <c:v>60.621915690588239</c:v>
                </c:pt>
                <c:pt idx="2303">
                  <c:v>61.874467368254358</c:v>
                </c:pt>
                <c:pt idx="2304">
                  <c:v>62.132112491824955</c:v>
                </c:pt>
                <c:pt idx="2305">
                  <c:v>60.407872049468075</c:v>
                </c:pt>
                <c:pt idx="2306">
                  <c:v>60.211665378441261</c:v>
                </c:pt>
                <c:pt idx="2307">
                  <c:v>59.43476623659771</c:v>
                </c:pt>
                <c:pt idx="2308">
                  <c:v>59.630972907624532</c:v>
                </c:pt>
                <c:pt idx="2309">
                  <c:v>58.820381711160209</c:v>
                </c:pt>
                <c:pt idx="2310">
                  <c:v>57.35775016350577</c:v>
                </c:pt>
                <c:pt idx="2311">
                  <c:v>57.21109063162713</c:v>
                </c:pt>
                <c:pt idx="2312">
                  <c:v>57.221000059456777</c:v>
                </c:pt>
                <c:pt idx="2313">
                  <c:v>55.207404324474503</c:v>
                </c:pt>
                <c:pt idx="2314">
                  <c:v>54.696077848465237</c:v>
                </c:pt>
                <c:pt idx="2315">
                  <c:v>53.938997562280946</c:v>
                </c:pt>
                <c:pt idx="2316">
                  <c:v>53.788374259270455</c:v>
                </c:pt>
                <c:pt idx="2317">
                  <c:v>54.981469369958774</c:v>
                </c:pt>
                <c:pt idx="2318">
                  <c:v>54.012327328220259</c:v>
                </c:pt>
                <c:pt idx="2319">
                  <c:v>51.320926729690804</c:v>
                </c:pt>
                <c:pt idx="2320">
                  <c:v>50.39736805596862</c:v>
                </c:pt>
                <c:pt idx="2321">
                  <c:v>52.369344194066421</c:v>
                </c:pt>
                <c:pt idx="2322">
                  <c:v>50.486552906435378</c:v>
                </c:pt>
                <c:pt idx="2323">
                  <c:v>49.840458211943016</c:v>
                </c:pt>
                <c:pt idx="2324">
                  <c:v>49.3548962482908</c:v>
                </c:pt>
                <c:pt idx="2325">
                  <c:v>51.859999603623066</c:v>
                </c:pt>
                <c:pt idx="2326">
                  <c:v>51.978912737578746</c:v>
                </c:pt>
                <c:pt idx="2327">
                  <c:v>52.329706482747895</c:v>
                </c:pt>
                <c:pt idx="2328">
                  <c:v>52.712210396971912</c:v>
                </c:pt>
                <c:pt idx="2329">
                  <c:v>54.180787601324099</c:v>
                </c:pt>
                <c:pt idx="2330">
                  <c:v>53.826030085023099</c:v>
                </c:pt>
                <c:pt idx="2331">
                  <c:v>53.445508056365043</c:v>
                </c:pt>
                <c:pt idx="2332">
                  <c:v>53.796301801534199</c:v>
                </c:pt>
                <c:pt idx="2333">
                  <c:v>54.020254870483988</c:v>
                </c:pt>
                <c:pt idx="2334">
                  <c:v>55.635491606714851</c:v>
                </c:pt>
                <c:pt idx="2335">
                  <c:v>55.784133024159409</c:v>
                </c:pt>
                <c:pt idx="2336">
                  <c:v>55.992231008581776</c:v>
                </c:pt>
                <c:pt idx="2337">
                  <c:v>56.089343401312192</c:v>
                </c:pt>
                <c:pt idx="2338">
                  <c:v>55.482886418138399</c:v>
                </c:pt>
                <c:pt idx="2339">
                  <c:v>53.39001526051905</c:v>
                </c:pt>
                <c:pt idx="2340">
                  <c:v>55.270824662584175</c:v>
                </c:pt>
                <c:pt idx="2341">
                  <c:v>56.158709396119669</c:v>
                </c:pt>
                <c:pt idx="2342">
                  <c:v>58.943258616247711</c:v>
                </c:pt>
                <c:pt idx="2343">
                  <c:v>58.346711060903544</c:v>
                </c:pt>
                <c:pt idx="2344">
                  <c:v>57.989971659036605</c:v>
                </c:pt>
                <c:pt idx="2345">
                  <c:v>57.516301008779962</c:v>
                </c:pt>
                <c:pt idx="2346">
                  <c:v>57.718453336504567</c:v>
                </c:pt>
                <c:pt idx="2347">
                  <c:v>59.004697068791458</c:v>
                </c:pt>
                <c:pt idx="2348">
                  <c:v>59.938165170343275</c:v>
                </c:pt>
                <c:pt idx="2349">
                  <c:v>59.795469409596492</c:v>
                </c:pt>
                <c:pt idx="2350">
                  <c:v>60.835959331708402</c:v>
                </c:pt>
                <c:pt idx="2351">
                  <c:v>61.824920229106176</c:v>
                </c:pt>
                <c:pt idx="2352">
                  <c:v>59.628991022058599</c:v>
                </c:pt>
                <c:pt idx="2353">
                  <c:v>59.728085300354969</c:v>
                </c:pt>
                <c:pt idx="2354">
                  <c:v>60.44156410408884</c:v>
                </c:pt>
                <c:pt idx="2355">
                  <c:v>60.239411776364236</c:v>
                </c:pt>
                <c:pt idx="2356">
                  <c:v>61.636641100343063</c:v>
                </c:pt>
                <c:pt idx="2357">
                  <c:v>61.868521711556575</c:v>
                </c:pt>
                <c:pt idx="2358">
                  <c:v>60.946944923400309</c:v>
                </c:pt>
                <c:pt idx="2359">
                  <c:v>62.195532829934606</c:v>
                </c:pt>
                <c:pt idx="2360">
                  <c:v>63.160711100541263</c:v>
                </c:pt>
                <c:pt idx="2361">
                  <c:v>63.239986523178352</c:v>
                </c:pt>
                <c:pt idx="2362">
                  <c:v>64.3855163802844</c:v>
                </c:pt>
                <c:pt idx="2363">
                  <c:v>64.807658005826951</c:v>
                </c:pt>
                <c:pt idx="2364">
                  <c:v>65.776800047565459</c:v>
                </c:pt>
                <c:pt idx="2365">
                  <c:v>65.277364884951751</c:v>
                </c:pt>
                <c:pt idx="2366">
                  <c:v>66.303981608102163</c:v>
                </c:pt>
                <c:pt idx="2367">
                  <c:v>65.390332362209591</c:v>
                </c:pt>
                <c:pt idx="2368">
                  <c:v>65.31502071070436</c:v>
                </c:pt>
                <c:pt idx="2369">
                  <c:v>63.648254949759412</c:v>
                </c:pt>
                <c:pt idx="2370">
                  <c:v>63.96535664030781</c:v>
                </c:pt>
                <c:pt idx="2371">
                  <c:v>64.35578809679545</c:v>
                </c:pt>
                <c:pt idx="2372">
                  <c:v>65.982916146421886</c:v>
                </c:pt>
                <c:pt idx="2373">
                  <c:v>66.950076302594454</c:v>
                </c:pt>
                <c:pt idx="2374">
                  <c:v>67.326634560120709</c:v>
                </c:pt>
                <c:pt idx="2375">
                  <c:v>66.00471688764712</c:v>
                </c:pt>
                <c:pt idx="2376">
                  <c:v>65.838238500109199</c:v>
                </c:pt>
                <c:pt idx="2377">
                  <c:v>65.95120597736711</c:v>
                </c:pt>
                <c:pt idx="2378">
                  <c:v>66.460550567810444</c:v>
                </c:pt>
                <c:pt idx="2379">
                  <c:v>66.950076302594482</c:v>
                </c:pt>
                <c:pt idx="2380">
                  <c:v>66.163267732921298</c:v>
                </c:pt>
                <c:pt idx="2381">
                  <c:v>66.260380125651736</c:v>
                </c:pt>
                <c:pt idx="2382">
                  <c:v>68.204609865826583</c:v>
                </c:pt>
                <c:pt idx="2383">
                  <c:v>68.204609865826583</c:v>
                </c:pt>
                <c:pt idx="2384">
                  <c:v>66.910438591275962</c:v>
                </c:pt>
                <c:pt idx="2385">
                  <c:v>66.761797173831397</c:v>
                </c:pt>
                <c:pt idx="2386">
                  <c:v>67.172047485978382</c:v>
                </c:pt>
                <c:pt idx="2387">
                  <c:v>66.706304377985418</c:v>
                </c:pt>
                <c:pt idx="2388">
                  <c:v>67.025387954099713</c:v>
                </c:pt>
                <c:pt idx="2389">
                  <c:v>67.824087837168463</c:v>
                </c:pt>
                <c:pt idx="2390">
                  <c:v>68.474146302792676</c:v>
                </c:pt>
                <c:pt idx="2391">
                  <c:v>68.331450542045914</c:v>
                </c:pt>
                <c:pt idx="2392">
                  <c:v>66.634956497612052</c:v>
                </c:pt>
                <c:pt idx="2393">
                  <c:v>66.561626731672732</c:v>
                </c:pt>
                <c:pt idx="2394">
                  <c:v>65.245654715896904</c:v>
                </c:pt>
                <c:pt idx="2395">
                  <c:v>65.568702063143078</c:v>
                </c:pt>
                <c:pt idx="2396">
                  <c:v>66.409021543096316</c:v>
                </c:pt>
                <c:pt idx="2397">
                  <c:v>64.587668708009005</c:v>
                </c:pt>
                <c:pt idx="2398">
                  <c:v>64.272548903026518</c:v>
                </c:pt>
                <c:pt idx="2399">
                  <c:v>65.820401530015843</c:v>
                </c:pt>
                <c:pt idx="2400">
                  <c:v>65.291238083913242</c:v>
                </c:pt>
                <c:pt idx="2401">
                  <c:v>65.229799631369474</c:v>
                </c:pt>
                <c:pt idx="2402">
                  <c:v>66.37136571734365</c:v>
                </c:pt>
                <c:pt idx="2403">
                  <c:v>65.667796341439399</c:v>
                </c:pt>
                <c:pt idx="2404">
                  <c:v>66.850982024298091</c:v>
                </c:pt>
                <c:pt idx="2405">
                  <c:v>65.150524208732392</c:v>
                </c:pt>
                <c:pt idx="2406">
                  <c:v>65.142596666468648</c:v>
                </c:pt>
                <c:pt idx="2407">
                  <c:v>64.385516380284372</c:v>
                </c:pt>
                <c:pt idx="2408">
                  <c:v>63.907881958895864</c:v>
                </c:pt>
                <c:pt idx="2409">
                  <c:v>63.216203896387206</c:v>
                </c:pt>
                <c:pt idx="2410">
                  <c:v>63.662128148720896</c:v>
                </c:pt>
                <c:pt idx="2411">
                  <c:v>62.982341399607762</c:v>
                </c:pt>
                <c:pt idx="2412">
                  <c:v>64.115979943318266</c:v>
                </c:pt>
                <c:pt idx="2413">
                  <c:v>64.978100164496666</c:v>
                </c:pt>
                <c:pt idx="2414">
                  <c:v>66.761797173831368</c:v>
                </c:pt>
                <c:pt idx="2415">
                  <c:v>67.011514755138251</c:v>
                </c:pt>
                <c:pt idx="2416">
                  <c:v>67.269159878708805</c:v>
                </c:pt>
                <c:pt idx="2417">
                  <c:v>68.083714846304957</c:v>
                </c:pt>
                <c:pt idx="2418">
                  <c:v>68.658461660423924</c:v>
                </c:pt>
                <c:pt idx="2419">
                  <c:v>68.860613988148572</c:v>
                </c:pt>
                <c:pt idx="2420">
                  <c:v>70.182531660622132</c:v>
                </c:pt>
                <c:pt idx="2421">
                  <c:v>70.142893949303613</c:v>
                </c:pt>
                <c:pt idx="2422">
                  <c:v>70.438194898626776</c:v>
                </c:pt>
                <c:pt idx="2423">
                  <c:v>69.786154547436652</c:v>
                </c:pt>
                <c:pt idx="2424">
                  <c:v>70.384683988346779</c:v>
                </c:pt>
                <c:pt idx="2425">
                  <c:v>71.944427928731656</c:v>
                </c:pt>
                <c:pt idx="2426">
                  <c:v>71.833442337039671</c:v>
                </c:pt>
                <c:pt idx="2427">
                  <c:v>72.986899736409455</c:v>
                </c:pt>
                <c:pt idx="2428">
                  <c:v>72.774837980855239</c:v>
                </c:pt>
                <c:pt idx="2429">
                  <c:v>72.519174742850609</c:v>
                </c:pt>
                <c:pt idx="2430">
                  <c:v>72.846185861228633</c:v>
                </c:pt>
                <c:pt idx="2431">
                  <c:v>73.736052480330088</c:v>
                </c:pt>
                <c:pt idx="2432">
                  <c:v>73.379313078463099</c:v>
                </c:pt>
                <c:pt idx="2433">
                  <c:v>72.354678240878641</c:v>
                </c:pt>
                <c:pt idx="2434">
                  <c:v>73.131577382722185</c:v>
                </c:pt>
                <c:pt idx="2435">
                  <c:v>73.718215510236703</c:v>
                </c:pt>
                <c:pt idx="2436">
                  <c:v>73.169233208474793</c:v>
                </c:pt>
                <c:pt idx="2437">
                  <c:v>71.718492974215934</c:v>
                </c:pt>
                <c:pt idx="2438">
                  <c:v>72.677725588124787</c:v>
                </c:pt>
                <c:pt idx="2439">
                  <c:v>72.475573260400211</c:v>
                </c:pt>
                <c:pt idx="2440">
                  <c:v>73.500208097984668</c:v>
                </c:pt>
                <c:pt idx="2441">
                  <c:v>75.166973858929637</c:v>
                </c:pt>
                <c:pt idx="2442">
                  <c:v>75.803159125592373</c:v>
                </c:pt>
                <c:pt idx="2443">
                  <c:v>76.124224587272636</c:v>
                </c:pt>
                <c:pt idx="2444">
                  <c:v>75.682264106070789</c:v>
                </c:pt>
                <c:pt idx="2445">
                  <c:v>75.29579642071495</c:v>
                </c:pt>
                <c:pt idx="2446">
                  <c:v>76.037021622371824</c:v>
                </c:pt>
                <c:pt idx="2447">
                  <c:v>75.553441544285519</c:v>
                </c:pt>
                <c:pt idx="2448">
                  <c:v>74.1641397625704</c:v>
                </c:pt>
                <c:pt idx="2449">
                  <c:v>73.839110529758301</c:v>
                </c:pt>
                <c:pt idx="2450">
                  <c:v>73.866856927681255</c:v>
                </c:pt>
                <c:pt idx="2451">
                  <c:v>74.881582337436086</c:v>
                </c:pt>
                <c:pt idx="2452">
                  <c:v>75.95378242860285</c:v>
                </c:pt>
                <c:pt idx="2453">
                  <c:v>76.173771726420739</c:v>
                </c:pt>
                <c:pt idx="2454">
                  <c:v>76.891214301286524</c:v>
                </c:pt>
                <c:pt idx="2455">
                  <c:v>77.016073091939973</c:v>
                </c:pt>
                <c:pt idx="2456">
                  <c:v>77.424341518520976</c:v>
                </c:pt>
                <c:pt idx="2457">
                  <c:v>77.16471450938451</c:v>
                </c:pt>
                <c:pt idx="2458">
                  <c:v>77.301464613433481</c:v>
                </c:pt>
                <c:pt idx="2459">
                  <c:v>78.411320530352853</c:v>
                </c:pt>
                <c:pt idx="2460">
                  <c:v>78.823552728065749</c:v>
                </c:pt>
                <c:pt idx="2461">
                  <c:v>78.446994470539565</c:v>
                </c:pt>
                <c:pt idx="2462">
                  <c:v>77.836573716233886</c:v>
                </c:pt>
                <c:pt idx="2463">
                  <c:v>78.236914600551245</c:v>
                </c:pt>
                <c:pt idx="2464">
                  <c:v>78.413302415918793</c:v>
                </c:pt>
                <c:pt idx="2465">
                  <c:v>76.889232415720571</c:v>
                </c:pt>
                <c:pt idx="2466">
                  <c:v>76.55825752621071</c:v>
                </c:pt>
                <c:pt idx="2467">
                  <c:v>77.921794795568772</c:v>
                </c:pt>
                <c:pt idx="2468">
                  <c:v>78.044671700656281</c:v>
                </c:pt>
                <c:pt idx="2469">
                  <c:v>77.68991418435526</c:v>
                </c:pt>
                <c:pt idx="2470">
                  <c:v>76.457181362348393</c:v>
                </c:pt>
                <c:pt idx="2471">
                  <c:v>75.006441128089492</c:v>
                </c:pt>
                <c:pt idx="2472">
                  <c:v>75.644608280318181</c:v>
                </c:pt>
                <c:pt idx="2473">
                  <c:v>77.271736329944588</c:v>
                </c:pt>
                <c:pt idx="2474">
                  <c:v>76.998236121846602</c:v>
                </c:pt>
                <c:pt idx="2475">
                  <c:v>78.003052103771793</c:v>
                </c:pt>
                <c:pt idx="2476">
                  <c:v>77.77513526369016</c:v>
                </c:pt>
                <c:pt idx="2477">
                  <c:v>78.296371167529074</c:v>
                </c:pt>
                <c:pt idx="2478">
                  <c:v>77.529381453515171</c:v>
                </c:pt>
                <c:pt idx="2479">
                  <c:v>79.150563846443816</c:v>
                </c:pt>
                <c:pt idx="2480">
                  <c:v>79.247676239174282</c:v>
                </c:pt>
                <c:pt idx="2481">
                  <c:v>78.714549021939817</c:v>
                </c:pt>
                <c:pt idx="2482">
                  <c:v>79.92151733158957</c:v>
                </c:pt>
                <c:pt idx="2483">
                  <c:v>79.572705471986339</c:v>
                </c:pt>
                <c:pt idx="2484">
                  <c:v>79.883861505836947</c:v>
                </c:pt>
                <c:pt idx="2485">
                  <c:v>78.934538319757706</c:v>
                </c:pt>
                <c:pt idx="2486">
                  <c:v>78.504469151951469</c:v>
                </c:pt>
                <c:pt idx="2487">
                  <c:v>77.529381453515157</c:v>
                </c:pt>
                <c:pt idx="2488">
                  <c:v>77.66414967199826</c:v>
                </c:pt>
                <c:pt idx="2489">
                  <c:v>76.086568761520013</c:v>
                </c:pt>
                <c:pt idx="2490">
                  <c:v>77.495689398894399</c:v>
                </c:pt>
                <c:pt idx="2491">
                  <c:v>75.9577461997347</c:v>
                </c:pt>
                <c:pt idx="2492">
                  <c:v>76.185663039816376</c:v>
                </c:pt>
                <c:pt idx="2493">
                  <c:v>75.305705848544576</c:v>
                </c:pt>
                <c:pt idx="2494">
                  <c:v>76.693025744693799</c:v>
                </c:pt>
                <c:pt idx="2495">
                  <c:v>77.140931882593364</c:v>
                </c:pt>
                <c:pt idx="2496">
                  <c:v>77.311374041263136</c:v>
                </c:pt>
                <c:pt idx="2497">
                  <c:v>78.813643300236137</c:v>
                </c:pt>
                <c:pt idx="2498">
                  <c:v>78.672929425055273</c:v>
                </c:pt>
                <c:pt idx="2499">
                  <c:v>79.021741284658489</c:v>
                </c:pt>
                <c:pt idx="2500">
                  <c:v>79.154527617575638</c:v>
                </c:pt>
                <c:pt idx="2501">
                  <c:v>79.564777929722609</c:v>
                </c:pt>
                <c:pt idx="2502">
                  <c:v>80.704362130130889</c:v>
                </c:pt>
                <c:pt idx="2503">
                  <c:v>80.39122421071437</c:v>
                </c:pt>
                <c:pt idx="2504">
                  <c:v>80.220782052044569</c:v>
                </c:pt>
                <c:pt idx="2505">
                  <c:v>78.892918722873219</c:v>
                </c:pt>
                <c:pt idx="2506">
                  <c:v>78.286461739699419</c:v>
                </c:pt>
                <c:pt idx="2507">
                  <c:v>79.864042650177694</c:v>
                </c:pt>
                <c:pt idx="2508">
                  <c:v>79.344788631904677</c:v>
                </c:pt>
                <c:pt idx="2509">
                  <c:v>79.697564262639773</c:v>
                </c:pt>
                <c:pt idx="2510">
                  <c:v>77.089402857879264</c:v>
                </c:pt>
                <c:pt idx="2511">
                  <c:v>77.975305705848839</c:v>
                </c:pt>
                <c:pt idx="2512">
                  <c:v>76.871395445627257</c:v>
                </c:pt>
                <c:pt idx="2513">
                  <c:v>78.93652020532366</c:v>
                </c:pt>
                <c:pt idx="2514">
                  <c:v>79.328933547377275</c:v>
                </c:pt>
                <c:pt idx="2515">
                  <c:v>79.19020155776235</c:v>
                </c:pt>
                <c:pt idx="2516">
                  <c:v>80.058267435638584</c:v>
                </c:pt>
                <c:pt idx="2517">
                  <c:v>79.687654834810147</c:v>
                </c:pt>
                <c:pt idx="2518">
                  <c:v>78.445012584973668</c:v>
                </c:pt>
                <c:pt idx="2519">
                  <c:v>77.614602532850043</c:v>
                </c:pt>
                <c:pt idx="2520">
                  <c:v>78.409338644786928</c:v>
                </c:pt>
                <c:pt idx="2521">
                  <c:v>78.807697643538347</c:v>
                </c:pt>
                <c:pt idx="2522">
                  <c:v>79.426045940107713</c:v>
                </c:pt>
                <c:pt idx="2523">
                  <c:v>79.481538735953649</c:v>
                </c:pt>
                <c:pt idx="2524">
                  <c:v>80.500227916840373</c:v>
                </c:pt>
                <c:pt idx="2525">
                  <c:v>79.489466278217378</c:v>
                </c:pt>
                <c:pt idx="2526">
                  <c:v>79.170382702103026</c:v>
                </c:pt>
                <c:pt idx="2527">
                  <c:v>80.258437877797164</c:v>
                </c:pt>
                <c:pt idx="2528">
                  <c:v>80.769764353806451</c:v>
                </c:pt>
                <c:pt idx="2529">
                  <c:v>81.01551816398144</c:v>
                </c:pt>
                <c:pt idx="2530">
                  <c:v>81.017500049547408</c:v>
                </c:pt>
                <c:pt idx="2531">
                  <c:v>81.429732247260276</c:v>
                </c:pt>
                <c:pt idx="2532">
                  <c:v>81.727015082149393</c:v>
                </c:pt>
                <c:pt idx="2533">
                  <c:v>81.435677903958052</c:v>
                </c:pt>
                <c:pt idx="2534">
                  <c:v>81.671522286303414</c:v>
                </c:pt>
                <c:pt idx="2535">
                  <c:v>82.880472481519149</c:v>
                </c:pt>
                <c:pt idx="2536">
                  <c:v>82.862635511425793</c:v>
                </c:pt>
                <c:pt idx="2537">
                  <c:v>82.981548645381466</c:v>
                </c:pt>
                <c:pt idx="2538">
                  <c:v>83.009295043304462</c:v>
                </c:pt>
                <c:pt idx="2539">
                  <c:v>83.366034445171422</c:v>
                </c:pt>
                <c:pt idx="2540">
                  <c:v>83.259012624611344</c:v>
                </c:pt>
                <c:pt idx="2541">
                  <c:v>82.480131597201847</c:v>
                </c:pt>
                <c:pt idx="2542">
                  <c:v>82.666428840399021</c:v>
                </c:pt>
                <c:pt idx="2543">
                  <c:v>83.272885823572807</c:v>
                </c:pt>
                <c:pt idx="2544">
                  <c:v>82.499950452861128</c:v>
                </c:pt>
                <c:pt idx="2545">
                  <c:v>83.068751610282277</c:v>
                </c:pt>
                <c:pt idx="2546">
                  <c:v>83.726737618170176</c:v>
                </c:pt>
                <c:pt idx="2547">
                  <c:v>82.46625839824037</c:v>
                </c:pt>
                <c:pt idx="2548">
                  <c:v>81.326674197832077</c:v>
                </c:pt>
                <c:pt idx="2549">
                  <c:v>80.411043066373637</c:v>
                </c:pt>
                <c:pt idx="2550">
                  <c:v>79.88980716253468</c:v>
                </c:pt>
                <c:pt idx="2551">
                  <c:v>80.252492221099416</c:v>
                </c:pt>
                <c:pt idx="2552">
                  <c:v>79.594506213211531</c:v>
                </c:pt>
                <c:pt idx="2553">
                  <c:v>78.726440335335312</c:v>
                </c:pt>
                <c:pt idx="2554">
                  <c:v>79.481538735953663</c:v>
                </c:pt>
                <c:pt idx="2555">
                  <c:v>79.965118814039954</c:v>
                </c:pt>
                <c:pt idx="2556">
                  <c:v>80.730126642487946</c:v>
                </c:pt>
                <c:pt idx="2557">
                  <c:v>80.311948788077274</c:v>
                </c:pt>
                <c:pt idx="2558">
                  <c:v>78.15367540678227</c:v>
                </c:pt>
                <c:pt idx="2559">
                  <c:v>76.469072675743973</c:v>
                </c:pt>
                <c:pt idx="2560">
                  <c:v>76.936797669302848</c:v>
                </c:pt>
                <c:pt idx="2561">
                  <c:v>77.025982519769542</c:v>
                </c:pt>
                <c:pt idx="2562">
                  <c:v>77.624511960679669</c:v>
                </c:pt>
                <c:pt idx="2563">
                  <c:v>77.888102740948014</c:v>
                </c:pt>
                <c:pt idx="2564">
                  <c:v>77.658204015300413</c:v>
                </c:pt>
                <c:pt idx="2565">
                  <c:v>77.947559307925843</c:v>
                </c:pt>
                <c:pt idx="2566">
                  <c:v>78.742295419862742</c:v>
                </c:pt>
                <c:pt idx="2567">
                  <c:v>79.842241908952445</c:v>
                </c:pt>
                <c:pt idx="2568">
                  <c:v>80.309966902511306</c:v>
                </c:pt>
                <c:pt idx="2569">
                  <c:v>80.684543274471608</c:v>
                </c:pt>
                <c:pt idx="2570">
                  <c:v>80.482390946747003</c:v>
                </c:pt>
                <c:pt idx="2571">
                  <c:v>79.539013417365567</c:v>
                </c:pt>
                <c:pt idx="2572">
                  <c:v>79.713419347167175</c:v>
                </c:pt>
                <c:pt idx="2573">
                  <c:v>78.445012584973625</c:v>
                </c:pt>
                <c:pt idx="2574">
                  <c:v>79.255603781437927</c:v>
                </c:pt>
                <c:pt idx="2575">
                  <c:v>80.185108111857858</c:v>
                </c:pt>
                <c:pt idx="2576">
                  <c:v>80.85894920427323</c:v>
                </c:pt>
                <c:pt idx="2577">
                  <c:v>81.510989555463354</c:v>
                </c:pt>
                <c:pt idx="2578">
                  <c:v>81.673504171869396</c:v>
                </c:pt>
                <c:pt idx="2579">
                  <c:v>82.993439958777088</c:v>
                </c:pt>
                <c:pt idx="2580">
                  <c:v>82.922092078403665</c:v>
                </c:pt>
                <c:pt idx="2581">
                  <c:v>82.878490595953267</c:v>
                </c:pt>
                <c:pt idx="2582">
                  <c:v>83.407654042055924</c:v>
                </c:pt>
                <c:pt idx="2583">
                  <c:v>83.203519828765394</c:v>
                </c:pt>
                <c:pt idx="2584">
                  <c:v>83.459183066770052</c:v>
                </c:pt>
                <c:pt idx="2585">
                  <c:v>82.898309451612562</c:v>
                </c:pt>
                <c:pt idx="2586">
                  <c:v>83.667281051192433</c:v>
                </c:pt>
                <c:pt idx="2587">
                  <c:v>84.444180193035976</c:v>
                </c:pt>
                <c:pt idx="2588">
                  <c:v>84.398596825019652</c:v>
                </c:pt>
                <c:pt idx="2589">
                  <c:v>84.077531363339389</c:v>
                </c:pt>
                <c:pt idx="2590">
                  <c:v>84.051766850982332</c:v>
                </c:pt>
                <c:pt idx="2591">
                  <c:v>84.612640466139808</c:v>
                </c:pt>
                <c:pt idx="2592">
                  <c:v>84.733535485661392</c:v>
                </c:pt>
                <c:pt idx="2593">
                  <c:v>85.579800622312376</c:v>
                </c:pt>
                <c:pt idx="2594">
                  <c:v>85.211169907049879</c:v>
                </c:pt>
                <c:pt idx="2595">
                  <c:v>85.320173613175868</c:v>
                </c:pt>
                <c:pt idx="2596">
                  <c:v>85.314227956478092</c:v>
                </c:pt>
                <c:pt idx="2597">
                  <c:v>85.223061220445416</c:v>
                </c:pt>
                <c:pt idx="2598">
                  <c:v>86.550924549616795</c:v>
                </c:pt>
                <c:pt idx="2599">
                  <c:v>87.117743821472033</c:v>
                </c:pt>
                <c:pt idx="2600">
                  <c:v>86.887845095824446</c:v>
                </c:pt>
                <c:pt idx="2601">
                  <c:v>86.13869235190387</c:v>
                </c:pt>
                <c:pt idx="2602">
                  <c:v>87.264403353350673</c:v>
                </c:pt>
                <c:pt idx="2603">
                  <c:v>87.155399647224627</c:v>
                </c:pt>
                <c:pt idx="2604">
                  <c:v>86.939374120538531</c:v>
                </c:pt>
                <c:pt idx="2605">
                  <c:v>87.533939790316765</c:v>
                </c:pt>
                <c:pt idx="2606">
                  <c:v>88.104722833303839</c:v>
                </c:pt>
                <c:pt idx="2607">
                  <c:v>86.745149335077656</c:v>
                </c:pt>
                <c:pt idx="2608">
                  <c:v>86.214004003409087</c:v>
                </c:pt>
                <c:pt idx="2609">
                  <c:v>87.397189686267808</c:v>
                </c:pt>
                <c:pt idx="2610">
                  <c:v>86.913609608181517</c:v>
                </c:pt>
                <c:pt idx="2611">
                  <c:v>85.978159621063753</c:v>
                </c:pt>
                <c:pt idx="2612">
                  <c:v>86.689656539231677</c:v>
                </c:pt>
                <c:pt idx="2613">
                  <c:v>87.563668073805673</c:v>
                </c:pt>
                <c:pt idx="2614">
                  <c:v>84.83064787839173</c:v>
                </c:pt>
                <c:pt idx="2615">
                  <c:v>83.762411558356845</c:v>
                </c:pt>
                <c:pt idx="2616">
                  <c:v>84.927760271122196</c:v>
                </c:pt>
                <c:pt idx="2617">
                  <c:v>84.376796083794346</c:v>
                </c:pt>
                <c:pt idx="2618">
                  <c:v>84.634441207364929</c:v>
                </c:pt>
                <c:pt idx="2619">
                  <c:v>82.256178528252008</c:v>
                </c:pt>
                <c:pt idx="2620">
                  <c:v>81.570446122441084</c:v>
                </c:pt>
                <c:pt idx="2621">
                  <c:v>80.428880036466879</c:v>
                </c:pt>
                <c:pt idx="2622">
                  <c:v>77.325247240224556</c:v>
                </c:pt>
                <c:pt idx="2623">
                  <c:v>82.864617396991719</c:v>
                </c:pt>
                <c:pt idx="2624">
                  <c:v>82.513823651822591</c:v>
                </c:pt>
                <c:pt idx="2625">
                  <c:v>83.744574588263546</c:v>
                </c:pt>
                <c:pt idx="2626">
                  <c:v>83.956636343817763</c:v>
                </c:pt>
                <c:pt idx="2627">
                  <c:v>81.112630556711864</c:v>
                </c:pt>
                <c:pt idx="2628">
                  <c:v>80.995699308322187</c:v>
                </c:pt>
                <c:pt idx="2629">
                  <c:v>82.046098658263716</c:v>
                </c:pt>
                <c:pt idx="2630">
                  <c:v>79.610361297738891</c:v>
                </c:pt>
                <c:pt idx="2631">
                  <c:v>77.888102740947971</c:v>
                </c:pt>
                <c:pt idx="2632">
                  <c:v>77.513526368987698</c:v>
                </c:pt>
                <c:pt idx="2633">
                  <c:v>77.870265770854616</c:v>
                </c:pt>
                <c:pt idx="2634">
                  <c:v>75.93990922964133</c:v>
                </c:pt>
                <c:pt idx="2635">
                  <c:v>77.789008462651566</c:v>
                </c:pt>
                <c:pt idx="2636">
                  <c:v>80.13357908714373</c:v>
                </c:pt>
                <c:pt idx="2637">
                  <c:v>79.891789048100591</c:v>
                </c:pt>
                <c:pt idx="2638">
                  <c:v>80.216818280912705</c:v>
                </c:pt>
                <c:pt idx="2639">
                  <c:v>80.345640842697961</c:v>
                </c:pt>
                <c:pt idx="2640">
                  <c:v>80.444735120994352</c:v>
                </c:pt>
                <c:pt idx="2641">
                  <c:v>81.596210634798197</c:v>
                </c:pt>
                <c:pt idx="2642">
                  <c:v>80.161325485066754</c:v>
                </c:pt>
                <c:pt idx="2643">
                  <c:v>79.570723586420357</c:v>
                </c:pt>
                <c:pt idx="2644">
                  <c:v>78.700675822978241</c:v>
                </c:pt>
                <c:pt idx="2645">
                  <c:v>80.204926967517181</c:v>
                </c:pt>
                <c:pt idx="2646">
                  <c:v>81.475315615276642</c:v>
                </c:pt>
                <c:pt idx="2647">
                  <c:v>81.804308619220578</c:v>
                </c:pt>
                <c:pt idx="2648">
                  <c:v>82.840834770200644</c:v>
                </c:pt>
                <c:pt idx="2649">
                  <c:v>83.41756346988555</c:v>
                </c:pt>
                <c:pt idx="2650">
                  <c:v>83.486929464692992</c:v>
                </c:pt>
                <c:pt idx="2651">
                  <c:v>83.621697683176052</c:v>
                </c:pt>
                <c:pt idx="2652">
                  <c:v>83.788176070713916</c:v>
                </c:pt>
                <c:pt idx="2653">
                  <c:v>84.683988346513104</c:v>
                </c:pt>
                <c:pt idx="2654">
                  <c:v>84.273738034366133</c:v>
                </c:pt>
                <c:pt idx="2655">
                  <c:v>83.465128723467757</c:v>
                </c:pt>
                <c:pt idx="2656">
                  <c:v>81.939076837703624</c:v>
                </c:pt>
                <c:pt idx="2657">
                  <c:v>81.463424301881062</c:v>
                </c:pt>
                <c:pt idx="2658">
                  <c:v>82.458330855976598</c:v>
                </c:pt>
                <c:pt idx="2659">
                  <c:v>79.982955784133267</c:v>
                </c:pt>
                <c:pt idx="2660">
                  <c:v>79.828368709990897</c:v>
                </c:pt>
                <c:pt idx="2661">
                  <c:v>77.86828388528869</c:v>
                </c:pt>
                <c:pt idx="2662">
                  <c:v>77.862338228590886</c:v>
                </c:pt>
                <c:pt idx="2663">
                  <c:v>77.672077214261847</c:v>
                </c:pt>
                <c:pt idx="2664">
                  <c:v>79.667835979150809</c:v>
                </c:pt>
                <c:pt idx="2665">
                  <c:v>80.755891154844932</c:v>
                </c:pt>
                <c:pt idx="2666">
                  <c:v>81.592246863666318</c:v>
                </c:pt>
                <c:pt idx="2667">
                  <c:v>82.081772598450371</c:v>
                </c:pt>
                <c:pt idx="2668">
                  <c:v>82.448421428146986</c:v>
                </c:pt>
                <c:pt idx="2669">
                  <c:v>84.024020453059279</c:v>
                </c:pt>
                <c:pt idx="2670">
                  <c:v>84.004201597400012</c:v>
                </c:pt>
                <c:pt idx="2671">
                  <c:v>83.035059555661491</c:v>
                </c:pt>
                <c:pt idx="2672">
                  <c:v>81.441623560655884</c:v>
                </c:pt>
                <c:pt idx="2673">
                  <c:v>80.80742017955906</c:v>
                </c:pt>
                <c:pt idx="2674">
                  <c:v>80.86291297540501</c:v>
                </c:pt>
                <c:pt idx="2675">
                  <c:v>81.820163703747966</c:v>
                </c:pt>
                <c:pt idx="2676">
                  <c:v>83.504766434786276</c:v>
                </c:pt>
                <c:pt idx="2677">
                  <c:v>84.027984224191144</c:v>
                </c:pt>
                <c:pt idx="2678">
                  <c:v>84.408506252849193</c:v>
                </c:pt>
                <c:pt idx="2679">
                  <c:v>84.73155360009541</c:v>
                </c:pt>
                <c:pt idx="2680">
                  <c:v>84.462017163129246</c:v>
                </c:pt>
                <c:pt idx="2681">
                  <c:v>84.156806785976428</c:v>
                </c:pt>
                <c:pt idx="2682">
                  <c:v>83.857542065521372</c:v>
                </c:pt>
                <c:pt idx="2683">
                  <c:v>86.087163327189742</c:v>
                </c:pt>
                <c:pt idx="2684">
                  <c:v>86.079235784926013</c:v>
                </c:pt>
                <c:pt idx="2685">
                  <c:v>86.166438749826796</c:v>
                </c:pt>
                <c:pt idx="2686">
                  <c:v>85.938521909745191</c:v>
                </c:pt>
                <c:pt idx="2687">
                  <c:v>85.026854549418573</c:v>
                </c:pt>
                <c:pt idx="2688">
                  <c:v>86.19418514774982</c:v>
                </c:pt>
                <c:pt idx="2689">
                  <c:v>85.429177319301829</c:v>
                </c:pt>
                <c:pt idx="2690">
                  <c:v>83.742592702697593</c:v>
                </c:pt>
                <c:pt idx="2691">
                  <c:v>83.825831896466511</c:v>
                </c:pt>
                <c:pt idx="2692">
                  <c:v>84.029966109757083</c:v>
                </c:pt>
                <c:pt idx="2693">
                  <c:v>84.047803079850425</c:v>
                </c:pt>
                <c:pt idx="2694">
                  <c:v>84.987216838100025</c:v>
                </c:pt>
                <c:pt idx="2695">
                  <c:v>84.747408684622826</c:v>
                </c:pt>
                <c:pt idx="2696">
                  <c:v>83.530530947143376</c:v>
                </c:pt>
                <c:pt idx="2697">
                  <c:v>82.95776601859032</c:v>
                </c:pt>
                <c:pt idx="2698">
                  <c:v>83.486929464692977</c:v>
                </c:pt>
                <c:pt idx="2699">
                  <c:v>82.069881285054848</c:v>
                </c:pt>
                <c:pt idx="2700">
                  <c:v>81.441623560655884</c:v>
                </c:pt>
                <c:pt idx="2701">
                  <c:v>82.137265394296392</c:v>
                </c:pt>
                <c:pt idx="2702">
                  <c:v>82.662465069267157</c:v>
                </c:pt>
                <c:pt idx="2703">
                  <c:v>82.650573755871562</c:v>
                </c:pt>
                <c:pt idx="2704">
                  <c:v>82.698139009453826</c:v>
                </c:pt>
                <c:pt idx="2705">
                  <c:v>84.969379868006683</c:v>
                </c:pt>
                <c:pt idx="2706">
                  <c:v>84.969379868006683</c:v>
                </c:pt>
                <c:pt idx="2707">
                  <c:v>85.698713756267978</c:v>
                </c:pt>
                <c:pt idx="2708">
                  <c:v>85.875101571635497</c:v>
                </c:pt>
                <c:pt idx="2709">
                  <c:v>85.488633886279686</c:v>
                </c:pt>
                <c:pt idx="2710">
                  <c:v>86.366609191985532</c:v>
                </c:pt>
                <c:pt idx="2711">
                  <c:v>87.274312781180299</c:v>
                </c:pt>
                <c:pt idx="2712">
                  <c:v>87.149453990526879</c:v>
                </c:pt>
                <c:pt idx="2713">
                  <c:v>87.728164575777697</c:v>
                </c:pt>
                <c:pt idx="2714">
                  <c:v>87.70834572011843</c:v>
                </c:pt>
                <c:pt idx="2715">
                  <c:v>87.42691796975673</c:v>
                </c:pt>
                <c:pt idx="2716">
                  <c:v>86.749113106209563</c:v>
                </c:pt>
                <c:pt idx="2717">
                  <c:v>86.546960778484959</c:v>
                </c:pt>
                <c:pt idx="2718">
                  <c:v>87.666726123233943</c:v>
                </c:pt>
                <c:pt idx="2719">
                  <c:v>87.268367124482523</c:v>
                </c:pt>
                <c:pt idx="2720">
                  <c:v>86.017797332382315</c:v>
                </c:pt>
                <c:pt idx="2721">
                  <c:v>85.978159621063796</c:v>
                </c:pt>
                <c:pt idx="2722">
                  <c:v>86.935410349406709</c:v>
                </c:pt>
                <c:pt idx="2723">
                  <c:v>86.586598489803492</c:v>
                </c:pt>
                <c:pt idx="2724">
                  <c:v>86.404265017738197</c:v>
                </c:pt>
                <c:pt idx="2725">
                  <c:v>85.970232078800052</c:v>
                </c:pt>
                <c:pt idx="2726">
                  <c:v>85.540162910993814</c:v>
                </c:pt>
                <c:pt idx="2727">
                  <c:v>85.336028697703284</c:v>
                </c:pt>
                <c:pt idx="2728">
                  <c:v>84.89010444536963</c:v>
                </c:pt>
                <c:pt idx="2729">
                  <c:v>86.023742989080091</c:v>
                </c:pt>
                <c:pt idx="2730">
                  <c:v>86.467685355847877</c:v>
                </c:pt>
                <c:pt idx="2731">
                  <c:v>86.402283132172244</c:v>
                </c:pt>
                <c:pt idx="2732">
                  <c:v>86.388409933210752</c:v>
                </c:pt>
                <c:pt idx="2733">
                  <c:v>86.701547852627286</c:v>
                </c:pt>
                <c:pt idx="2734">
                  <c:v>86.463721584716012</c:v>
                </c:pt>
                <c:pt idx="2735">
                  <c:v>87.714291376816206</c:v>
                </c:pt>
                <c:pt idx="2736">
                  <c:v>87.527994133619018</c:v>
                </c:pt>
                <c:pt idx="2737">
                  <c:v>87.591414471728726</c:v>
                </c:pt>
                <c:pt idx="2738">
                  <c:v>87.858969023128893</c:v>
                </c:pt>
                <c:pt idx="2739">
                  <c:v>87.395207800701868</c:v>
                </c:pt>
                <c:pt idx="2740">
                  <c:v>87.700418177854687</c:v>
                </c:pt>
                <c:pt idx="2741">
                  <c:v>88.193907683770647</c:v>
                </c:pt>
                <c:pt idx="2742">
                  <c:v>87.904552391145259</c:v>
                </c:pt>
                <c:pt idx="2743">
                  <c:v>88.130487345660939</c:v>
                </c:pt>
                <c:pt idx="2744">
                  <c:v>87.962027072557106</c:v>
                </c:pt>
                <c:pt idx="2745">
                  <c:v>87.323859920328502</c:v>
                </c:pt>
                <c:pt idx="2746">
                  <c:v>87.642943496442811</c:v>
                </c:pt>
                <c:pt idx="2747">
                  <c:v>87.664744237668003</c:v>
                </c:pt>
                <c:pt idx="2748">
                  <c:v>87.807439998414793</c:v>
                </c:pt>
                <c:pt idx="2749">
                  <c:v>88.174088828111337</c:v>
                </c:pt>
                <c:pt idx="2750">
                  <c:v>87.864914679826697</c:v>
                </c:pt>
                <c:pt idx="2751">
                  <c:v>89.285926630596649</c:v>
                </c:pt>
                <c:pt idx="2752">
                  <c:v>89.662484888122862</c:v>
                </c:pt>
                <c:pt idx="2753">
                  <c:v>89.678339972650249</c:v>
                </c:pt>
                <c:pt idx="2754">
                  <c:v>90.189666448659551</c:v>
                </c:pt>
                <c:pt idx="2755">
                  <c:v>89.561408724260573</c:v>
                </c:pt>
                <c:pt idx="2756">
                  <c:v>89.531680440771666</c:v>
                </c:pt>
                <c:pt idx="2757">
                  <c:v>89.167013496641005</c:v>
                </c:pt>
                <c:pt idx="2758">
                  <c:v>89.886437957072658</c:v>
                </c:pt>
                <c:pt idx="2759">
                  <c:v>87.781675486057722</c:v>
                </c:pt>
                <c:pt idx="2760">
                  <c:v>88.2731831064077</c:v>
                </c:pt>
                <c:pt idx="2761">
                  <c:v>89.543571754167203</c:v>
                </c:pt>
                <c:pt idx="2762">
                  <c:v>88.998553223537186</c:v>
                </c:pt>
                <c:pt idx="2763">
                  <c:v>88.427770180550041</c:v>
                </c:pt>
                <c:pt idx="2764">
                  <c:v>87.066214796757905</c:v>
                </c:pt>
                <c:pt idx="2765">
                  <c:v>87.956081415859316</c:v>
                </c:pt>
                <c:pt idx="2766">
                  <c:v>88.425788294984116</c:v>
                </c:pt>
                <c:pt idx="2767">
                  <c:v>88.057157579721633</c:v>
                </c:pt>
                <c:pt idx="2768">
                  <c:v>86.594526032067222</c:v>
                </c:pt>
                <c:pt idx="2769">
                  <c:v>86.483540440375307</c:v>
                </c:pt>
                <c:pt idx="2770">
                  <c:v>88.247418594050686</c:v>
                </c:pt>
                <c:pt idx="2771">
                  <c:v>89.735814654062196</c:v>
                </c:pt>
                <c:pt idx="2772">
                  <c:v>89.521771012942025</c:v>
                </c:pt>
                <c:pt idx="2773">
                  <c:v>89.666448659254726</c:v>
                </c:pt>
                <c:pt idx="2774">
                  <c:v>90.500822482510202</c:v>
                </c:pt>
                <c:pt idx="2775">
                  <c:v>90.859543769943059</c:v>
                </c:pt>
                <c:pt idx="2776">
                  <c:v>91.176645460491429</c:v>
                </c:pt>
                <c:pt idx="2777">
                  <c:v>91.259884654260404</c:v>
                </c:pt>
                <c:pt idx="2778">
                  <c:v>91.52942109122651</c:v>
                </c:pt>
                <c:pt idx="2779">
                  <c:v>91.749410389044471</c:v>
                </c:pt>
                <c:pt idx="2780">
                  <c:v>91.38276155934787</c:v>
                </c:pt>
                <c:pt idx="2781">
                  <c:v>91.737519075648905</c:v>
                </c:pt>
                <c:pt idx="2782">
                  <c:v>91.349069504727126</c:v>
                </c:pt>
                <c:pt idx="2783">
                  <c:v>91.997146084785399</c:v>
                </c:pt>
                <c:pt idx="2784">
                  <c:v>92.900885902848287</c:v>
                </c:pt>
                <c:pt idx="2785">
                  <c:v>93.013853380106156</c:v>
                </c:pt>
                <c:pt idx="2786">
                  <c:v>93.116911429534369</c:v>
                </c:pt>
                <c:pt idx="2787">
                  <c:v>93.007907723408351</c:v>
                </c:pt>
                <c:pt idx="2788">
                  <c:v>92.26470063618558</c:v>
                </c:pt>
                <c:pt idx="2789">
                  <c:v>92.464871078344245</c:v>
                </c:pt>
                <c:pt idx="2790">
                  <c:v>92.748280714271871</c:v>
                </c:pt>
                <c:pt idx="2791">
                  <c:v>91.557167489149506</c:v>
                </c:pt>
                <c:pt idx="2792">
                  <c:v>91.156826604832133</c:v>
                </c:pt>
                <c:pt idx="2793">
                  <c:v>91.890124264225307</c:v>
                </c:pt>
                <c:pt idx="2794">
                  <c:v>92.669005291634747</c:v>
                </c:pt>
                <c:pt idx="2795">
                  <c:v>92.702697346255519</c:v>
                </c:pt>
                <c:pt idx="2796">
                  <c:v>93.037636006897273</c:v>
                </c:pt>
                <c:pt idx="2797">
                  <c:v>92.883048932754875</c:v>
                </c:pt>
                <c:pt idx="2798">
                  <c:v>92.050656995065395</c:v>
                </c:pt>
                <c:pt idx="2799">
                  <c:v>93.208078165567002</c:v>
                </c:pt>
                <c:pt idx="2800">
                  <c:v>94.468557385496879</c:v>
                </c:pt>
                <c:pt idx="2801">
                  <c:v>93.895792456943823</c:v>
                </c:pt>
                <c:pt idx="2802">
                  <c:v>93.80462572091119</c:v>
                </c:pt>
                <c:pt idx="2803">
                  <c:v>93.91561131260309</c:v>
                </c:pt>
                <c:pt idx="2804">
                  <c:v>94.789622847177114</c:v>
                </c:pt>
                <c:pt idx="2805">
                  <c:v>93.485542144796838</c:v>
                </c:pt>
                <c:pt idx="2806">
                  <c:v>92.383613770141196</c:v>
                </c:pt>
                <c:pt idx="2807">
                  <c:v>93.003943952276472</c:v>
                </c:pt>
                <c:pt idx="2808">
                  <c:v>93.24771587688555</c:v>
                </c:pt>
                <c:pt idx="2809">
                  <c:v>92.621440038052469</c:v>
                </c:pt>
                <c:pt idx="2810">
                  <c:v>93.441940662346482</c:v>
                </c:pt>
                <c:pt idx="2811">
                  <c:v>93.580672651961351</c:v>
                </c:pt>
                <c:pt idx="2812">
                  <c:v>92.778008997760736</c:v>
                </c:pt>
                <c:pt idx="2813">
                  <c:v>92.64324077927769</c:v>
                </c:pt>
                <c:pt idx="2814">
                  <c:v>94.016687476465378</c:v>
                </c:pt>
                <c:pt idx="2815">
                  <c:v>94.18118397843736</c:v>
                </c:pt>
                <c:pt idx="2816">
                  <c:v>94.317934082486332</c:v>
                </c:pt>
                <c:pt idx="2817">
                  <c:v>94.615216917375463</c:v>
                </c:pt>
                <c:pt idx="2818">
                  <c:v>95.554630675625077</c:v>
                </c:pt>
                <c:pt idx="2819">
                  <c:v>95.495174108647262</c:v>
                </c:pt>
                <c:pt idx="2820">
                  <c:v>95.156271676873658</c:v>
                </c:pt>
                <c:pt idx="2821">
                  <c:v>94.967992548110587</c:v>
                </c:pt>
                <c:pt idx="2822">
                  <c:v>95.3703153179938</c:v>
                </c:pt>
                <c:pt idx="2823">
                  <c:v>95.740927918822265</c:v>
                </c:pt>
                <c:pt idx="2824">
                  <c:v>95.849931624948297</c:v>
                </c:pt>
                <c:pt idx="2825">
                  <c:v>96.274055136056745</c:v>
                </c:pt>
                <c:pt idx="2826">
                  <c:v>96.422696553501297</c:v>
                </c:pt>
                <c:pt idx="2827">
                  <c:v>96.385040727748688</c:v>
                </c:pt>
                <c:pt idx="2828">
                  <c:v>95.106724537725498</c:v>
                </c:pt>
                <c:pt idx="2829">
                  <c:v>94.512158867947292</c:v>
                </c:pt>
                <c:pt idx="2830">
                  <c:v>93.53310739837913</c:v>
                </c:pt>
                <c:pt idx="2831">
                  <c:v>92.976197554353519</c:v>
                </c:pt>
                <c:pt idx="2832">
                  <c:v>94.153437580514378</c:v>
                </c:pt>
                <c:pt idx="2833">
                  <c:v>94.932318607923861</c:v>
                </c:pt>
                <c:pt idx="2834">
                  <c:v>94.327843510316001</c:v>
                </c:pt>
                <c:pt idx="2835">
                  <c:v>93.73129595497187</c:v>
                </c:pt>
                <c:pt idx="2836">
                  <c:v>94.042451988822464</c:v>
                </c:pt>
                <c:pt idx="2837">
                  <c:v>93.487524030362806</c:v>
                </c:pt>
                <c:pt idx="2838">
                  <c:v>93.097092573875102</c:v>
                </c:pt>
                <c:pt idx="2839">
                  <c:v>93.457795746873884</c:v>
                </c:pt>
                <c:pt idx="2840">
                  <c:v>93.311136214995273</c:v>
                </c:pt>
                <c:pt idx="2841">
                  <c:v>92.219117268169256</c:v>
                </c:pt>
                <c:pt idx="2842">
                  <c:v>91.402580415007137</c:v>
                </c:pt>
                <c:pt idx="2843">
                  <c:v>90.435420258834554</c:v>
                </c:pt>
                <c:pt idx="2844">
                  <c:v>88.384168698099657</c:v>
                </c:pt>
                <c:pt idx="2845">
                  <c:v>87.038468398834908</c:v>
                </c:pt>
                <c:pt idx="2846">
                  <c:v>88.66956021959318</c:v>
                </c:pt>
                <c:pt idx="2847">
                  <c:v>88.851893691658532</c:v>
                </c:pt>
                <c:pt idx="2848">
                  <c:v>90.413619517609334</c:v>
                </c:pt>
                <c:pt idx="2849">
                  <c:v>90.2372317022418</c:v>
                </c:pt>
                <c:pt idx="2850">
                  <c:v>90.685137840141365</c:v>
                </c:pt>
                <c:pt idx="2851">
                  <c:v>91.580950115940581</c:v>
                </c:pt>
                <c:pt idx="2852">
                  <c:v>91.678062508671019</c:v>
                </c:pt>
                <c:pt idx="2853">
                  <c:v>91.759319816874068</c:v>
                </c:pt>
                <c:pt idx="2854">
                  <c:v>91.846522781774894</c:v>
                </c:pt>
                <c:pt idx="2855">
                  <c:v>92.544146500981341</c:v>
                </c:pt>
                <c:pt idx="2856">
                  <c:v>91.668153080841421</c:v>
                </c:pt>
                <c:pt idx="2857">
                  <c:v>93.055472976990586</c:v>
                </c:pt>
                <c:pt idx="2858">
                  <c:v>93.18231365320996</c:v>
                </c:pt>
                <c:pt idx="2859">
                  <c:v>93.400321065461981</c:v>
                </c:pt>
                <c:pt idx="2860">
                  <c:v>93.634183562241432</c:v>
                </c:pt>
                <c:pt idx="2861">
                  <c:v>93.382484095368653</c:v>
                </c:pt>
                <c:pt idx="2862">
                  <c:v>93.701567671482962</c:v>
                </c:pt>
                <c:pt idx="2863">
                  <c:v>93.477614602533166</c:v>
                </c:pt>
                <c:pt idx="2864">
                  <c:v>91.898051806488979</c:v>
                </c:pt>
                <c:pt idx="2865">
                  <c:v>92.58774798343174</c:v>
                </c:pt>
                <c:pt idx="2866">
                  <c:v>92.21118972590557</c:v>
                </c:pt>
                <c:pt idx="2867">
                  <c:v>92.478744277305751</c:v>
                </c:pt>
                <c:pt idx="2868">
                  <c:v>90.966565590503123</c:v>
                </c:pt>
                <c:pt idx="2869">
                  <c:v>91.438254355193862</c:v>
                </c:pt>
                <c:pt idx="2870">
                  <c:v>93.015835265672095</c:v>
                </c:pt>
                <c:pt idx="2871">
                  <c:v>93.541034940642888</c:v>
                </c:pt>
                <c:pt idx="2872">
                  <c:v>93.81651703430677</c:v>
                </c:pt>
                <c:pt idx="2873">
                  <c:v>94.157401351646271</c:v>
                </c:pt>
                <c:pt idx="2874">
                  <c:v>94.466575499930983</c:v>
                </c:pt>
                <c:pt idx="2875">
                  <c:v>94.783677190479338</c:v>
                </c:pt>
                <c:pt idx="2876">
                  <c:v>94.882771468775715</c:v>
                </c:pt>
                <c:pt idx="2877">
                  <c:v>94.424955903046495</c:v>
                </c:pt>
                <c:pt idx="2878">
                  <c:v>93.190241195473689</c:v>
                </c:pt>
                <c:pt idx="2879">
                  <c:v>93.005925837842454</c:v>
                </c:pt>
                <c:pt idx="2880">
                  <c:v>94.276314485601944</c:v>
                </c:pt>
                <c:pt idx="2881">
                  <c:v>94.012723705333613</c:v>
                </c:pt>
                <c:pt idx="2882">
                  <c:v>94.866916384248327</c:v>
                </c:pt>
                <c:pt idx="2883">
                  <c:v>95.203836930455964</c:v>
                </c:pt>
                <c:pt idx="2884">
                  <c:v>94.563687892661392</c:v>
                </c:pt>
                <c:pt idx="2885">
                  <c:v>94.171274550607777</c:v>
                </c:pt>
                <c:pt idx="2886">
                  <c:v>94.093981013536578</c:v>
                </c:pt>
                <c:pt idx="2887">
                  <c:v>93.14267594189144</c:v>
                </c:pt>
                <c:pt idx="2888">
                  <c:v>93.471668945835404</c:v>
                </c:pt>
                <c:pt idx="2889">
                  <c:v>94.091999127970695</c:v>
                </c:pt>
                <c:pt idx="2890">
                  <c:v>94.028578789860987</c:v>
                </c:pt>
                <c:pt idx="2891">
                  <c:v>92.494599361833181</c:v>
                </c:pt>
                <c:pt idx="2892">
                  <c:v>92.702697346255533</c:v>
                </c:pt>
                <c:pt idx="2893">
                  <c:v>93.380502209802742</c:v>
                </c:pt>
                <c:pt idx="2894">
                  <c:v>93.323027528390853</c:v>
                </c:pt>
                <c:pt idx="2895">
                  <c:v>93.977049765146916</c:v>
                </c:pt>
                <c:pt idx="2896">
                  <c:v>93.899756228075731</c:v>
                </c:pt>
                <c:pt idx="2897">
                  <c:v>94.680619141051139</c:v>
                </c:pt>
                <c:pt idx="2898">
                  <c:v>93.873991715718688</c:v>
                </c:pt>
                <c:pt idx="2899">
                  <c:v>92.627385694750316</c:v>
                </c:pt>
                <c:pt idx="2900">
                  <c:v>92.292447034108591</c:v>
                </c:pt>
                <c:pt idx="2901">
                  <c:v>91.796975642626748</c:v>
                </c:pt>
                <c:pt idx="2902">
                  <c:v>91.697881364330371</c:v>
                </c:pt>
                <c:pt idx="2903">
                  <c:v>90.736666864855565</c:v>
                </c:pt>
                <c:pt idx="2904">
                  <c:v>91.668153080841464</c:v>
                </c:pt>
                <c:pt idx="2905">
                  <c:v>90.461184771191668</c:v>
                </c:pt>
                <c:pt idx="2906">
                  <c:v>90.663337098916259</c:v>
                </c:pt>
                <c:pt idx="2907">
                  <c:v>91.376815902650108</c:v>
                </c:pt>
                <c:pt idx="2908">
                  <c:v>90.409655746477569</c:v>
                </c:pt>
                <c:pt idx="2909">
                  <c:v>89.999405434330598</c:v>
                </c:pt>
                <c:pt idx="2910">
                  <c:v>90.15002873734106</c:v>
                </c:pt>
                <c:pt idx="2911">
                  <c:v>89.69221317161184</c:v>
                </c:pt>
                <c:pt idx="2912">
                  <c:v>90.984402560596507</c:v>
                </c:pt>
                <c:pt idx="2913">
                  <c:v>90.482985512416874</c:v>
                </c:pt>
                <c:pt idx="2914">
                  <c:v>89.216560635789264</c:v>
                </c:pt>
                <c:pt idx="2915">
                  <c:v>89.105575044097307</c:v>
                </c:pt>
                <c:pt idx="2916">
                  <c:v>89.115484471926948</c:v>
                </c:pt>
                <c:pt idx="2917">
                  <c:v>89.533662326337634</c:v>
                </c:pt>
                <c:pt idx="2918">
                  <c:v>91.08349683889287</c:v>
                </c:pt>
                <c:pt idx="2919">
                  <c:v>92.118041104307011</c:v>
                </c:pt>
                <c:pt idx="2920">
                  <c:v>92.821610480211277</c:v>
                </c:pt>
                <c:pt idx="2921">
                  <c:v>93.033672235765479</c:v>
                </c:pt>
                <c:pt idx="2922">
                  <c:v>93.073309947083999</c:v>
                </c:pt>
                <c:pt idx="2923">
                  <c:v>92.795845967854177</c:v>
                </c:pt>
                <c:pt idx="2924">
                  <c:v>93.188259309907806</c:v>
                </c:pt>
                <c:pt idx="2925">
                  <c:v>92.462889192778363</c:v>
                </c:pt>
                <c:pt idx="2926">
                  <c:v>91.158808490398101</c:v>
                </c:pt>
                <c:pt idx="2927">
                  <c:v>90.572170362883554</c:v>
                </c:pt>
                <c:pt idx="2928">
                  <c:v>91.184573002755158</c:v>
                </c:pt>
                <c:pt idx="2929">
                  <c:v>90.42154705987312</c:v>
                </c:pt>
                <c:pt idx="2930">
                  <c:v>90.161920050736612</c:v>
                </c:pt>
                <c:pt idx="2931">
                  <c:v>88.536773886676116</c:v>
                </c:pt>
                <c:pt idx="2932">
                  <c:v>89.2720534316352</c:v>
                </c:pt>
                <c:pt idx="2933">
                  <c:v>90.447311572230163</c:v>
                </c:pt>
                <c:pt idx="2934">
                  <c:v>91.376815902650094</c:v>
                </c:pt>
                <c:pt idx="2935">
                  <c:v>91.896069920923125</c:v>
                </c:pt>
                <c:pt idx="2936">
                  <c:v>91.650316110748093</c:v>
                </c:pt>
                <c:pt idx="2937">
                  <c:v>91.244029569733016</c:v>
                </c:pt>
                <c:pt idx="2938">
                  <c:v>90.233267931110021</c:v>
                </c:pt>
                <c:pt idx="2939">
                  <c:v>90.247141130071512</c:v>
                </c:pt>
                <c:pt idx="2940">
                  <c:v>89.630774719068057</c:v>
                </c:pt>
                <c:pt idx="2941">
                  <c:v>88.552628971203546</c:v>
                </c:pt>
                <c:pt idx="2942">
                  <c:v>86.85018927007188</c:v>
                </c:pt>
                <c:pt idx="2943">
                  <c:v>85.23098876270916</c:v>
                </c:pt>
                <c:pt idx="2944">
                  <c:v>82.258160413818032</c:v>
                </c:pt>
                <c:pt idx="2945">
                  <c:v>80.81138395069101</c:v>
                </c:pt>
                <c:pt idx="2946">
                  <c:v>77.463979229839595</c:v>
                </c:pt>
                <c:pt idx="2947">
                  <c:v>78.554016291099671</c:v>
                </c:pt>
                <c:pt idx="2948">
                  <c:v>75.650553937015985</c:v>
                </c:pt>
                <c:pt idx="2949">
                  <c:v>77.551182194740392</c:v>
                </c:pt>
                <c:pt idx="2950">
                  <c:v>80.385278554016608</c:v>
                </c:pt>
                <c:pt idx="2951">
                  <c:v>80.506173573538192</c:v>
                </c:pt>
                <c:pt idx="2952">
                  <c:v>80.409061180807782</c:v>
                </c:pt>
                <c:pt idx="2953">
                  <c:v>80.625086707493821</c:v>
                </c:pt>
                <c:pt idx="2954">
                  <c:v>76.780228709594638</c:v>
                </c:pt>
                <c:pt idx="2955">
                  <c:v>75.571278514378889</c:v>
                </c:pt>
                <c:pt idx="2956">
                  <c:v>76.171789840854885</c:v>
                </c:pt>
                <c:pt idx="2957">
                  <c:v>76.760409853935371</c:v>
                </c:pt>
                <c:pt idx="2958">
                  <c:v>77.834591830668032</c:v>
                </c:pt>
                <c:pt idx="2959">
                  <c:v>76.913015042511802</c:v>
                </c:pt>
                <c:pt idx="2960">
                  <c:v>76.389797253106934</c:v>
                </c:pt>
                <c:pt idx="2961">
                  <c:v>77.323265354658758</c:v>
                </c:pt>
                <c:pt idx="2962">
                  <c:v>78.123947123293433</c:v>
                </c:pt>
                <c:pt idx="2963">
                  <c:v>80.426898150901096</c:v>
                </c:pt>
                <c:pt idx="2964">
                  <c:v>80.9362427413445</c:v>
                </c:pt>
                <c:pt idx="2965">
                  <c:v>78.96228471768076</c:v>
                </c:pt>
                <c:pt idx="2966">
                  <c:v>75.706046732861964</c:v>
                </c:pt>
                <c:pt idx="2967">
                  <c:v>75.210575341380135</c:v>
                </c:pt>
                <c:pt idx="2968">
                  <c:v>77.572982935965598</c:v>
                </c:pt>
                <c:pt idx="2969">
                  <c:v>78.123947123293433</c:v>
                </c:pt>
                <c:pt idx="2970">
                  <c:v>76.134134015102333</c:v>
                </c:pt>
                <c:pt idx="2971">
                  <c:v>74.215668787284571</c:v>
                </c:pt>
                <c:pt idx="2972">
                  <c:v>74.873654795172484</c:v>
                </c:pt>
                <c:pt idx="2973">
                  <c:v>75.997383911053333</c:v>
                </c:pt>
                <c:pt idx="2974">
                  <c:v>77.531363339081139</c:v>
                </c:pt>
                <c:pt idx="2975">
                  <c:v>78.030798501694832</c:v>
                </c:pt>
                <c:pt idx="2976">
                  <c:v>76.298630517074272</c:v>
                </c:pt>
                <c:pt idx="2977">
                  <c:v>77.703787383316822</c:v>
                </c:pt>
                <c:pt idx="2978">
                  <c:v>76.431416849991422</c:v>
                </c:pt>
                <c:pt idx="2979">
                  <c:v>72.887805458113192</c:v>
                </c:pt>
                <c:pt idx="2980">
                  <c:v>73.331747824880892</c:v>
                </c:pt>
                <c:pt idx="2981">
                  <c:v>74.719067721030129</c:v>
                </c:pt>
                <c:pt idx="2982">
                  <c:v>77.985215133678523</c:v>
                </c:pt>
                <c:pt idx="2983">
                  <c:v>77.13894999702751</c:v>
                </c:pt>
                <c:pt idx="2984">
                  <c:v>77.652258358602694</c:v>
                </c:pt>
                <c:pt idx="2985">
                  <c:v>76.738609112710179</c:v>
                </c:pt>
                <c:pt idx="2986">
                  <c:v>75.87054323483396</c:v>
                </c:pt>
                <c:pt idx="2987">
                  <c:v>73.779653962780529</c:v>
                </c:pt>
                <c:pt idx="2988">
                  <c:v>76.052876706899269</c:v>
                </c:pt>
                <c:pt idx="2989">
                  <c:v>78.129892779991238</c:v>
                </c:pt>
                <c:pt idx="2990">
                  <c:v>78.710585250807995</c:v>
                </c:pt>
                <c:pt idx="2991">
                  <c:v>80.05430366450679</c:v>
                </c:pt>
                <c:pt idx="2992">
                  <c:v>79.830350595556965</c:v>
                </c:pt>
                <c:pt idx="2993">
                  <c:v>81.164159581426162</c:v>
                </c:pt>
                <c:pt idx="2994">
                  <c:v>80.272311076758754</c:v>
                </c:pt>
                <c:pt idx="2995">
                  <c:v>80.942188398042276</c:v>
                </c:pt>
                <c:pt idx="2996">
                  <c:v>80.181144340726121</c:v>
                </c:pt>
                <c:pt idx="2997">
                  <c:v>79.877915849139242</c:v>
                </c:pt>
                <c:pt idx="2998">
                  <c:v>80.351586499395893</c:v>
                </c:pt>
                <c:pt idx="2999">
                  <c:v>79.114889906257176</c:v>
                </c:pt>
                <c:pt idx="3000">
                  <c:v>81.106684900014244</c:v>
                </c:pt>
                <c:pt idx="3001">
                  <c:v>82.161048021087623</c:v>
                </c:pt>
                <c:pt idx="3002">
                  <c:v>81.570446122441226</c:v>
                </c:pt>
                <c:pt idx="3003">
                  <c:v>81.748815823374713</c:v>
                </c:pt>
                <c:pt idx="3004">
                  <c:v>84.674078918683577</c:v>
                </c:pt>
                <c:pt idx="3005">
                  <c:v>84.533365043502769</c:v>
                </c:pt>
                <c:pt idx="3006">
                  <c:v>82.662465069267284</c:v>
                </c:pt>
                <c:pt idx="3007">
                  <c:v>79.800622312068043</c:v>
                </c:pt>
                <c:pt idx="3008">
                  <c:v>80.591394652873106</c:v>
                </c:pt>
                <c:pt idx="3009">
                  <c:v>82.281943040609221</c:v>
                </c:pt>
                <c:pt idx="3010">
                  <c:v>81.45351487405155</c:v>
                </c:pt>
                <c:pt idx="3011">
                  <c:v>81.047228333036429</c:v>
                </c:pt>
                <c:pt idx="3012">
                  <c:v>81.746833937808816</c:v>
                </c:pt>
                <c:pt idx="3013">
                  <c:v>80.347622728264056</c:v>
                </c:pt>
                <c:pt idx="3014">
                  <c:v>80.024575381017883</c:v>
                </c:pt>
                <c:pt idx="3015">
                  <c:v>81.941058723269691</c:v>
                </c:pt>
                <c:pt idx="3016">
                  <c:v>81.084884158789038</c:v>
                </c:pt>
                <c:pt idx="3017">
                  <c:v>80.595358424004971</c:v>
                </c:pt>
                <c:pt idx="3018">
                  <c:v>80.636978020889444</c:v>
                </c:pt>
                <c:pt idx="3019">
                  <c:v>79.596488098777556</c:v>
                </c:pt>
                <c:pt idx="3020">
                  <c:v>78.988049230037831</c:v>
                </c:pt>
                <c:pt idx="3021">
                  <c:v>76.477000218007774</c:v>
                </c:pt>
                <c:pt idx="3022">
                  <c:v>75.971619398696276</c:v>
                </c:pt>
                <c:pt idx="3023">
                  <c:v>74.988604157996278</c:v>
                </c:pt>
                <c:pt idx="3024">
                  <c:v>74.87563668073841</c:v>
                </c:pt>
                <c:pt idx="3025">
                  <c:v>75.404800126841039</c:v>
                </c:pt>
                <c:pt idx="3026">
                  <c:v>78.23295082941948</c:v>
                </c:pt>
                <c:pt idx="3027">
                  <c:v>78.861208553818472</c:v>
                </c:pt>
                <c:pt idx="3028">
                  <c:v>81.742870166676937</c:v>
                </c:pt>
                <c:pt idx="3029">
                  <c:v>81.199833521612831</c:v>
                </c:pt>
                <c:pt idx="3030">
                  <c:v>81.962859464494912</c:v>
                </c:pt>
                <c:pt idx="3031">
                  <c:v>82.648591870305808</c:v>
                </c:pt>
                <c:pt idx="3032">
                  <c:v>82.369146005510046</c:v>
                </c:pt>
                <c:pt idx="3033">
                  <c:v>82.210595160235869</c:v>
                </c:pt>
                <c:pt idx="3034">
                  <c:v>80.940206512476351</c:v>
                </c:pt>
                <c:pt idx="3035">
                  <c:v>81.895475355253367</c:v>
                </c:pt>
                <c:pt idx="3036">
                  <c:v>80.383296668450754</c:v>
                </c:pt>
                <c:pt idx="3037">
                  <c:v>80.809402065125155</c:v>
                </c:pt>
                <c:pt idx="3038">
                  <c:v>79.156509503141649</c:v>
                </c:pt>
                <c:pt idx="3039">
                  <c:v>79.937372416117071</c:v>
                </c:pt>
                <c:pt idx="3040">
                  <c:v>79.590542442079752</c:v>
                </c:pt>
                <c:pt idx="3041">
                  <c:v>79.622252611134599</c:v>
                </c:pt>
                <c:pt idx="3042">
                  <c:v>81.243435004063244</c:v>
                </c:pt>
                <c:pt idx="3043">
                  <c:v>80.829220920784408</c:v>
                </c:pt>
                <c:pt idx="3044">
                  <c:v>81.679449828567272</c:v>
                </c:pt>
                <c:pt idx="3045">
                  <c:v>82.386982975603388</c:v>
                </c:pt>
                <c:pt idx="3046">
                  <c:v>82.404819945696758</c:v>
                </c:pt>
                <c:pt idx="3047">
                  <c:v>81.828091246011837</c:v>
                </c:pt>
                <c:pt idx="3048">
                  <c:v>82.597062845591708</c:v>
                </c:pt>
                <c:pt idx="3049">
                  <c:v>83.308559763759646</c:v>
                </c:pt>
                <c:pt idx="3050">
                  <c:v>84.198426382861058</c:v>
                </c:pt>
                <c:pt idx="3051">
                  <c:v>85.538181025428017</c:v>
                </c:pt>
                <c:pt idx="3052">
                  <c:v>85.048655290643964</c:v>
                </c:pt>
                <c:pt idx="3053">
                  <c:v>84.287611233327823</c:v>
                </c:pt>
                <c:pt idx="3054">
                  <c:v>84.337158372475997</c:v>
                </c:pt>
                <c:pt idx="3055">
                  <c:v>83.958618229383873</c:v>
                </c:pt>
                <c:pt idx="3056">
                  <c:v>85.47476068731838</c:v>
                </c:pt>
                <c:pt idx="3057">
                  <c:v>85.169550310165519</c:v>
                </c:pt>
                <c:pt idx="3058">
                  <c:v>85.024872663852818</c:v>
                </c:pt>
                <c:pt idx="3059">
                  <c:v>84.915868957726801</c:v>
                </c:pt>
                <c:pt idx="3060">
                  <c:v>85.591691935708099</c:v>
                </c:pt>
                <c:pt idx="3061">
                  <c:v>86.324989595101229</c:v>
                </c:pt>
                <c:pt idx="3062">
                  <c:v>86.412192560002055</c:v>
                </c:pt>
                <c:pt idx="3063">
                  <c:v>87.464573795509523</c:v>
                </c:pt>
                <c:pt idx="3064">
                  <c:v>87.21881998533452</c:v>
                </c:pt>
                <c:pt idx="3065">
                  <c:v>87.617178984085911</c:v>
                </c:pt>
                <c:pt idx="3066">
                  <c:v>87.288185980141961</c:v>
                </c:pt>
                <c:pt idx="3067">
                  <c:v>86.957211090632086</c:v>
                </c:pt>
                <c:pt idx="3068">
                  <c:v>87.950135759161711</c:v>
                </c:pt>
                <c:pt idx="3069">
                  <c:v>87.113780050340338</c:v>
                </c:pt>
                <c:pt idx="3070">
                  <c:v>86.128782924074372</c:v>
                </c:pt>
                <c:pt idx="3071">
                  <c:v>86.776859504132673</c:v>
                </c:pt>
                <c:pt idx="3072">
                  <c:v>88.518936916582874</c:v>
                </c:pt>
                <c:pt idx="3073">
                  <c:v>88.723071129873418</c:v>
                </c:pt>
                <c:pt idx="3074">
                  <c:v>90.251104901203476</c:v>
                </c:pt>
                <c:pt idx="3075">
                  <c:v>90.140119309511533</c:v>
                </c:pt>
                <c:pt idx="3076">
                  <c:v>89.898329270468381</c:v>
                </c:pt>
                <c:pt idx="3077">
                  <c:v>89.715995798403057</c:v>
                </c:pt>
                <c:pt idx="3078">
                  <c:v>89.928057553957288</c:v>
                </c:pt>
                <c:pt idx="3079">
                  <c:v>89.113502586361108</c:v>
                </c:pt>
                <c:pt idx="3080">
                  <c:v>89.771488594248993</c:v>
                </c:pt>
                <c:pt idx="3081">
                  <c:v>89.563390609826612</c:v>
                </c:pt>
                <c:pt idx="3082">
                  <c:v>90.20948530431896</c:v>
                </c:pt>
                <c:pt idx="3083">
                  <c:v>90.261014329033088</c:v>
                </c:pt>
                <c:pt idx="3084">
                  <c:v>90.815942287492732</c:v>
                </c:pt>
                <c:pt idx="3085">
                  <c:v>91.580950115940738</c:v>
                </c:pt>
                <c:pt idx="3086">
                  <c:v>91.109261351250012</c:v>
                </c:pt>
                <c:pt idx="3087">
                  <c:v>90.375963691856853</c:v>
                </c:pt>
                <c:pt idx="3088">
                  <c:v>90.199575876489277</c:v>
                </c:pt>
                <c:pt idx="3089">
                  <c:v>90.435420258834682</c:v>
                </c:pt>
                <c:pt idx="3090">
                  <c:v>90.179757020830024</c:v>
                </c:pt>
                <c:pt idx="3091">
                  <c:v>90.342271637236081</c:v>
                </c:pt>
                <c:pt idx="3092">
                  <c:v>90.377945577422764</c:v>
                </c:pt>
                <c:pt idx="3093">
                  <c:v>91.317359335672407</c:v>
                </c:pt>
                <c:pt idx="3094">
                  <c:v>91.366906474820581</c:v>
                </c:pt>
                <c:pt idx="3095">
                  <c:v>90.804050974097223</c:v>
                </c:pt>
                <c:pt idx="3096">
                  <c:v>88.378223041402023</c:v>
                </c:pt>
                <c:pt idx="3097">
                  <c:v>88.998553223537314</c:v>
                </c:pt>
                <c:pt idx="3098">
                  <c:v>90.433438373268743</c:v>
                </c:pt>
                <c:pt idx="3099">
                  <c:v>90.879362625602411</c:v>
                </c:pt>
                <c:pt idx="3100">
                  <c:v>90.681174069009685</c:v>
                </c:pt>
                <c:pt idx="3101">
                  <c:v>92.290465148542765</c:v>
                </c:pt>
                <c:pt idx="3102">
                  <c:v>92.571892898904437</c:v>
                </c:pt>
                <c:pt idx="3103">
                  <c:v>92.817646709079469</c:v>
                </c:pt>
                <c:pt idx="3104">
                  <c:v>93.303208672731657</c:v>
                </c:pt>
                <c:pt idx="3105">
                  <c:v>93.204114394435294</c:v>
                </c:pt>
                <c:pt idx="3106">
                  <c:v>92.141823731098214</c:v>
                </c:pt>
                <c:pt idx="3107">
                  <c:v>92.060566422895164</c:v>
                </c:pt>
                <c:pt idx="3108">
                  <c:v>90.980438789464699</c:v>
                </c:pt>
                <c:pt idx="3109">
                  <c:v>91.04584101314029</c:v>
                </c:pt>
                <c:pt idx="3110">
                  <c:v>91.896069920923196</c:v>
                </c:pt>
                <c:pt idx="3111">
                  <c:v>91.487801494342136</c:v>
                </c:pt>
                <c:pt idx="3112">
                  <c:v>90.554333392790284</c:v>
                </c:pt>
                <c:pt idx="3113">
                  <c:v>89.412767306816079</c:v>
                </c:pt>
                <c:pt idx="3114">
                  <c:v>90.30857958261528</c:v>
                </c:pt>
                <c:pt idx="3115">
                  <c:v>91.670134966407431</c:v>
                </c:pt>
                <c:pt idx="3116">
                  <c:v>90.681174069009657</c:v>
                </c:pt>
                <c:pt idx="3117">
                  <c:v>88.804328438076368</c:v>
                </c:pt>
                <c:pt idx="3118">
                  <c:v>88.947024198823158</c:v>
                </c:pt>
                <c:pt idx="3119">
                  <c:v>86.723348593852535</c:v>
                </c:pt>
                <c:pt idx="3120">
                  <c:v>87.375388945042673</c:v>
                </c:pt>
                <c:pt idx="3121">
                  <c:v>88.390114354797532</c:v>
                </c:pt>
                <c:pt idx="3122">
                  <c:v>87.068196682323943</c:v>
                </c:pt>
                <c:pt idx="3123">
                  <c:v>87.387280258438253</c:v>
                </c:pt>
                <c:pt idx="3124">
                  <c:v>89.188814237866268</c:v>
                </c:pt>
                <c:pt idx="3125">
                  <c:v>88.620013080445133</c:v>
                </c:pt>
                <c:pt idx="3126">
                  <c:v>88.219672196127789</c:v>
                </c:pt>
                <c:pt idx="3127">
                  <c:v>88.69730661751629</c:v>
                </c:pt>
                <c:pt idx="3128">
                  <c:v>86.689656539231819</c:v>
                </c:pt>
                <c:pt idx="3129">
                  <c:v>87.603305785124348</c:v>
                </c:pt>
                <c:pt idx="3130">
                  <c:v>88.56253839903323</c:v>
                </c:pt>
                <c:pt idx="3131">
                  <c:v>88.669560219593308</c:v>
                </c:pt>
                <c:pt idx="3132">
                  <c:v>89.373129595497545</c:v>
                </c:pt>
                <c:pt idx="3133">
                  <c:v>88.818201637037873</c:v>
                </c:pt>
                <c:pt idx="3134">
                  <c:v>89.194759894564058</c:v>
                </c:pt>
                <c:pt idx="3135">
                  <c:v>88.893513288543119</c:v>
                </c:pt>
                <c:pt idx="3136">
                  <c:v>88.954951741086873</c:v>
                </c:pt>
                <c:pt idx="3137">
                  <c:v>87.484392651168704</c:v>
                </c:pt>
                <c:pt idx="3138">
                  <c:v>88.142378659056575</c:v>
                </c:pt>
                <c:pt idx="3139">
                  <c:v>86.695602195929567</c:v>
                </c:pt>
                <c:pt idx="3140">
                  <c:v>86.491467982639065</c:v>
                </c:pt>
                <c:pt idx="3141">
                  <c:v>87.054323483362467</c:v>
                </c:pt>
                <c:pt idx="3142">
                  <c:v>87.389262144004178</c:v>
                </c:pt>
                <c:pt idx="3143">
                  <c:v>85.821590661355586</c:v>
                </c:pt>
                <c:pt idx="3144">
                  <c:v>85.246843847236633</c:v>
                </c:pt>
                <c:pt idx="3145">
                  <c:v>84.828665992825918</c:v>
                </c:pt>
                <c:pt idx="3146">
                  <c:v>83.883306577878528</c:v>
                </c:pt>
                <c:pt idx="3147">
                  <c:v>82.98947618764528</c:v>
                </c:pt>
                <c:pt idx="3148">
                  <c:v>83.492875121390853</c:v>
                </c:pt>
                <c:pt idx="3149">
                  <c:v>85.102166200923918</c:v>
                </c:pt>
                <c:pt idx="3150">
                  <c:v>83.282795251402533</c:v>
                </c:pt>
                <c:pt idx="3151">
                  <c:v>84.13302415918541</c:v>
                </c:pt>
                <c:pt idx="3152">
                  <c:v>84.362922884832983</c:v>
                </c:pt>
                <c:pt idx="3153">
                  <c:v>84.360940999267086</c:v>
                </c:pt>
                <c:pt idx="3154">
                  <c:v>85.003071922627527</c:v>
                </c:pt>
                <c:pt idx="3155">
                  <c:v>83.748538359395482</c:v>
                </c:pt>
                <c:pt idx="3156">
                  <c:v>83.46116495233602</c:v>
                </c:pt>
                <c:pt idx="3157">
                  <c:v>81.861783300632553</c:v>
                </c:pt>
                <c:pt idx="3158">
                  <c:v>81.441623560655984</c:v>
                </c:pt>
                <c:pt idx="3159">
                  <c:v>81.697286798660599</c:v>
                </c:pt>
                <c:pt idx="3160">
                  <c:v>83.645480309967269</c:v>
                </c:pt>
                <c:pt idx="3161">
                  <c:v>84.58093029708499</c:v>
                </c:pt>
                <c:pt idx="3162">
                  <c:v>84.354995342569268</c:v>
                </c:pt>
                <c:pt idx="3163">
                  <c:v>84.362922884832983</c:v>
                </c:pt>
                <c:pt idx="3164">
                  <c:v>84.894068216501537</c:v>
                </c:pt>
                <c:pt idx="3165">
                  <c:v>84.586875953782766</c:v>
                </c:pt>
                <c:pt idx="3166">
                  <c:v>84.337158372475926</c:v>
                </c:pt>
                <c:pt idx="3167">
                  <c:v>85.161622767901747</c:v>
                </c:pt>
                <c:pt idx="3168">
                  <c:v>85.256753275066274</c:v>
                </c:pt>
                <c:pt idx="3169">
                  <c:v>86.622272429990247</c:v>
                </c:pt>
                <c:pt idx="3170">
                  <c:v>87.12170759260394</c:v>
                </c:pt>
                <c:pt idx="3171">
                  <c:v>86.689656539231791</c:v>
                </c:pt>
              </c:numCache>
            </c:numRef>
          </c:val>
        </c:ser>
        <c:dLbls/>
        <c:marker val="1"/>
        <c:axId val="334613120"/>
        <c:axId val="334635392"/>
      </c:lineChart>
      <c:dateAx>
        <c:axId val="334613120"/>
        <c:scaling>
          <c:orientation val="minMax"/>
        </c:scaling>
        <c:axPos val="b"/>
        <c:numFmt formatCode="yyyy" sourceLinked="0"/>
        <c:majorTickMark val="in"/>
        <c:tickLblPos val="nextTo"/>
        <c:spPr>
          <a:ln w="2211">
            <a:solidFill>
              <a:schemeClr val="tx1"/>
            </a:solidFill>
            <a:prstDash val="solid"/>
          </a:ln>
        </c:spPr>
        <c:txPr>
          <a:bodyPr rot="0" vert="horz"/>
          <a:lstStyle/>
          <a:p>
            <a:pPr>
              <a:defRPr sz="973" b="0" i="0" u="none" strike="noStrike" baseline="0">
                <a:solidFill>
                  <a:schemeClr val="tx1"/>
                </a:solidFill>
                <a:latin typeface="Arial"/>
                <a:ea typeface="Arial"/>
                <a:cs typeface="Arial"/>
              </a:defRPr>
            </a:pPr>
            <a:endParaRPr lang="en-US"/>
          </a:p>
        </c:txPr>
        <c:crossAx val="334635392"/>
        <c:crosses val="autoZero"/>
        <c:auto val="1"/>
        <c:lblOffset val="100"/>
        <c:baseTimeUnit val="days"/>
        <c:majorUnit val="2"/>
        <c:majorTimeUnit val="years"/>
        <c:minorUnit val="9"/>
        <c:minorTimeUnit val="months"/>
      </c:dateAx>
      <c:valAx>
        <c:axId val="334635392"/>
        <c:scaling>
          <c:orientation val="minMax"/>
        </c:scaling>
        <c:axPos val="l"/>
        <c:majorGridlines>
          <c:spPr>
            <a:ln w="8851">
              <a:solidFill>
                <a:schemeClr val="folHlink"/>
              </a:solidFill>
              <a:prstDash val="solid"/>
            </a:ln>
          </c:spPr>
        </c:majorGridlines>
        <c:numFmt formatCode="General" sourceLinked="1"/>
        <c:tickLblPos val="nextTo"/>
        <c:spPr>
          <a:ln w="6636">
            <a:noFill/>
          </a:ln>
        </c:spPr>
        <c:txPr>
          <a:bodyPr rot="0" vert="horz"/>
          <a:lstStyle/>
          <a:p>
            <a:pPr>
              <a:defRPr sz="973" b="0" i="0" u="none" strike="noStrike" baseline="0">
                <a:solidFill>
                  <a:schemeClr val="tx1"/>
                </a:solidFill>
                <a:latin typeface="Arial"/>
                <a:ea typeface="Arial"/>
                <a:cs typeface="Arial"/>
              </a:defRPr>
            </a:pPr>
            <a:endParaRPr lang="en-US"/>
          </a:p>
        </c:txPr>
        <c:crossAx val="334613120"/>
        <c:crosses val="autoZero"/>
        <c:crossBetween val="between"/>
      </c:valAx>
      <c:spPr>
        <a:noFill/>
        <a:ln w="25356">
          <a:noFill/>
        </a:ln>
      </c:spPr>
    </c:plotArea>
    <c:plotVisOnly val="1"/>
    <c:dispBlanksAs val="gap"/>
  </c:chart>
  <c:spPr>
    <a:noFill/>
    <a:ln>
      <a:noFill/>
    </a:ln>
  </c:spPr>
  <c:txPr>
    <a:bodyPr/>
    <a:lstStyle/>
    <a:p>
      <a:pPr>
        <a:defRPr sz="973" b="0" i="0" u="none" strike="noStrike" baseline="0">
          <a:solidFill>
            <a:schemeClr val="tx1"/>
          </a:solidFill>
          <a:latin typeface="Arial"/>
          <a:ea typeface="Arial"/>
          <a:cs typeface="Arial"/>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0271668710646172"/>
          <c:y val="9.9963923009134731E-2"/>
          <c:w val="0.82295081967213124"/>
          <c:h val="0.64646464646464663"/>
        </c:manualLayout>
      </c:layout>
      <c:lineChart>
        <c:grouping val="standard"/>
        <c:ser>
          <c:idx val="0"/>
          <c:order val="0"/>
          <c:tx>
            <c:strRef>
              <c:f>Histories!$B$1</c:f>
              <c:strCache>
                <c:ptCount val="1"/>
                <c:pt idx="0">
                  <c:v>Net Return</c:v>
                </c:pt>
              </c:strCache>
            </c:strRef>
          </c:tx>
          <c:spPr>
            <a:ln w="25222">
              <a:solidFill>
                <a:schemeClr val="accent1"/>
              </a:solidFill>
              <a:prstDash val="solid"/>
            </a:ln>
          </c:spPr>
          <c:marker>
            <c:symbol val="none"/>
          </c:marker>
          <c:cat>
            <c:numRef>
              <c:f>Histories!$A$3:$A$3174</c:f>
              <c:numCache>
                <c:formatCode>m/d/yyyy</c:formatCode>
                <c:ptCount val="3172"/>
                <c:pt idx="0">
                  <c:v>36605</c:v>
                </c:pt>
                <c:pt idx="1">
                  <c:v>36606</c:v>
                </c:pt>
                <c:pt idx="2">
                  <c:v>36607</c:v>
                </c:pt>
                <c:pt idx="3">
                  <c:v>36608</c:v>
                </c:pt>
                <c:pt idx="4">
                  <c:v>36609</c:v>
                </c:pt>
                <c:pt idx="5">
                  <c:v>36612</c:v>
                </c:pt>
                <c:pt idx="6">
                  <c:v>36613</c:v>
                </c:pt>
                <c:pt idx="7">
                  <c:v>36614</c:v>
                </c:pt>
                <c:pt idx="8">
                  <c:v>36615</c:v>
                </c:pt>
                <c:pt idx="9">
                  <c:v>36616</c:v>
                </c:pt>
                <c:pt idx="10">
                  <c:v>36619</c:v>
                </c:pt>
                <c:pt idx="11">
                  <c:v>36620</c:v>
                </c:pt>
                <c:pt idx="12">
                  <c:v>36621</c:v>
                </c:pt>
                <c:pt idx="13">
                  <c:v>36622</c:v>
                </c:pt>
                <c:pt idx="14">
                  <c:v>36623</c:v>
                </c:pt>
                <c:pt idx="15">
                  <c:v>36626</c:v>
                </c:pt>
                <c:pt idx="16">
                  <c:v>36627</c:v>
                </c:pt>
                <c:pt idx="17">
                  <c:v>36628</c:v>
                </c:pt>
                <c:pt idx="18">
                  <c:v>36629</c:v>
                </c:pt>
                <c:pt idx="19">
                  <c:v>36630</c:v>
                </c:pt>
                <c:pt idx="20">
                  <c:v>36633</c:v>
                </c:pt>
                <c:pt idx="21">
                  <c:v>36634</c:v>
                </c:pt>
                <c:pt idx="22">
                  <c:v>36635</c:v>
                </c:pt>
                <c:pt idx="23">
                  <c:v>36636</c:v>
                </c:pt>
                <c:pt idx="24">
                  <c:v>36637</c:v>
                </c:pt>
                <c:pt idx="25">
                  <c:v>36640</c:v>
                </c:pt>
                <c:pt idx="26">
                  <c:v>36641</c:v>
                </c:pt>
                <c:pt idx="27">
                  <c:v>36642</c:v>
                </c:pt>
                <c:pt idx="28">
                  <c:v>36643</c:v>
                </c:pt>
                <c:pt idx="29">
                  <c:v>36644</c:v>
                </c:pt>
                <c:pt idx="30">
                  <c:v>36647</c:v>
                </c:pt>
                <c:pt idx="31">
                  <c:v>36648</c:v>
                </c:pt>
                <c:pt idx="32">
                  <c:v>36649</c:v>
                </c:pt>
                <c:pt idx="33">
                  <c:v>36650</c:v>
                </c:pt>
                <c:pt idx="34">
                  <c:v>36651</c:v>
                </c:pt>
                <c:pt idx="35">
                  <c:v>36654</c:v>
                </c:pt>
                <c:pt idx="36">
                  <c:v>36655</c:v>
                </c:pt>
                <c:pt idx="37">
                  <c:v>36656</c:v>
                </c:pt>
                <c:pt idx="38">
                  <c:v>36657</c:v>
                </c:pt>
                <c:pt idx="39">
                  <c:v>36658</c:v>
                </c:pt>
                <c:pt idx="40">
                  <c:v>36661</c:v>
                </c:pt>
                <c:pt idx="41">
                  <c:v>36662</c:v>
                </c:pt>
                <c:pt idx="42">
                  <c:v>36663</c:v>
                </c:pt>
                <c:pt idx="43">
                  <c:v>36664</c:v>
                </c:pt>
                <c:pt idx="44">
                  <c:v>36665</c:v>
                </c:pt>
                <c:pt idx="45">
                  <c:v>36668</c:v>
                </c:pt>
                <c:pt idx="46">
                  <c:v>36669</c:v>
                </c:pt>
                <c:pt idx="47">
                  <c:v>36670</c:v>
                </c:pt>
                <c:pt idx="48">
                  <c:v>36671</c:v>
                </c:pt>
                <c:pt idx="49">
                  <c:v>36672</c:v>
                </c:pt>
                <c:pt idx="50">
                  <c:v>36675</c:v>
                </c:pt>
                <c:pt idx="51">
                  <c:v>36676</c:v>
                </c:pt>
                <c:pt idx="52">
                  <c:v>36677</c:v>
                </c:pt>
                <c:pt idx="53">
                  <c:v>36678</c:v>
                </c:pt>
                <c:pt idx="54">
                  <c:v>36679</c:v>
                </c:pt>
                <c:pt idx="55">
                  <c:v>36682</c:v>
                </c:pt>
                <c:pt idx="56">
                  <c:v>36683</c:v>
                </c:pt>
                <c:pt idx="57">
                  <c:v>36684</c:v>
                </c:pt>
                <c:pt idx="58">
                  <c:v>36685</c:v>
                </c:pt>
                <c:pt idx="59">
                  <c:v>36686</c:v>
                </c:pt>
                <c:pt idx="60">
                  <c:v>36689</c:v>
                </c:pt>
                <c:pt idx="61">
                  <c:v>36690</c:v>
                </c:pt>
                <c:pt idx="62">
                  <c:v>36691</c:v>
                </c:pt>
                <c:pt idx="63">
                  <c:v>36692</c:v>
                </c:pt>
                <c:pt idx="64">
                  <c:v>36693</c:v>
                </c:pt>
                <c:pt idx="65">
                  <c:v>36696</c:v>
                </c:pt>
                <c:pt idx="66">
                  <c:v>36697</c:v>
                </c:pt>
                <c:pt idx="67">
                  <c:v>36698</c:v>
                </c:pt>
                <c:pt idx="68">
                  <c:v>36699</c:v>
                </c:pt>
                <c:pt idx="69">
                  <c:v>36700</c:v>
                </c:pt>
                <c:pt idx="70">
                  <c:v>36703</c:v>
                </c:pt>
                <c:pt idx="71">
                  <c:v>36704</c:v>
                </c:pt>
                <c:pt idx="72">
                  <c:v>36705</c:v>
                </c:pt>
                <c:pt idx="73">
                  <c:v>36706</c:v>
                </c:pt>
                <c:pt idx="74">
                  <c:v>36707</c:v>
                </c:pt>
                <c:pt idx="75">
                  <c:v>36710</c:v>
                </c:pt>
                <c:pt idx="76">
                  <c:v>36711</c:v>
                </c:pt>
                <c:pt idx="77">
                  <c:v>36712</c:v>
                </c:pt>
                <c:pt idx="78">
                  <c:v>36713</c:v>
                </c:pt>
                <c:pt idx="79">
                  <c:v>36714</c:v>
                </c:pt>
                <c:pt idx="80">
                  <c:v>36717</c:v>
                </c:pt>
                <c:pt idx="81">
                  <c:v>36718</c:v>
                </c:pt>
                <c:pt idx="82">
                  <c:v>36719</c:v>
                </c:pt>
                <c:pt idx="83">
                  <c:v>36720</c:v>
                </c:pt>
                <c:pt idx="84">
                  <c:v>36721</c:v>
                </c:pt>
                <c:pt idx="85">
                  <c:v>36724</c:v>
                </c:pt>
                <c:pt idx="86">
                  <c:v>36725</c:v>
                </c:pt>
                <c:pt idx="87">
                  <c:v>36726</c:v>
                </c:pt>
                <c:pt idx="88">
                  <c:v>36727</c:v>
                </c:pt>
                <c:pt idx="89">
                  <c:v>36728</c:v>
                </c:pt>
                <c:pt idx="90">
                  <c:v>36731</c:v>
                </c:pt>
                <c:pt idx="91">
                  <c:v>36732</c:v>
                </c:pt>
                <c:pt idx="92">
                  <c:v>36733</c:v>
                </c:pt>
                <c:pt idx="93">
                  <c:v>36734</c:v>
                </c:pt>
                <c:pt idx="94">
                  <c:v>36735</c:v>
                </c:pt>
                <c:pt idx="95">
                  <c:v>36738</c:v>
                </c:pt>
                <c:pt idx="96">
                  <c:v>36739</c:v>
                </c:pt>
                <c:pt idx="97">
                  <c:v>36740</c:v>
                </c:pt>
                <c:pt idx="98">
                  <c:v>36741</c:v>
                </c:pt>
                <c:pt idx="99">
                  <c:v>36742</c:v>
                </c:pt>
                <c:pt idx="100">
                  <c:v>36745</c:v>
                </c:pt>
                <c:pt idx="101">
                  <c:v>36746</c:v>
                </c:pt>
                <c:pt idx="102">
                  <c:v>36747</c:v>
                </c:pt>
                <c:pt idx="103">
                  <c:v>36748</c:v>
                </c:pt>
                <c:pt idx="104">
                  <c:v>36749</c:v>
                </c:pt>
                <c:pt idx="105">
                  <c:v>36752</c:v>
                </c:pt>
                <c:pt idx="106">
                  <c:v>36753</c:v>
                </c:pt>
                <c:pt idx="107">
                  <c:v>36754</c:v>
                </c:pt>
                <c:pt idx="108">
                  <c:v>36755</c:v>
                </c:pt>
                <c:pt idx="109">
                  <c:v>36756</c:v>
                </c:pt>
                <c:pt idx="110">
                  <c:v>36759</c:v>
                </c:pt>
                <c:pt idx="111">
                  <c:v>36760</c:v>
                </c:pt>
                <c:pt idx="112">
                  <c:v>36761</c:v>
                </c:pt>
                <c:pt idx="113">
                  <c:v>36762</c:v>
                </c:pt>
                <c:pt idx="114">
                  <c:v>36763</c:v>
                </c:pt>
                <c:pt idx="115">
                  <c:v>36766</c:v>
                </c:pt>
                <c:pt idx="116">
                  <c:v>36767</c:v>
                </c:pt>
                <c:pt idx="117">
                  <c:v>36768</c:v>
                </c:pt>
                <c:pt idx="118">
                  <c:v>36769</c:v>
                </c:pt>
                <c:pt idx="119">
                  <c:v>36770</c:v>
                </c:pt>
                <c:pt idx="120">
                  <c:v>36773</c:v>
                </c:pt>
                <c:pt idx="121">
                  <c:v>36774</c:v>
                </c:pt>
                <c:pt idx="122">
                  <c:v>36775</c:v>
                </c:pt>
                <c:pt idx="123">
                  <c:v>36776</c:v>
                </c:pt>
                <c:pt idx="124">
                  <c:v>36777</c:v>
                </c:pt>
                <c:pt idx="125">
                  <c:v>36780</c:v>
                </c:pt>
                <c:pt idx="126">
                  <c:v>36781</c:v>
                </c:pt>
                <c:pt idx="127">
                  <c:v>36782</c:v>
                </c:pt>
                <c:pt idx="128">
                  <c:v>36783</c:v>
                </c:pt>
                <c:pt idx="129">
                  <c:v>36784</c:v>
                </c:pt>
                <c:pt idx="130">
                  <c:v>36787</c:v>
                </c:pt>
                <c:pt idx="131">
                  <c:v>36788</c:v>
                </c:pt>
                <c:pt idx="132">
                  <c:v>36789</c:v>
                </c:pt>
                <c:pt idx="133">
                  <c:v>36790</c:v>
                </c:pt>
                <c:pt idx="134">
                  <c:v>36791</c:v>
                </c:pt>
                <c:pt idx="135">
                  <c:v>36794</c:v>
                </c:pt>
                <c:pt idx="136">
                  <c:v>36795</c:v>
                </c:pt>
                <c:pt idx="137">
                  <c:v>36796</c:v>
                </c:pt>
                <c:pt idx="138">
                  <c:v>36797</c:v>
                </c:pt>
                <c:pt idx="139">
                  <c:v>36798</c:v>
                </c:pt>
                <c:pt idx="140">
                  <c:v>36801</c:v>
                </c:pt>
                <c:pt idx="141">
                  <c:v>36802</c:v>
                </c:pt>
                <c:pt idx="142">
                  <c:v>36803</c:v>
                </c:pt>
                <c:pt idx="143">
                  <c:v>36804</c:v>
                </c:pt>
                <c:pt idx="144">
                  <c:v>36805</c:v>
                </c:pt>
                <c:pt idx="145">
                  <c:v>36808</c:v>
                </c:pt>
                <c:pt idx="146">
                  <c:v>36809</c:v>
                </c:pt>
                <c:pt idx="147">
                  <c:v>36810</c:v>
                </c:pt>
                <c:pt idx="148">
                  <c:v>36811</c:v>
                </c:pt>
                <c:pt idx="149">
                  <c:v>36812</c:v>
                </c:pt>
                <c:pt idx="150">
                  <c:v>36815</c:v>
                </c:pt>
                <c:pt idx="151">
                  <c:v>36816</c:v>
                </c:pt>
                <c:pt idx="152">
                  <c:v>36817</c:v>
                </c:pt>
                <c:pt idx="153">
                  <c:v>36818</c:v>
                </c:pt>
                <c:pt idx="154">
                  <c:v>36819</c:v>
                </c:pt>
                <c:pt idx="155">
                  <c:v>36822</c:v>
                </c:pt>
                <c:pt idx="156">
                  <c:v>36823</c:v>
                </c:pt>
                <c:pt idx="157">
                  <c:v>36824</c:v>
                </c:pt>
                <c:pt idx="158">
                  <c:v>36825</c:v>
                </c:pt>
                <c:pt idx="159">
                  <c:v>36826</c:v>
                </c:pt>
                <c:pt idx="160">
                  <c:v>36829</c:v>
                </c:pt>
                <c:pt idx="161">
                  <c:v>36830</c:v>
                </c:pt>
                <c:pt idx="162">
                  <c:v>36831</c:v>
                </c:pt>
                <c:pt idx="163">
                  <c:v>36832</c:v>
                </c:pt>
                <c:pt idx="164">
                  <c:v>36833</c:v>
                </c:pt>
                <c:pt idx="165">
                  <c:v>36836</c:v>
                </c:pt>
                <c:pt idx="166">
                  <c:v>36837</c:v>
                </c:pt>
                <c:pt idx="167">
                  <c:v>36838</c:v>
                </c:pt>
                <c:pt idx="168">
                  <c:v>36839</c:v>
                </c:pt>
                <c:pt idx="169">
                  <c:v>36840</c:v>
                </c:pt>
                <c:pt idx="170">
                  <c:v>36843</c:v>
                </c:pt>
                <c:pt idx="171">
                  <c:v>36844</c:v>
                </c:pt>
                <c:pt idx="172">
                  <c:v>36845</c:v>
                </c:pt>
                <c:pt idx="173">
                  <c:v>36846</c:v>
                </c:pt>
                <c:pt idx="174">
                  <c:v>36847</c:v>
                </c:pt>
                <c:pt idx="175">
                  <c:v>36850</c:v>
                </c:pt>
                <c:pt idx="176">
                  <c:v>36851</c:v>
                </c:pt>
                <c:pt idx="177">
                  <c:v>36852</c:v>
                </c:pt>
                <c:pt idx="178">
                  <c:v>36853</c:v>
                </c:pt>
                <c:pt idx="179">
                  <c:v>36854</c:v>
                </c:pt>
                <c:pt idx="180">
                  <c:v>36857</c:v>
                </c:pt>
                <c:pt idx="181">
                  <c:v>36858</c:v>
                </c:pt>
                <c:pt idx="182">
                  <c:v>36859</c:v>
                </c:pt>
                <c:pt idx="183">
                  <c:v>36860</c:v>
                </c:pt>
                <c:pt idx="184">
                  <c:v>36861</c:v>
                </c:pt>
                <c:pt idx="185">
                  <c:v>36864</c:v>
                </c:pt>
                <c:pt idx="186">
                  <c:v>36865</c:v>
                </c:pt>
                <c:pt idx="187">
                  <c:v>36866</c:v>
                </c:pt>
                <c:pt idx="188">
                  <c:v>36867</c:v>
                </c:pt>
                <c:pt idx="189">
                  <c:v>36868</c:v>
                </c:pt>
                <c:pt idx="190">
                  <c:v>36871</c:v>
                </c:pt>
                <c:pt idx="191">
                  <c:v>36872</c:v>
                </c:pt>
                <c:pt idx="192">
                  <c:v>36873</c:v>
                </c:pt>
                <c:pt idx="193">
                  <c:v>36874</c:v>
                </c:pt>
                <c:pt idx="194">
                  <c:v>36875</c:v>
                </c:pt>
                <c:pt idx="195">
                  <c:v>36878</c:v>
                </c:pt>
                <c:pt idx="196">
                  <c:v>36879</c:v>
                </c:pt>
                <c:pt idx="197">
                  <c:v>36880</c:v>
                </c:pt>
                <c:pt idx="198">
                  <c:v>36881</c:v>
                </c:pt>
                <c:pt idx="199">
                  <c:v>36882</c:v>
                </c:pt>
                <c:pt idx="200">
                  <c:v>36885</c:v>
                </c:pt>
                <c:pt idx="201">
                  <c:v>36886</c:v>
                </c:pt>
                <c:pt idx="202">
                  <c:v>36887</c:v>
                </c:pt>
                <c:pt idx="203">
                  <c:v>36888</c:v>
                </c:pt>
                <c:pt idx="204">
                  <c:v>36889</c:v>
                </c:pt>
                <c:pt idx="205">
                  <c:v>36892</c:v>
                </c:pt>
                <c:pt idx="206">
                  <c:v>36893</c:v>
                </c:pt>
                <c:pt idx="207">
                  <c:v>36894</c:v>
                </c:pt>
                <c:pt idx="208">
                  <c:v>36895</c:v>
                </c:pt>
                <c:pt idx="209">
                  <c:v>36896</c:v>
                </c:pt>
                <c:pt idx="210">
                  <c:v>36899</c:v>
                </c:pt>
                <c:pt idx="211">
                  <c:v>36900</c:v>
                </c:pt>
                <c:pt idx="212">
                  <c:v>36901</c:v>
                </c:pt>
                <c:pt idx="213">
                  <c:v>36902</c:v>
                </c:pt>
                <c:pt idx="214">
                  <c:v>36903</c:v>
                </c:pt>
                <c:pt idx="215">
                  <c:v>36906</c:v>
                </c:pt>
                <c:pt idx="216">
                  <c:v>36907</c:v>
                </c:pt>
                <c:pt idx="217">
                  <c:v>36908</c:v>
                </c:pt>
                <c:pt idx="218">
                  <c:v>36909</c:v>
                </c:pt>
                <c:pt idx="219">
                  <c:v>36910</c:v>
                </c:pt>
                <c:pt idx="220">
                  <c:v>36913</c:v>
                </c:pt>
                <c:pt idx="221">
                  <c:v>36914</c:v>
                </c:pt>
                <c:pt idx="222">
                  <c:v>36915</c:v>
                </c:pt>
                <c:pt idx="223">
                  <c:v>36916</c:v>
                </c:pt>
                <c:pt idx="224">
                  <c:v>36917</c:v>
                </c:pt>
                <c:pt idx="225">
                  <c:v>36920</c:v>
                </c:pt>
                <c:pt idx="226">
                  <c:v>36921</c:v>
                </c:pt>
                <c:pt idx="227">
                  <c:v>36922</c:v>
                </c:pt>
                <c:pt idx="228">
                  <c:v>36923</c:v>
                </c:pt>
                <c:pt idx="229">
                  <c:v>36924</c:v>
                </c:pt>
                <c:pt idx="230">
                  <c:v>36927</c:v>
                </c:pt>
                <c:pt idx="231">
                  <c:v>36928</c:v>
                </c:pt>
                <c:pt idx="232">
                  <c:v>36929</c:v>
                </c:pt>
                <c:pt idx="233">
                  <c:v>36930</c:v>
                </c:pt>
                <c:pt idx="234">
                  <c:v>36931</c:v>
                </c:pt>
                <c:pt idx="235">
                  <c:v>36934</c:v>
                </c:pt>
                <c:pt idx="236">
                  <c:v>36935</c:v>
                </c:pt>
                <c:pt idx="237">
                  <c:v>36936</c:v>
                </c:pt>
                <c:pt idx="238">
                  <c:v>36937</c:v>
                </c:pt>
                <c:pt idx="239">
                  <c:v>36938</c:v>
                </c:pt>
                <c:pt idx="240">
                  <c:v>36941</c:v>
                </c:pt>
                <c:pt idx="241">
                  <c:v>36942</c:v>
                </c:pt>
                <c:pt idx="242">
                  <c:v>36943</c:v>
                </c:pt>
                <c:pt idx="243">
                  <c:v>36944</c:v>
                </c:pt>
                <c:pt idx="244">
                  <c:v>36945</c:v>
                </c:pt>
                <c:pt idx="245">
                  <c:v>36948</c:v>
                </c:pt>
                <c:pt idx="246">
                  <c:v>36949</c:v>
                </c:pt>
                <c:pt idx="247">
                  <c:v>36950</c:v>
                </c:pt>
                <c:pt idx="248">
                  <c:v>36951</c:v>
                </c:pt>
                <c:pt idx="249">
                  <c:v>36952</c:v>
                </c:pt>
                <c:pt idx="250">
                  <c:v>36955</c:v>
                </c:pt>
                <c:pt idx="251">
                  <c:v>36956</c:v>
                </c:pt>
                <c:pt idx="252">
                  <c:v>36957</c:v>
                </c:pt>
                <c:pt idx="253">
                  <c:v>36958</c:v>
                </c:pt>
                <c:pt idx="254">
                  <c:v>36959</c:v>
                </c:pt>
                <c:pt idx="255">
                  <c:v>36962</c:v>
                </c:pt>
                <c:pt idx="256">
                  <c:v>36963</c:v>
                </c:pt>
                <c:pt idx="257">
                  <c:v>36964</c:v>
                </c:pt>
                <c:pt idx="258">
                  <c:v>36965</c:v>
                </c:pt>
                <c:pt idx="259">
                  <c:v>36966</c:v>
                </c:pt>
                <c:pt idx="260">
                  <c:v>36969</c:v>
                </c:pt>
                <c:pt idx="261">
                  <c:v>36970</c:v>
                </c:pt>
                <c:pt idx="262">
                  <c:v>36971</c:v>
                </c:pt>
                <c:pt idx="263">
                  <c:v>36972</c:v>
                </c:pt>
                <c:pt idx="264">
                  <c:v>36973</c:v>
                </c:pt>
                <c:pt idx="265">
                  <c:v>36976</c:v>
                </c:pt>
                <c:pt idx="266">
                  <c:v>36977</c:v>
                </c:pt>
                <c:pt idx="267">
                  <c:v>36978</c:v>
                </c:pt>
                <c:pt idx="268">
                  <c:v>36979</c:v>
                </c:pt>
                <c:pt idx="269">
                  <c:v>36980</c:v>
                </c:pt>
                <c:pt idx="270">
                  <c:v>36983</c:v>
                </c:pt>
                <c:pt idx="271">
                  <c:v>36984</c:v>
                </c:pt>
                <c:pt idx="272">
                  <c:v>36985</c:v>
                </c:pt>
                <c:pt idx="273">
                  <c:v>36986</c:v>
                </c:pt>
                <c:pt idx="274">
                  <c:v>36987</c:v>
                </c:pt>
                <c:pt idx="275">
                  <c:v>36990</c:v>
                </c:pt>
                <c:pt idx="276">
                  <c:v>36991</c:v>
                </c:pt>
                <c:pt idx="277">
                  <c:v>36992</c:v>
                </c:pt>
                <c:pt idx="278">
                  <c:v>36993</c:v>
                </c:pt>
                <c:pt idx="279">
                  <c:v>36994</c:v>
                </c:pt>
                <c:pt idx="280">
                  <c:v>36997</c:v>
                </c:pt>
                <c:pt idx="281">
                  <c:v>36998</c:v>
                </c:pt>
                <c:pt idx="282">
                  <c:v>36999</c:v>
                </c:pt>
                <c:pt idx="283">
                  <c:v>37000</c:v>
                </c:pt>
                <c:pt idx="284">
                  <c:v>37001</c:v>
                </c:pt>
                <c:pt idx="285">
                  <c:v>37004</c:v>
                </c:pt>
                <c:pt idx="286">
                  <c:v>37005</c:v>
                </c:pt>
                <c:pt idx="287">
                  <c:v>37006</c:v>
                </c:pt>
                <c:pt idx="288">
                  <c:v>37007</c:v>
                </c:pt>
                <c:pt idx="289">
                  <c:v>37008</c:v>
                </c:pt>
                <c:pt idx="290">
                  <c:v>37011</c:v>
                </c:pt>
                <c:pt idx="291">
                  <c:v>37012</c:v>
                </c:pt>
                <c:pt idx="292">
                  <c:v>37013</c:v>
                </c:pt>
                <c:pt idx="293">
                  <c:v>37014</c:v>
                </c:pt>
                <c:pt idx="294">
                  <c:v>37015</c:v>
                </c:pt>
                <c:pt idx="295">
                  <c:v>37018</c:v>
                </c:pt>
                <c:pt idx="296">
                  <c:v>37019</c:v>
                </c:pt>
                <c:pt idx="297">
                  <c:v>37020</c:v>
                </c:pt>
                <c:pt idx="298">
                  <c:v>37021</c:v>
                </c:pt>
                <c:pt idx="299">
                  <c:v>37022</c:v>
                </c:pt>
                <c:pt idx="300">
                  <c:v>37025</c:v>
                </c:pt>
                <c:pt idx="301">
                  <c:v>37026</c:v>
                </c:pt>
                <c:pt idx="302">
                  <c:v>37027</c:v>
                </c:pt>
                <c:pt idx="303">
                  <c:v>37028</c:v>
                </c:pt>
                <c:pt idx="304">
                  <c:v>37029</c:v>
                </c:pt>
                <c:pt idx="305">
                  <c:v>37032</c:v>
                </c:pt>
                <c:pt idx="306">
                  <c:v>37033</c:v>
                </c:pt>
                <c:pt idx="307">
                  <c:v>37034</c:v>
                </c:pt>
                <c:pt idx="308">
                  <c:v>37035</c:v>
                </c:pt>
                <c:pt idx="309">
                  <c:v>37036</c:v>
                </c:pt>
                <c:pt idx="310">
                  <c:v>37039</c:v>
                </c:pt>
                <c:pt idx="311">
                  <c:v>37040</c:v>
                </c:pt>
                <c:pt idx="312">
                  <c:v>37041</c:v>
                </c:pt>
                <c:pt idx="313">
                  <c:v>37042</c:v>
                </c:pt>
                <c:pt idx="314">
                  <c:v>37043</c:v>
                </c:pt>
                <c:pt idx="315">
                  <c:v>37046</c:v>
                </c:pt>
                <c:pt idx="316">
                  <c:v>37047</c:v>
                </c:pt>
                <c:pt idx="317">
                  <c:v>37048</c:v>
                </c:pt>
                <c:pt idx="318">
                  <c:v>37049</c:v>
                </c:pt>
                <c:pt idx="319">
                  <c:v>37050</c:v>
                </c:pt>
                <c:pt idx="320">
                  <c:v>37053</c:v>
                </c:pt>
                <c:pt idx="321">
                  <c:v>37054</c:v>
                </c:pt>
                <c:pt idx="322">
                  <c:v>37055</c:v>
                </c:pt>
                <c:pt idx="323">
                  <c:v>37056</c:v>
                </c:pt>
                <c:pt idx="324">
                  <c:v>37057</c:v>
                </c:pt>
                <c:pt idx="325">
                  <c:v>37060</c:v>
                </c:pt>
                <c:pt idx="326">
                  <c:v>37061</c:v>
                </c:pt>
                <c:pt idx="327">
                  <c:v>37062</c:v>
                </c:pt>
                <c:pt idx="328">
                  <c:v>37063</c:v>
                </c:pt>
                <c:pt idx="329">
                  <c:v>37064</c:v>
                </c:pt>
                <c:pt idx="330">
                  <c:v>37067</c:v>
                </c:pt>
                <c:pt idx="331">
                  <c:v>37068</c:v>
                </c:pt>
                <c:pt idx="332">
                  <c:v>37069</c:v>
                </c:pt>
                <c:pt idx="333">
                  <c:v>37070</c:v>
                </c:pt>
                <c:pt idx="334">
                  <c:v>37071</c:v>
                </c:pt>
                <c:pt idx="335">
                  <c:v>37074</c:v>
                </c:pt>
                <c:pt idx="336">
                  <c:v>37075</c:v>
                </c:pt>
                <c:pt idx="337">
                  <c:v>37076</c:v>
                </c:pt>
                <c:pt idx="338">
                  <c:v>37077</c:v>
                </c:pt>
                <c:pt idx="339">
                  <c:v>37078</c:v>
                </c:pt>
                <c:pt idx="340">
                  <c:v>37081</c:v>
                </c:pt>
                <c:pt idx="341">
                  <c:v>37082</c:v>
                </c:pt>
                <c:pt idx="342">
                  <c:v>37083</c:v>
                </c:pt>
                <c:pt idx="343">
                  <c:v>37084</c:v>
                </c:pt>
                <c:pt idx="344">
                  <c:v>37085</c:v>
                </c:pt>
                <c:pt idx="345">
                  <c:v>37088</c:v>
                </c:pt>
                <c:pt idx="346">
                  <c:v>37089</c:v>
                </c:pt>
                <c:pt idx="347">
                  <c:v>37090</c:v>
                </c:pt>
                <c:pt idx="348">
                  <c:v>37091</c:v>
                </c:pt>
                <c:pt idx="349">
                  <c:v>37092</c:v>
                </c:pt>
                <c:pt idx="350">
                  <c:v>37095</c:v>
                </c:pt>
                <c:pt idx="351">
                  <c:v>37096</c:v>
                </c:pt>
                <c:pt idx="352">
                  <c:v>37097</c:v>
                </c:pt>
                <c:pt idx="353">
                  <c:v>37098</c:v>
                </c:pt>
                <c:pt idx="354">
                  <c:v>37099</c:v>
                </c:pt>
                <c:pt idx="355">
                  <c:v>37102</c:v>
                </c:pt>
                <c:pt idx="356">
                  <c:v>37103</c:v>
                </c:pt>
                <c:pt idx="357">
                  <c:v>37104</c:v>
                </c:pt>
                <c:pt idx="358">
                  <c:v>37105</c:v>
                </c:pt>
                <c:pt idx="359">
                  <c:v>37106</c:v>
                </c:pt>
                <c:pt idx="360">
                  <c:v>37109</c:v>
                </c:pt>
                <c:pt idx="361">
                  <c:v>37110</c:v>
                </c:pt>
                <c:pt idx="362">
                  <c:v>37111</c:v>
                </c:pt>
                <c:pt idx="363">
                  <c:v>37112</c:v>
                </c:pt>
                <c:pt idx="364">
                  <c:v>37113</c:v>
                </c:pt>
                <c:pt idx="365">
                  <c:v>37116</c:v>
                </c:pt>
                <c:pt idx="366">
                  <c:v>37117</c:v>
                </c:pt>
                <c:pt idx="367">
                  <c:v>37118</c:v>
                </c:pt>
                <c:pt idx="368">
                  <c:v>37119</c:v>
                </c:pt>
                <c:pt idx="369">
                  <c:v>37120</c:v>
                </c:pt>
                <c:pt idx="370">
                  <c:v>37123</c:v>
                </c:pt>
                <c:pt idx="371">
                  <c:v>37124</c:v>
                </c:pt>
                <c:pt idx="372">
                  <c:v>37125</c:v>
                </c:pt>
                <c:pt idx="373">
                  <c:v>37126</c:v>
                </c:pt>
                <c:pt idx="374">
                  <c:v>37127</c:v>
                </c:pt>
                <c:pt idx="375">
                  <c:v>37130</c:v>
                </c:pt>
                <c:pt idx="376">
                  <c:v>37131</c:v>
                </c:pt>
                <c:pt idx="377">
                  <c:v>37132</c:v>
                </c:pt>
                <c:pt idx="378">
                  <c:v>37133</c:v>
                </c:pt>
                <c:pt idx="379">
                  <c:v>37134</c:v>
                </c:pt>
                <c:pt idx="380">
                  <c:v>37137</c:v>
                </c:pt>
                <c:pt idx="381">
                  <c:v>37138</c:v>
                </c:pt>
                <c:pt idx="382">
                  <c:v>37139</c:v>
                </c:pt>
                <c:pt idx="383">
                  <c:v>37140</c:v>
                </c:pt>
                <c:pt idx="384">
                  <c:v>37141</c:v>
                </c:pt>
                <c:pt idx="385">
                  <c:v>37144</c:v>
                </c:pt>
                <c:pt idx="386">
                  <c:v>37145</c:v>
                </c:pt>
                <c:pt idx="387">
                  <c:v>37146</c:v>
                </c:pt>
                <c:pt idx="388">
                  <c:v>37147</c:v>
                </c:pt>
                <c:pt idx="389">
                  <c:v>37148</c:v>
                </c:pt>
                <c:pt idx="390">
                  <c:v>37151</c:v>
                </c:pt>
                <c:pt idx="391">
                  <c:v>37152</c:v>
                </c:pt>
                <c:pt idx="392">
                  <c:v>37153</c:v>
                </c:pt>
                <c:pt idx="393">
                  <c:v>37154</c:v>
                </c:pt>
                <c:pt idx="394">
                  <c:v>37155</c:v>
                </c:pt>
                <c:pt idx="395">
                  <c:v>37158</c:v>
                </c:pt>
                <c:pt idx="396">
                  <c:v>37159</c:v>
                </c:pt>
                <c:pt idx="397">
                  <c:v>37160</c:v>
                </c:pt>
                <c:pt idx="398">
                  <c:v>37161</c:v>
                </c:pt>
                <c:pt idx="399">
                  <c:v>37162</c:v>
                </c:pt>
                <c:pt idx="400">
                  <c:v>37165</c:v>
                </c:pt>
                <c:pt idx="401">
                  <c:v>37166</c:v>
                </c:pt>
                <c:pt idx="402">
                  <c:v>37167</c:v>
                </c:pt>
                <c:pt idx="403">
                  <c:v>37168</c:v>
                </c:pt>
                <c:pt idx="404">
                  <c:v>37169</c:v>
                </c:pt>
                <c:pt idx="405">
                  <c:v>37172</c:v>
                </c:pt>
                <c:pt idx="406">
                  <c:v>37173</c:v>
                </c:pt>
                <c:pt idx="407">
                  <c:v>37174</c:v>
                </c:pt>
                <c:pt idx="408">
                  <c:v>37175</c:v>
                </c:pt>
                <c:pt idx="409">
                  <c:v>37176</c:v>
                </c:pt>
                <c:pt idx="410">
                  <c:v>37179</c:v>
                </c:pt>
                <c:pt idx="411">
                  <c:v>37180</c:v>
                </c:pt>
                <c:pt idx="412">
                  <c:v>37181</c:v>
                </c:pt>
                <c:pt idx="413">
                  <c:v>37182</c:v>
                </c:pt>
                <c:pt idx="414">
                  <c:v>37183</c:v>
                </c:pt>
                <c:pt idx="415">
                  <c:v>37186</c:v>
                </c:pt>
                <c:pt idx="416">
                  <c:v>37187</c:v>
                </c:pt>
                <c:pt idx="417">
                  <c:v>37188</c:v>
                </c:pt>
                <c:pt idx="418">
                  <c:v>37189</c:v>
                </c:pt>
                <c:pt idx="419">
                  <c:v>37190</c:v>
                </c:pt>
                <c:pt idx="420">
                  <c:v>37193</c:v>
                </c:pt>
                <c:pt idx="421">
                  <c:v>37194</c:v>
                </c:pt>
                <c:pt idx="422">
                  <c:v>37195</c:v>
                </c:pt>
                <c:pt idx="423">
                  <c:v>37196</c:v>
                </c:pt>
                <c:pt idx="424">
                  <c:v>37197</c:v>
                </c:pt>
                <c:pt idx="425">
                  <c:v>37200</c:v>
                </c:pt>
                <c:pt idx="426">
                  <c:v>37201</c:v>
                </c:pt>
                <c:pt idx="427">
                  <c:v>37202</c:v>
                </c:pt>
                <c:pt idx="428">
                  <c:v>37203</c:v>
                </c:pt>
                <c:pt idx="429">
                  <c:v>37204</c:v>
                </c:pt>
                <c:pt idx="430">
                  <c:v>37207</c:v>
                </c:pt>
                <c:pt idx="431">
                  <c:v>37208</c:v>
                </c:pt>
                <c:pt idx="432">
                  <c:v>37209</c:v>
                </c:pt>
                <c:pt idx="433">
                  <c:v>37210</c:v>
                </c:pt>
                <c:pt idx="434">
                  <c:v>37211</c:v>
                </c:pt>
                <c:pt idx="435">
                  <c:v>37214</c:v>
                </c:pt>
                <c:pt idx="436">
                  <c:v>37215</c:v>
                </c:pt>
                <c:pt idx="437">
                  <c:v>37216</c:v>
                </c:pt>
                <c:pt idx="438">
                  <c:v>37217</c:v>
                </c:pt>
                <c:pt idx="439">
                  <c:v>37218</c:v>
                </c:pt>
                <c:pt idx="440">
                  <c:v>37221</c:v>
                </c:pt>
                <c:pt idx="441">
                  <c:v>37222</c:v>
                </c:pt>
                <c:pt idx="442">
                  <c:v>37223</c:v>
                </c:pt>
                <c:pt idx="443">
                  <c:v>37224</c:v>
                </c:pt>
                <c:pt idx="444">
                  <c:v>37225</c:v>
                </c:pt>
                <c:pt idx="445">
                  <c:v>37228</c:v>
                </c:pt>
                <c:pt idx="446">
                  <c:v>37229</c:v>
                </c:pt>
                <c:pt idx="447">
                  <c:v>37230</c:v>
                </c:pt>
                <c:pt idx="448">
                  <c:v>37231</c:v>
                </c:pt>
                <c:pt idx="449">
                  <c:v>37232</c:v>
                </c:pt>
                <c:pt idx="450">
                  <c:v>37235</c:v>
                </c:pt>
                <c:pt idx="451">
                  <c:v>37236</c:v>
                </c:pt>
                <c:pt idx="452">
                  <c:v>37237</c:v>
                </c:pt>
                <c:pt idx="453">
                  <c:v>37238</c:v>
                </c:pt>
                <c:pt idx="454">
                  <c:v>37239</c:v>
                </c:pt>
                <c:pt idx="455">
                  <c:v>37242</c:v>
                </c:pt>
                <c:pt idx="456">
                  <c:v>37243</c:v>
                </c:pt>
                <c:pt idx="457">
                  <c:v>37244</c:v>
                </c:pt>
                <c:pt idx="458">
                  <c:v>37245</c:v>
                </c:pt>
                <c:pt idx="459">
                  <c:v>37246</c:v>
                </c:pt>
                <c:pt idx="460">
                  <c:v>37252</c:v>
                </c:pt>
                <c:pt idx="461">
                  <c:v>37253</c:v>
                </c:pt>
                <c:pt idx="462">
                  <c:v>37256</c:v>
                </c:pt>
                <c:pt idx="463">
                  <c:v>37257</c:v>
                </c:pt>
                <c:pt idx="464">
                  <c:v>37258</c:v>
                </c:pt>
                <c:pt idx="465">
                  <c:v>37259</c:v>
                </c:pt>
                <c:pt idx="466">
                  <c:v>37260</c:v>
                </c:pt>
                <c:pt idx="467">
                  <c:v>37263</c:v>
                </c:pt>
                <c:pt idx="468">
                  <c:v>37264</c:v>
                </c:pt>
                <c:pt idx="469">
                  <c:v>37265</c:v>
                </c:pt>
                <c:pt idx="470">
                  <c:v>37266</c:v>
                </c:pt>
                <c:pt idx="471">
                  <c:v>37267</c:v>
                </c:pt>
                <c:pt idx="472">
                  <c:v>37270</c:v>
                </c:pt>
                <c:pt idx="473">
                  <c:v>37271</c:v>
                </c:pt>
                <c:pt idx="474">
                  <c:v>37272</c:v>
                </c:pt>
                <c:pt idx="475">
                  <c:v>37273</c:v>
                </c:pt>
                <c:pt idx="476">
                  <c:v>37274</c:v>
                </c:pt>
                <c:pt idx="477">
                  <c:v>37277</c:v>
                </c:pt>
                <c:pt idx="478">
                  <c:v>37278</c:v>
                </c:pt>
                <c:pt idx="479">
                  <c:v>37279</c:v>
                </c:pt>
                <c:pt idx="480">
                  <c:v>37280</c:v>
                </c:pt>
                <c:pt idx="481">
                  <c:v>37281</c:v>
                </c:pt>
                <c:pt idx="482">
                  <c:v>37284</c:v>
                </c:pt>
                <c:pt idx="483">
                  <c:v>37285</c:v>
                </c:pt>
                <c:pt idx="484">
                  <c:v>37286</c:v>
                </c:pt>
                <c:pt idx="485">
                  <c:v>37287</c:v>
                </c:pt>
                <c:pt idx="486">
                  <c:v>37288</c:v>
                </c:pt>
                <c:pt idx="487">
                  <c:v>37291</c:v>
                </c:pt>
                <c:pt idx="488">
                  <c:v>37292</c:v>
                </c:pt>
                <c:pt idx="489">
                  <c:v>37293</c:v>
                </c:pt>
                <c:pt idx="490">
                  <c:v>37294</c:v>
                </c:pt>
                <c:pt idx="491">
                  <c:v>37295</c:v>
                </c:pt>
                <c:pt idx="492">
                  <c:v>37298</c:v>
                </c:pt>
                <c:pt idx="493">
                  <c:v>37299</c:v>
                </c:pt>
                <c:pt idx="494">
                  <c:v>37300</c:v>
                </c:pt>
                <c:pt idx="495">
                  <c:v>37301</c:v>
                </c:pt>
                <c:pt idx="496">
                  <c:v>37302</c:v>
                </c:pt>
                <c:pt idx="497">
                  <c:v>37305</c:v>
                </c:pt>
                <c:pt idx="498">
                  <c:v>37306</c:v>
                </c:pt>
                <c:pt idx="499">
                  <c:v>37307</c:v>
                </c:pt>
                <c:pt idx="500">
                  <c:v>37308</c:v>
                </c:pt>
                <c:pt idx="501">
                  <c:v>37309</c:v>
                </c:pt>
                <c:pt idx="502">
                  <c:v>37312</c:v>
                </c:pt>
                <c:pt idx="503">
                  <c:v>37313</c:v>
                </c:pt>
                <c:pt idx="504">
                  <c:v>37314</c:v>
                </c:pt>
                <c:pt idx="505">
                  <c:v>37315</c:v>
                </c:pt>
                <c:pt idx="506">
                  <c:v>37316</c:v>
                </c:pt>
                <c:pt idx="507">
                  <c:v>37319</c:v>
                </c:pt>
                <c:pt idx="508">
                  <c:v>37320</c:v>
                </c:pt>
                <c:pt idx="509">
                  <c:v>37321</c:v>
                </c:pt>
                <c:pt idx="510">
                  <c:v>37322</c:v>
                </c:pt>
                <c:pt idx="511">
                  <c:v>37323</c:v>
                </c:pt>
                <c:pt idx="512">
                  <c:v>37326</c:v>
                </c:pt>
                <c:pt idx="513">
                  <c:v>37327</c:v>
                </c:pt>
                <c:pt idx="514">
                  <c:v>37328</c:v>
                </c:pt>
                <c:pt idx="515">
                  <c:v>37329</c:v>
                </c:pt>
                <c:pt idx="516">
                  <c:v>37330</c:v>
                </c:pt>
                <c:pt idx="517">
                  <c:v>37333</c:v>
                </c:pt>
                <c:pt idx="518">
                  <c:v>37334</c:v>
                </c:pt>
                <c:pt idx="519">
                  <c:v>37335</c:v>
                </c:pt>
                <c:pt idx="520">
                  <c:v>37336</c:v>
                </c:pt>
                <c:pt idx="521">
                  <c:v>37337</c:v>
                </c:pt>
                <c:pt idx="522">
                  <c:v>37340</c:v>
                </c:pt>
                <c:pt idx="523">
                  <c:v>37341</c:v>
                </c:pt>
                <c:pt idx="524">
                  <c:v>37342</c:v>
                </c:pt>
                <c:pt idx="525">
                  <c:v>37343</c:v>
                </c:pt>
                <c:pt idx="526">
                  <c:v>37344</c:v>
                </c:pt>
                <c:pt idx="527">
                  <c:v>37347</c:v>
                </c:pt>
                <c:pt idx="528">
                  <c:v>37348</c:v>
                </c:pt>
                <c:pt idx="529">
                  <c:v>37349</c:v>
                </c:pt>
                <c:pt idx="530">
                  <c:v>37350</c:v>
                </c:pt>
                <c:pt idx="531">
                  <c:v>37351</c:v>
                </c:pt>
                <c:pt idx="532">
                  <c:v>37354</c:v>
                </c:pt>
                <c:pt idx="533">
                  <c:v>37355</c:v>
                </c:pt>
                <c:pt idx="534">
                  <c:v>37356</c:v>
                </c:pt>
                <c:pt idx="535">
                  <c:v>37357</c:v>
                </c:pt>
                <c:pt idx="536">
                  <c:v>37358</c:v>
                </c:pt>
                <c:pt idx="537">
                  <c:v>37361</c:v>
                </c:pt>
                <c:pt idx="538">
                  <c:v>37362</c:v>
                </c:pt>
                <c:pt idx="539">
                  <c:v>37363</c:v>
                </c:pt>
                <c:pt idx="540">
                  <c:v>37364</c:v>
                </c:pt>
                <c:pt idx="541">
                  <c:v>37365</c:v>
                </c:pt>
                <c:pt idx="542">
                  <c:v>37368</c:v>
                </c:pt>
                <c:pt idx="543">
                  <c:v>37369</c:v>
                </c:pt>
                <c:pt idx="544">
                  <c:v>37370</c:v>
                </c:pt>
                <c:pt idx="545">
                  <c:v>37371</c:v>
                </c:pt>
                <c:pt idx="546">
                  <c:v>37372</c:v>
                </c:pt>
                <c:pt idx="547">
                  <c:v>37375</c:v>
                </c:pt>
                <c:pt idx="548">
                  <c:v>37376</c:v>
                </c:pt>
                <c:pt idx="549">
                  <c:v>37377</c:v>
                </c:pt>
                <c:pt idx="550">
                  <c:v>37378</c:v>
                </c:pt>
                <c:pt idx="551">
                  <c:v>37379</c:v>
                </c:pt>
                <c:pt idx="552">
                  <c:v>37382</c:v>
                </c:pt>
                <c:pt idx="553">
                  <c:v>37383</c:v>
                </c:pt>
                <c:pt idx="554">
                  <c:v>37384</c:v>
                </c:pt>
                <c:pt idx="555">
                  <c:v>37385</c:v>
                </c:pt>
                <c:pt idx="556">
                  <c:v>37386</c:v>
                </c:pt>
                <c:pt idx="557">
                  <c:v>37389</c:v>
                </c:pt>
                <c:pt idx="558">
                  <c:v>37390</c:v>
                </c:pt>
                <c:pt idx="559">
                  <c:v>37391</c:v>
                </c:pt>
                <c:pt idx="560">
                  <c:v>37392</c:v>
                </c:pt>
                <c:pt idx="561">
                  <c:v>37393</c:v>
                </c:pt>
                <c:pt idx="562">
                  <c:v>37396</c:v>
                </c:pt>
                <c:pt idx="563">
                  <c:v>37397</c:v>
                </c:pt>
                <c:pt idx="564">
                  <c:v>37398</c:v>
                </c:pt>
                <c:pt idx="565">
                  <c:v>37399</c:v>
                </c:pt>
                <c:pt idx="566">
                  <c:v>37400</c:v>
                </c:pt>
                <c:pt idx="567">
                  <c:v>37403</c:v>
                </c:pt>
                <c:pt idx="568">
                  <c:v>37404</c:v>
                </c:pt>
                <c:pt idx="569">
                  <c:v>37405</c:v>
                </c:pt>
                <c:pt idx="570">
                  <c:v>37406</c:v>
                </c:pt>
                <c:pt idx="571">
                  <c:v>37407</c:v>
                </c:pt>
                <c:pt idx="572">
                  <c:v>37410</c:v>
                </c:pt>
                <c:pt idx="573">
                  <c:v>37411</c:v>
                </c:pt>
                <c:pt idx="574">
                  <c:v>37412</c:v>
                </c:pt>
                <c:pt idx="575">
                  <c:v>37413</c:v>
                </c:pt>
                <c:pt idx="576">
                  <c:v>37414</c:v>
                </c:pt>
                <c:pt idx="577">
                  <c:v>37417</c:v>
                </c:pt>
                <c:pt idx="578">
                  <c:v>37418</c:v>
                </c:pt>
                <c:pt idx="579">
                  <c:v>37419</c:v>
                </c:pt>
                <c:pt idx="580">
                  <c:v>37420</c:v>
                </c:pt>
                <c:pt idx="581">
                  <c:v>37421</c:v>
                </c:pt>
                <c:pt idx="582">
                  <c:v>37424</c:v>
                </c:pt>
                <c:pt idx="583">
                  <c:v>37425</c:v>
                </c:pt>
                <c:pt idx="584">
                  <c:v>37426</c:v>
                </c:pt>
                <c:pt idx="585">
                  <c:v>37427</c:v>
                </c:pt>
                <c:pt idx="586">
                  <c:v>37428</c:v>
                </c:pt>
                <c:pt idx="587">
                  <c:v>37431</c:v>
                </c:pt>
                <c:pt idx="588">
                  <c:v>37432</c:v>
                </c:pt>
                <c:pt idx="589">
                  <c:v>37433</c:v>
                </c:pt>
                <c:pt idx="590">
                  <c:v>37434</c:v>
                </c:pt>
                <c:pt idx="591">
                  <c:v>37435</c:v>
                </c:pt>
                <c:pt idx="592">
                  <c:v>37438</c:v>
                </c:pt>
                <c:pt idx="593">
                  <c:v>37439</c:v>
                </c:pt>
                <c:pt idx="594">
                  <c:v>37440</c:v>
                </c:pt>
                <c:pt idx="595">
                  <c:v>37441</c:v>
                </c:pt>
                <c:pt idx="596">
                  <c:v>37442</c:v>
                </c:pt>
                <c:pt idx="597">
                  <c:v>37445</c:v>
                </c:pt>
                <c:pt idx="598">
                  <c:v>37446</c:v>
                </c:pt>
                <c:pt idx="599">
                  <c:v>37447</c:v>
                </c:pt>
                <c:pt idx="600">
                  <c:v>37448</c:v>
                </c:pt>
                <c:pt idx="601">
                  <c:v>37449</c:v>
                </c:pt>
                <c:pt idx="602">
                  <c:v>37452</c:v>
                </c:pt>
                <c:pt idx="603">
                  <c:v>37453</c:v>
                </c:pt>
                <c:pt idx="604">
                  <c:v>37454</c:v>
                </c:pt>
                <c:pt idx="605">
                  <c:v>37455</c:v>
                </c:pt>
                <c:pt idx="606">
                  <c:v>37456</c:v>
                </c:pt>
                <c:pt idx="607">
                  <c:v>37459</c:v>
                </c:pt>
                <c:pt idx="608">
                  <c:v>37460</c:v>
                </c:pt>
                <c:pt idx="609">
                  <c:v>37461</c:v>
                </c:pt>
                <c:pt idx="610">
                  <c:v>37462</c:v>
                </c:pt>
                <c:pt idx="611">
                  <c:v>37463</c:v>
                </c:pt>
                <c:pt idx="612">
                  <c:v>37466</c:v>
                </c:pt>
                <c:pt idx="613">
                  <c:v>37467</c:v>
                </c:pt>
                <c:pt idx="614">
                  <c:v>37468</c:v>
                </c:pt>
                <c:pt idx="615">
                  <c:v>37469</c:v>
                </c:pt>
                <c:pt idx="616">
                  <c:v>37470</c:v>
                </c:pt>
                <c:pt idx="617">
                  <c:v>37473</c:v>
                </c:pt>
                <c:pt idx="618">
                  <c:v>37474</c:v>
                </c:pt>
                <c:pt idx="619">
                  <c:v>37475</c:v>
                </c:pt>
                <c:pt idx="620">
                  <c:v>37476</c:v>
                </c:pt>
                <c:pt idx="621">
                  <c:v>37477</c:v>
                </c:pt>
                <c:pt idx="622">
                  <c:v>37480</c:v>
                </c:pt>
                <c:pt idx="623">
                  <c:v>37481</c:v>
                </c:pt>
                <c:pt idx="624">
                  <c:v>37482</c:v>
                </c:pt>
                <c:pt idx="625">
                  <c:v>37483</c:v>
                </c:pt>
                <c:pt idx="626">
                  <c:v>37484</c:v>
                </c:pt>
                <c:pt idx="627">
                  <c:v>37487</c:v>
                </c:pt>
                <c:pt idx="628">
                  <c:v>37488</c:v>
                </c:pt>
                <c:pt idx="629">
                  <c:v>37489</c:v>
                </c:pt>
                <c:pt idx="630">
                  <c:v>37490</c:v>
                </c:pt>
                <c:pt idx="631">
                  <c:v>37491</c:v>
                </c:pt>
                <c:pt idx="632">
                  <c:v>37494</c:v>
                </c:pt>
                <c:pt idx="633">
                  <c:v>37495</c:v>
                </c:pt>
                <c:pt idx="634">
                  <c:v>37496</c:v>
                </c:pt>
                <c:pt idx="635">
                  <c:v>37497</c:v>
                </c:pt>
                <c:pt idx="636">
                  <c:v>37498</c:v>
                </c:pt>
                <c:pt idx="637">
                  <c:v>37501</c:v>
                </c:pt>
                <c:pt idx="638">
                  <c:v>37502</c:v>
                </c:pt>
                <c:pt idx="639">
                  <c:v>37503</c:v>
                </c:pt>
                <c:pt idx="640">
                  <c:v>37504</c:v>
                </c:pt>
                <c:pt idx="641">
                  <c:v>37505</c:v>
                </c:pt>
                <c:pt idx="642">
                  <c:v>37508</c:v>
                </c:pt>
                <c:pt idx="643">
                  <c:v>37509</c:v>
                </c:pt>
                <c:pt idx="644">
                  <c:v>37510</c:v>
                </c:pt>
                <c:pt idx="645">
                  <c:v>37511</c:v>
                </c:pt>
                <c:pt idx="646">
                  <c:v>37512</c:v>
                </c:pt>
                <c:pt idx="647">
                  <c:v>37515</c:v>
                </c:pt>
                <c:pt idx="648">
                  <c:v>37516</c:v>
                </c:pt>
                <c:pt idx="649">
                  <c:v>37517</c:v>
                </c:pt>
                <c:pt idx="650">
                  <c:v>37518</c:v>
                </c:pt>
                <c:pt idx="651">
                  <c:v>37519</c:v>
                </c:pt>
                <c:pt idx="652">
                  <c:v>37522</c:v>
                </c:pt>
                <c:pt idx="653">
                  <c:v>37523</c:v>
                </c:pt>
                <c:pt idx="654">
                  <c:v>37524</c:v>
                </c:pt>
                <c:pt idx="655">
                  <c:v>37525</c:v>
                </c:pt>
                <c:pt idx="656">
                  <c:v>37526</c:v>
                </c:pt>
                <c:pt idx="657">
                  <c:v>37529</c:v>
                </c:pt>
                <c:pt idx="658">
                  <c:v>37530</c:v>
                </c:pt>
                <c:pt idx="659">
                  <c:v>37531</c:v>
                </c:pt>
                <c:pt idx="660">
                  <c:v>37532</c:v>
                </c:pt>
                <c:pt idx="661">
                  <c:v>37533</c:v>
                </c:pt>
                <c:pt idx="662">
                  <c:v>37536</c:v>
                </c:pt>
                <c:pt idx="663">
                  <c:v>37537</c:v>
                </c:pt>
                <c:pt idx="664">
                  <c:v>37538</c:v>
                </c:pt>
                <c:pt idx="665">
                  <c:v>37539</c:v>
                </c:pt>
                <c:pt idx="666">
                  <c:v>37540</c:v>
                </c:pt>
                <c:pt idx="667">
                  <c:v>37543</c:v>
                </c:pt>
                <c:pt idx="668">
                  <c:v>37544</c:v>
                </c:pt>
                <c:pt idx="669">
                  <c:v>37545</c:v>
                </c:pt>
                <c:pt idx="670">
                  <c:v>37546</c:v>
                </c:pt>
                <c:pt idx="671">
                  <c:v>37547</c:v>
                </c:pt>
                <c:pt idx="672">
                  <c:v>37550</c:v>
                </c:pt>
                <c:pt idx="673">
                  <c:v>37551</c:v>
                </c:pt>
                <c:pt idx="674">
                  <c:v>37552</c:v>
                </c:pt>
                <c:pt idx="675">
                  <c:v>37553</c:v>
                </c:pt>
                <c:pt idx="676">
                  <c:v>37554</c:v>
                </c:pt>
                <c:pt idx="677">
                  <c:v>37557</c:v>
                </c:pt>
                <c:pt idx="678">
                  <c:v>37558</c:v>
                </c:pt>
                <c:pt idx="679">
                  <c:v>37559</c:v>
                </c:pt>
                <c:pt idx="680">
                  <c:v>37560</c:v>
                </c:pt>
                <c:pt idx="681">
                  <c:v>37561</c:v>
                </c:pt>
                <c:pt idx="682">
                  <c:v>37564</c:v>
                </c:pt>
                <c:pt idx="683">
                  <c:v>37565</c:v>
                </c:pt>
                <c:pt idx="684">
                  <c:v>37566</c:v>
                </c:pt>
                <c:pt idx="685">
                  <c:v>37567</c:v>
                </c:pt>
                <c:pt idx="686">
                  <c:v>37568</c:v>
                </c:pt>
                <c:pt idx="687">
                  <c:v>37571</c:v>
                </c:pt>
                <c:pt idx="688">
                  <c:v>37572</c:v>
                </c:pt>
                <c:pt idx="689">
                  <c:v>37573</c:v>
                </c:pt>
                <c:pt idx="690">
                  <c:v>37574</c:v>
                </c:pt>
                <c:pt idx="691">
                  <c:v>37575</c:v>
                </c:pt>
                <c:pt idx="692">
                  <c:v>37578</c:v>
                </c:pt>
                <c:pt idx="693">
                  <c:v>37579</c:v>
                </c:pt>
                <c:pt idx="694">
                  <c:v>37580</c:v>
                </c:pt>
                <c:pt idx="695">
                  <c:v>37581</c:v>
                </c:pt>
                <c:pt idx="696">
                  <c:v>37582</c:v>
                </c:pt>
                <c:pt idx="697">
                  <c:v>37585</c:v>
                </c:pt>
                <c:pt idx="698">
                  <c:v>37586</c:v>
                </c:pt>
                <c:pt idx="699">
                  <c:v>37587</c:v>
                </c:pt>
                <c:pt idx="700">
                  <c:v>37588</c:v>
                </c:pt>
                <c:pt idx="701">
                  <c:v>37589</c:v>
                </c:pt>
                <c:pt idx="702">
                  <c:v>37592</c:v>
                </c:pt>
                <c:pt idx="703">
                  <c:v>37593</c:v>
                </c:pt>
                <c:pt idx="704">
                  <c:v>37594</c:v>
                </c:pt>
                <c:pt idx="705">
                  <c:v>37595</c:v>
                </c:pt>
                <c:pt idx="706">
                  <c:v>37596</c:v>
                </c:pt>
                <c:pt idx="707">
                  <c:v>37599</c:v>
                </c:pt>
                <c:pt idx="708">
                  <c:v>37600</c:v>
                </c:pt>
                <c:pt idx="709">
                  <c:v>37601</c:v>
                </c:pt>
                <c:pt idx="710">
                  <c:v>37602</c:v>
                </c:pt>
                <c:pt idx="711">
                  <c:v>37603</c:v>
                </c:pt>
                <c:pt idx="712">
                  <c:v>37606</c:v>
                </c:pt>
                <c:pt idx="713">
                  <c:v>37607</c:v>
                </c:pt>
                <c:pt idx="714">
                  <c:v>37608</c:v>
                </c:pt>
                <c:pt idx="715">
                  <c:v>37609</c:v>
                </c:pt>
                <c:pt idx="716">
                  <c:v>37610</c:v>
                </c:pt>
                <c:pt idx="717">
                  <c:v>37613</c:v>
                </c:pt>
                <c:pt idx="718">
                  <c:v>37614</c:v>
                </c:pt>
                <c:pt idx="719">
                  <c:v>37615</c:v>
                </c:pt>
                <c:pt idx="720">
                  <c:v>37616</c:v>
                </c:pt>
                <c:pt idx="721">
                  <c:v>37617</c:v>
                </c:pt>
                <c:pt idx="722">
                  <c:v>37620</c:v>
                </c:pt>
                <c:pt idx="723">
                  <c:v>37621</c:v>
                </c:pt>
                <c:pt idx="724">
                  <c:v>37622</c:v>
                </c:pt>
                <c:pt idx="725">
                  <c:v>37623</c:v>
                </c:pt>
                <c:pt idx="726">
                  <c:v>37624</c:v>
                </c:pt>
                <c:pt idx="727">
                  <c:v>37627</c:v>
                </c:pt>
                <c:pt idx="728">
                  <c:v>37628</c:v>
                </c:pt>
                <c:pt idx="729">
                  <c:v>37629</c:v>
                </c:pt>
                <c:pt idx="730">
                  <c:v>37630</c:v>
                </c:pt>
                <c:pt idx="731">
                  <c:v>37631</c:v>
                </c:pt>
                <c:pt idx="732">
                  <c:v>37634</c:v>
                </c:pt>
                <c:pt idx="733">
                  <c:v>37635</c:v>
                </c:pt>
                <c:pt idx="734">
                  <c:v>37636</c:v>
                </c:pt>
                <c:pt idx="735">
                  <c:v>37637</c:v>
                </c:pt>
                <c:pt idx="736">
                  <c:v>37638</c:v>
                </c:pt>
                <c:pt idx="737">
                  <c:v>37641</c:v>
                </c:pt>
                <c:pt idx="738">
                  <c:v>37642</c:v>
                </c:pt>
                <c:pt idx="739">
                  <c:v>37643</c:v>
                </c:pt>
                <c:pt idx="740">
                  <c:v>37644</c:v>
                </c:pt>
                <c:pt idx="741">
                  <c:v>37645</c:v>
                </c:pt>
                <c:pt idx="742">
                  <c:v>37648</c:v>
                </c:pt>
                <c:pt idx="743">
                  <c:v>37649</c:v>
                </c:pt>
                <c:pt idx="744">
                  <c:v>37650</c:v>
                </c:pt>
                <c:pt idx="745">
                  <c:v>37651</c:v>
                </c:pt>
                <c:pt idx="746">
                  <c:v>37652</c:v>
                </c:pt>
                <c:pt idx="747">
                  <c:v>37655</c:v>
                </c:pt>
                <c:pt idx="748">
                  <c:v>37656</c:v>
                </c:pt>
                <c:pt idx="749">
                  <c:v>37657</c:v>
                </c:pt>
                <c:pt idx="750">
                  <c:v>37658</c:v>
                </c:pt>
                <c:pt idx="751">
                  <c:v>37659</c:v>
                </c:pt>
                <c:pt idx="752">
                  <c:v>37662</c:v>
                </c:pt>
                <c:pt idx="753">
                  <c:v>37663</c:v>
                </c:pt>
                <c:pt idx="754">
                  <c:v>37664</c:v>
                </c:pt>
                <c:pt idx="755">
                  <c:v>37665</c:v>
                </c:pt>
                <c:pt idx="756">
                  <c:v>37666</c:v>
                </c:pt>
                <c:pt idx="757">
                  <c:v>37669</c:v>
                </c:pt>
                <c:pt idx="758">
                  <c:v>37670</c:v>
                </c:pt>
                <c:pt idx="759">
                  <c:v>37671</c:v>
                </c:pt>
                <c:pt idx="760">
                  <c:v>37672</c:v>
                </c:pt>
                <c:pt idx="761">
                  <c:v>37673</c:v>
                </c:pt>
                <c:pt idx="762">
                  <c:v>37676</c:v>
                </c:pt>
                <c:pt idx="763">
                  <c:v>37677</c:v>
                </c:pt>
                <c:pt idx="764">
                  <c:v>37678</c:v>
                </c:pt>
                <c:pt idx="765">
                  <c:v>37679</c:v>
                </c:pt>
                <c:pt idx="766">
                  <c:v>37680</c:v>
                </c:pt>
                <c:pt idx="767">
                  <c:v>37683</c:v>
                </c:pt>
                <c:pt idx="768">
                  <c:v>37684</c:v>
                </c:pt>
                <c:pt idx="769">
                  <c:v>37685</c:v>
                </c:pt>
                <c:pt idx="770">
                  <c:v>37686</c:v>
                </c:pt>
                <c:pt idx="771">
                  <c:v>37687</c:v>
                </c:pt>
                <c:pt idx="772">
                  <c:v>37690</c:v>
                </c:pt>
                <c:pt idx="773">
                  <c:v>37691</c:v>
                </c:pt>
                <c:pt idx="774">
                  <c:v>37692</c:v>
                </c:pt>
                <c:pt idx="775">
                  <c:v>37693</c:v>
                </c:pt>
                <c:pt idx="776">
                  <c:v>37694</c:v>
                </c:pt>
                <c:pt idx="777">
                  <c:v>37697</c:v>
                </c:pt>
                <c:pt idx="778">
                  <c:v>37698</c:v>
                </c:pt>
                <c:pt idx="779">
                  <c:v>37699</c:v>
                </c:pt>
                <c:pt idx="780">
                  <c:v>37700</c:v>
                </c:pt>
                <c:pt idx="781">
                  <c:v>37701</c:v>
                </c:pt>
                <c:pt idx="782">
                  <c:v>37704</c:v>
                </c:pt>
                <c:pt idx="783">
                  <c:v>37705</c:v>
                </c:pt>
                <c:pt idx="784">
                  <c:v>37706</c:v>
                </c:pt>
                <c:pt idx="785">
                  <c:v>37707</c:v>
                </c:pt>
                <c:pt idx="786">
                  <c:v>37708</c:v>
                </c:pt>
                <c:pt idx="787">
                  <c:v>37711</c:v>
                </c:pt>
                <c:pt idx="788">
                  <c:v>37712</c:v>
                </c:pt>
                <c:pt idx="789">
                  <c:v>37713</c:v>
                </c:pt>
                <c:pt idx="790">
                  <c:v>37714</c:v>
                </c:pt>
                <c:pt idx="791">
                  <c:v>37715</c:v>
                </c:pt>
                <c:pt idx="792">
                  <c:v>37718</c:v>
                </c:pt>
                <c:pt idx="793">
                  <c:v>37719</c:v>
                </c:pt>
                <c:pt idx="794">
                  <c:v>37720</c:v>
                </c:pt>
                <c:pt idx="795">
                  <c:v>37721</c:v>
                </c:pt>
                <c:pt idx="796">
                  <c:v>37722</c:v>
                </c:pt>
                <c:pt idx="797">
                  <c:v>37725</c:v>
                </c:pt>
                <c:pt idx="798">
                  <c:v>37726</c:v>
                </c:pt>
                <c:pt idx="799">
                  <c:v>37727</c:v>
                </c:pt>
                <c:pt idx="800">
                  <c:v>37728</c:v>
                </c:pt>
                <c:pt idx="801">
                  <c:v>37729</c:v>
                </c:pt>
                <c:pt idx="802">
                  <c:v>37732</c:v>
                </c:pt>
                <c:pt idx="803">
                  <c:v>37733</c:v>
                </c:pt>
                <c:pt idx="804">
                  <c:v>37734</c:v>
                </c:pt>
                <c:pt idx="805">
                  <c:v>37735</c:v>
                </c:pt>
                <c:pt idx="806">
                  <c:v>37736</c:v>
                </c:pt>
                <c:pt idx="807">
                  <c:v>37739</c:v>
                </c:pt>
                <c:pt idx="808">
                  <c:v>37740</c:v>
                </c:pt>
                <c:pt idx="809">
                  <c:v>37741</c:v>
                </c:pt>
                <c:pt idx="810">
                  <c:v>37742</c:v>
                </c:pt>
                <c:pt idx="811">
                  <c:v>37743</c:v>
                </c:pt>
                <c:pt idx="812">
                  <c:v>37746</c:v>
                </c:pt>
                <c:pt idx="813">
                  <c:v>37747</c:v>
                </c:pt>
                <c:pt idx="814">
                  <c:v>37748</c:v>
                </c:pt>
                <c:pt idx="815">
                  <c:v>37749</c:v>
                </c:pt>
                <c:pt idx="816">
                  <c:v>37750</c:v>
                </c:pt>
                <c:pt idx="817">
                  <c:v>37753</c:v>
                </c:pt>
                <c:pt idx="818">
                  <c:v>37754</c:v>
                </c:pt>
                <c:pt idx="819">
                  <c:v>37755</c:v>
                </c:pt>
                <c:pt idx="820">
                  <c:v>37756</c:v>
                </c:pt>
                <c:pt idx="821">
                  <c:v>37757</c:v>
                </c:pt>
                <c:pt idx="822">
                  <c:v>37760</c:v>
                </c:pt>
                <c:pt idx="823">
                  <c:v>37761</c:v>
                </c:pt>
                <c:pt idx="824">
                  <c:v>37762</c:v>
                </c:pt>
                <c:pt idx="825">
                  <c:v>37763</c:v>
                </c:pt>
                <c:pt idx="826">
                  <c:v>37764</c:v>
                </c:pt>
                <c:pt idx="827">
                  <c:v>37767</c:v>
                </c:pt>
                <c:pt idx="828">
                  <c:v>37768</c:v>
                </c:pt>
                <c:pt idx="829">
                  <c:v>37769</c:v>
                </c:pt>
                <c:pt idx="830">
                  <c:v>37770</c:v>
                </c:pt>
                <c:pt idx="831">
                  <c:v>37771</c:v>
                </c:pt>
                <c:pt idx="832">
                  <c:v>37774</c:v>
                </c:pt>
                <c:pt idx="833">
                  <c:v>37775</c:v>
                </c:pt>
                <c:pt idx="834">
                  <c:v>37776</c:v>
                </c:pt>
                <c:pt idx="835">
                  <c:v>37777</c:v>
                </c:pt>
                <c:pt idx="836">
                  <c:v>37778</c:v>
                </c:pt>
                <c:pt idx="837">
                  <c:v>37781</c:v>
                </c:pt>
                <c:pt idx="838">
                  <c:v>37782</c:v>
                </c:pt>
                <c:pt idx="839">
                  <c:v>37783</c:v>
                </c:pt>
                <c:pt idx="840">
                  <c:v>37784</c:v>
                </c:pt>
                <c:pt idx="841">
                  <c:v>37785</c:v>
                </c:pt>
                <c:pt idx="842">
                  <c:v>37788</c:v>
                </c:pt>
                <c:pt idx="843">
                  <c:v>37789</c:v>
                </c:pt>
                <c:pt idx="844">
                  <c:v>37790</c:v>
                </c:pt>
                <c:pt idx="845">
                  <c:v>37791</c:v>
                </c:pt>
                <c:pt idx="846">
                  <c:v>37792</c:v>
                </c:pt>
                <c:pt idx="847">
                  <c:v>37795</c:v>
                </c:pt>
                <c:pt idx="848">
                  <c:v>37796</c:v>
                </c:pt>
                <c:pt idx="849">
                  <c:v>37797</c:v>
                </c:pt>
                <c:pt idx="850">
                  <c:v>37798</c:v>
                </c:pt>
                <c:pt idx="851">
                  <c:v>37799</c:v>
                </c:pt>
                <c:pt idx="852">
                  <c:v>37802</c:v>
                </c:pt>
                <c:pt idx="853">
                  <c:v>37803</c:v>
                </c:pt>
                <c:pt idx="854">
                  <c:v>37804</c:v>
                </c:pt>
                <c:pt idx="855">
                  <c:v>37805</c:v>
                </c:pt>
                <c:pt idx="856">
                  <c:v>37806</c:v>
                </c:pt>
                <c:pt idx="857">
                  <c:v>37809</c:v>
                </c:pt>
                <c:pt idx="858">
                  <c:v>37810</c:v>
                </c:pt>
                <c:pt idx="859">
                  <c:v>37811</c:v>
                </c:pt>
                <c:pt idx="860">
                  <c:v>37812</c:v>
                </c:pt>
                <c:pt idx="861">
                  <c:v>37813</c:v>
                </c:pt>
                <c:pt idx="862">
                  <c:v>37816</c:v>
                </c:pt>
                <c:pt idx="863">
                  <c:v>37817</c:v>
                </c:pt>
                <c:pt idx="864">
                  <c:v>37818</c:v>
                </c:pt>
                <c:pt idx="865">
                  <c:v>37819</c:v>
                </c:pt>
                <c:pt idx="866">
                  <c:v>37820</c:v>
                </c:pt>
                <c:pt idx="867">
                  <c:v>37823</c:v>
                </c:pt>
                <c:pt idx="868">
                  <c:v>37824</c:v>
                </c:pt>
                <c:pt idx="869">
                  <c:v>37825</c:v>
                </c:pt>
                <c:pt idx="870">
                  <c:v>37826</c:v>
                </c:pt>
                <c:pt idx="871">
                  <c:v>37827</c:v>
                </c:pt>
                <c:pt idx="872">
                  <c:v>37830</c:v>
                </c:pt>
                <c:pt idx="873">
                  <c:v>37831</c:v>
                </c:pt>
                <c:pt idx="874">
                  <c:v>37832</c:v>
                </c:pt>
                <c:pt idx="875">
                  <c:v>37833</c:v>
                </c:pt>
                <c:pt idx="876">
                  <c:v>37834</c:v>
                </c:pt>
                <c:pt idx="877">
                  <c:v>37837</c:v>
                </c:pt>
                <c:pt idx="878">
                  <c:v>37838</c:v>
                </c:pt>
                <c:pt idx="879">
                  <c:v>37839</c:v>
                </c:pt>
                <c:pt idx="880">
                  <c:v>37840</c:v>
                </c:pt>
                <c:pt idx="881">
                  <c:v>37841</c:v>
                </c:pt>
                <c:pt idx="882">
                  <c:v>37844</c:v>
                </c:pt>
                <c:pt idx="883">
                  <c:v>37845</c:v>
                </c:pt>
                <c:pt idx="884">
                  <c:v>37846</c:v>
                </c:pt>
                <c:pt idx="885">
                  <c:v>37847</c:v>
                </c:pt>
                <c:pt idx="886">
                  <c:v>37848</c:v>
                </c:pt>
                <c:pt idx="887">
                  <c:v>37851</c:v>
                </c:pt>
                <c:pt idx="888">
                  <c:v>37852</c:v>
                </c:pt>
                <c:pt idx="889">
                  <c:v>37853</c:v>
                </c:pt>
                <c:pt idx="890">
                  <c:v>37854</c:v>
                </c:pt>
                <c:pt idx="891">
                  <c:v>37855</c:v>
                </c:pt>
                <c:pt idx="892">
                  <c:v>37858</c:v>
                </c:pt>
                <c:pt idx="893">
                  <c:v>37859</c:v>
                </c:pt>
                <c:pt idx="894">
                  <c:v>37860</c:v>
                </c:pt>
                <c:pt idx="895">
                  <c:v>37861</c:v>
                </c:pt>
                <c:pt idx="896">
                  <c:v>37862</c:v>
                </c:pt>
                <c:pt idx="897">
                  <c:v>37865</c:v>
                </c:pt>
                <c:pt idx="898">
                  <c:v>37866</c:v>
                </c:pt>
                <c:pt idx="899">
                  <c:v>37867</c:v>
                </c:pt>
                <c:pt idx="900">
                  <c:v>37868</c:v>
                </c:pt>
                <c:pt idx="901">
                  <c:v>37869</c:v>
                </c:pt>
                <c:pt idx="902">
                  <c:v>37872</c:v>
                </c:pt>
                <c:pt idx="903">
                  <c:v>37873</c:v>
                </c:pt>
                <c:pt idx="904">
                  <c:v>37874</c:v>
                </c:pt>
                <c:pt idx="905">
                  <c:v>37875</c:v>
                </c:pt>
                <c:pt idx="906">
                  <c:v>37876</c:v>
                </c:pt>
                <c:pt idx="907">
                  <c:v>37879</c:v>
                </c:pt>
                <c:pt idx="908">
                  <c:v>37880</c:v>
                </c:pt>
                <c:pt idx="909">
                  <c:v>37881</c:v>
                </c:pt>
                <c:pt idx="910">
                  <c:v>37882</c:v>
                </c:pt>
                <c:pt idx="911">
                  <c:v>37883</c:v>
                </c:pt>
                <c:pt idx="912">
                  <c:v>37886</c:v>
                </c:pt>
                <c:pt idx="913">
                  <c:v>37887</c:v>
                </c:pt>
                <c:pt idx="914">
                  <c:v>37888</c:v>
                </c:pt>
                <c:pt idx="915">
                  <c:v>37889</c:v>
                </c:pt>
                <c:pt idx="916">
                  <c:v>37890</c:v>
                </c:pt>
                <c:pt idx="917">
                  <c:v>37893</c:v>
                </c:pt>
                <c:pt idx="918">
                  <c:v>37894</c:v>
                </c:pt>
                <c:pt idx="919">
                  <c:v>37895</c:v>
                </c:pt>
                <c:pt idx="920">
                  <c:v>37896</c:v>
                </c:pt>
                <c:pt idx="921">
                  <c:v>37897</c:v>
                </c:pt>
                <c:pt idx="922">
                  <c:v>37900</c:v>
                </c:pt>
                <c:pt idx="923">
                  <c:v>37901</c:v>
                </c:pt>
                <c:pt idx="924">
                  <c:v>37902</c:v>
                </c:pt>
                <c:pt idx="925">
                  <c:v>37903</c:v>
                </c:pt>
                <c:pt idx="926">
                  <c:v>37904</c:v>
                </c:pt>
                <c:pt idx="927">
                  <c:v>37907</c:v>
                </c:pt>
                <c:pt idx="928">
                  <c:v>37908</c:v>
                </c:pt>
                <c:pt idx="929">
                  <c:v>37909</c:v>
                </c:pt>
                <c:pt idx="930">
                  <c:v>37910</c:v>
                </c:pt>
                <c:pt idx="931">
                  <c:v>37911</c:v>
                </c:pt>
                <c:pt idx="932">
                  <c:v>37914</c:v>
                </c:pt>
                <c:pt idx="933">
                  <c:v>37915</c:v>
                </c:pt>
                <c:pt idx="934">
                  <c:v>37916</c:v>
                </c:pt>
                <c:pt idx="935">
                  <c:v>37917</c:v>
                </c:pt>
                <c:pt idx="936">
                  <c:v>37918</c:v>
                </c:pt>
                <c:pt idx="937">
                  <c:v>37921</c:v>
                </c:pt>
                <c:pt idx="938">
                  <c:v>37922</c:v>
                </c:pt>
                <c:pt idx="939">
                  <c:v>37923</c:v>
                </c:pt>
                <c:pt idx="940">
                  <c:v>37924</c:v>
                </c:pt>
                <c:pt idx="941">
                  <c:v>37925</c:v>
                </c:pt>
                <c:pt idx="942">
                  <c:v>37928</c:v>
                </c:pt>
                <c:pt idx="943">
                  <c:v>37929</c:v>
                </c:pt>
                <c:pt idx="944">
                  <c:v>37930</c:v>
                </c:pt>
                <c:pt idx="945">
                  <c:v>37931</c:v>
                </c:pt>
                <c:pt idx="946">
                  <c:v>37932</c:v>
                </c:pt>
                <c:pt idx="947">
                  <c:v>37935</c:v>
                </c:pt>
                <c:pt idx="948">
                  <c:v>37936</c:v>
                </c:pt>
                <c:pt idx="949">
                  <c:v>37937</c:v>
                </c:pt>
                <c:pt idx="950">
                  <c:v>37938</c:v>
                </c:pt>
                <c:pt idx="951">
                  <c:v>37939</c:v>
                </c:pt>
                <c:pt idx="952">
                  <c:v>37942</c:v>
                </c:pt>
                <c:pt idx="953">
                  <c:v>37943</c:v>
                </c:pt>
                <c:pt idx="954">
                  <c:v>37944</c:v>
                </c:pt>
                <c:pt idx="955">
                  <c:v>37945</c:v>
                </c:pt>
                <c:pt idx="956">
                  <c:v>37946</c:v>
                </c:pt>
                <c:pt idx="957">
                  <c:v>37949</c:v>
                </c:pt>
                <c:pt idx="958">
                  <c:v>37950</c:v>
                </c:pt>
                <c:pt idx="959">
                  <c:v>37951</c:v>
                </c:pt>
                <c:pt idx="960">
                  <c:v>37952</c:v>
                </c:pt>
                <c:pt idx="961">
                  <c:v>37953</c:v>
                </c:pt>
                <c:pt idx="962">
                  <c:v>37956</c:v>
                </c:pt>
                <c:pt idx="963">
                  <c:v>37957</c:v>
                </c:pt>
                <c:pt idx="964">
                  <c:v>37958</c:v>
                </c:pt>
                <c:pt idx="965">
                  <c:v>37959</c:v>
                </c:pt>
                <c:pt idx="966">
                  <c:v>37960</c:v>
                </c:pt>
                <c:pt idx="967">
                  <c:v>37963</c:v>
                </c:pt>
                <c:pt idx="968">
                  <c:v>37964</c:v>
                </c:pt>
                <c:pt idx="969">
                  <c:v>37965</c:v>
                </c:pt>
                <c:pt idx="970">
                  <c:v>37966</c:v>
                </c:pt>
                <c:pt idx="971">
                  <c:v>37967</c:v>
                </c:pt>
                <c:pt idx="972">
                  <c:v>37970</c:v>
                </c:pt>
                <c:pt idx="973">
                  <c:v>37971</c:v>
                </c:pt>
                <c:pt idx="974">
                  <c:v>37972</c:v>
                </c:pt>
                <c:pt idx="975">
                  <c:v>37973</c:v>
                </c:pt>
                <c:pt idx="976">
                  <c:v>37974</c:v>
                </c:pt>
                <c:pt idx="977">
                  <c:v>37977</c:v>
                </c:pt>
                <c:pt idx="978">
                  <c:v>37978</c:v>
                </c:pt>
                <c:pt idx="979">
                  <c:v>37979</c:v>
                </c:pt>
                <c:pt idx="980">
                  <c:v>37984</c:v>
                </c:pt>
                <c:pt idx="981">
                  <c:v>37985</c:v>
                </c:pt>
                <c:pt idx="982">
                  <c:v>37986</c:v>
                </c:pt>
                <c:pt idx="983">
                  <c:v>37987</c:v>
                </c:pt>
                <c:pt idx="984">
                  <c:v>37988</c:v>
                </c:pt>
                <c:pt idx="985">
                  <c:v>37991</c:v>
                </c:pt>
                <c:pt idx="986">
                  <c:v>37992</c:v>
                </c:pt>
                <c:pt idx="987">
                  <c:v>37993</c:v>
                </c:pt>
                <c:pt idx="988">
                  <c:v>37994</c:v>
                </c:pt>
                <c:pt idx="989">
                  <c:v>37995</c:v>
                </c:pt>
                <c:pt idx="990">
                  <c:v>37998</c:v>
                </c:pt>
                <c:pt idx="991">
                  <c:v>37999</c:v>
                </c:pt>
                <c:pt idx="992">
                  <c:v>38000</c:v>
                </c:pt>
                <c:pt idx="993">
                  <c:v>38001</c:v>
                </c:pt>
                <c:pt idx="994">
                  <c:v>38002</c:v>
                </c:pt>
                <c:pt idx="995">
                  <c:v>38005</c:v>
                </c:pt>
                <c:pt idx="996">
                  <c:v>38006</c:v>
                </c:pt>
                <c:pt idx="997">
                  <c:v>38007</c:v>
                </c:pt>
                <c:pt idx="998">
                  <c:v>38008</c:v>
                </c:pt>
                <c:pt idx="999">
                  <c:v>38009</c:v>
                </c:pt>
                <c:pt idx="1000">
                  <c:v>38012</c:v>
                </c:pt>
                <c:pt idx="1001">
                  <c:v>38013</c:v>
                </c:pt>
                <c:pt idx="1002">
                  <c:v>38014</c:v>
                </c:pt>
                <c:pt idx="1003">
                  <c:v>38015</c:v>
                </c:pt>
                <c:pt idx="1004">
                  <c:v>38016</c:v>
                </c:pt>
                <c:pt idx="1005">
                  <c:v>38019</c:v>
                </c:pt>
                <c:pt idx="1006">
                  <c:v>38020</c:v>
                </c:pt>
                <c:pt idx="1007">
                  <c:v>38021</c:v>
                </c:pt>
                <c:pt idx="1008">
                  <c:v>38022</c:v>
                </c:pt>
                <c:pt idx="1009">
                  <c:v>38023</c:v>
                </c:pt>
                <c:pt idx="1010">
                  <c:v>38026</c:v>
                </c:pt>
                <c:pt idx="1011">
                  <c:v>38027</c:v>
                </c:pt>
                <c:pt idx="1012">
                  <c:v>38028</c:v>
                </c:pt>
                <c:pt idx="1013">
                  <c:v>38029</c:v>
                </c:pt>
                <c:pt idx="1014">
                  <c:v>38030</c:v>
                </c:pt>
                <c:pt idx="1015">
                  <c:v>38033</c:v>
                </c:pt>
                <c:pt idx="1016">
                  <c:v>38034</c:v>
                </c:pt>
                <c:pt idx="1017">
                  <c:v>38035</c:v>
                </c:pt>
                <c:pt idx="1018">
                  <c:v>38036</c:v>
                </c:pt>
                <c:pt idx="1019">
                  <c:v>38037</c:v>
                </c:pt>
                <c:pt idx="1020">
                  <c:v>38040</c:v>
                </c:pt>
                <c:pt idx="1021">
                  <c:v>38041</c:v>
                </c:pt>
                <c:pt idx="1022">
                  <c:v>38042</c:v>
                </c:pt>
                <c:pt idx="1023">
                  <c:v>38043</c:v>
                </c:pt>
                <c:pt idx="1024">
                  <c:v>38044</c:v>
                </c:pt>
                <c:pt idx="1025">
                  <c:v>38047</c:v>
                </c:pt>
                <c:pt idx="1026">
                  <c:v>38048</c:v>
                </c:pt>
                <c:pt idx="1027">
                  <c:v>38049</c:v>
                </c:pt>
                <c:pt idx="1028">
                  <c:v>38050</c:v>
                </c:pt>
                <c:pt idx="1029">
                  <c:v>38051</c:v>
                </c:pt>
                <c:pt idx="1030">
                  <c:v>38054</c:v>
                </c:pt>
                <c:pt idx="1031">
                  <c:v>38055</c:v>
                </c:pt>
                <c:pt idx="1032">
                  <c:v>38056</c:v>
                </c:pt>
                <c:pt idx="1033">
                  <c:v>38057</c:v>
                </c:pt>
                <c:pt idx="1034">
                  <c:v>38058</c:v>
                </c:pt>
                <c:pt idx="1035">
                  <c:v>38061</c:v>
                </c:pt>
                <c:pt idx="1036">
                  <c:v>38062</c:v>
                </c:pt>
                <c:pt idx="1037">
                  <c:v>38063</c:v>
                </c:pt>
                <c:pt idx="1038">
                  <c:v>38064</c:v>
                </c:pt>
                <c:pt idx="1039">
                  <c:v>38065</c:v>
                </c:pt>
                <c:pt idx="1040">
                  <c:v>38068</c:v>
                </c:pt>
                <c:pt idx="1041">
                  <c:v>38069</c:v>
                </c:pt>
                <c:pt idx="1042">
                  <c:v>38070</c:v>
                </c:pt>
                <c:pt idx="1043">
                  <c:v>38071</c:v>
                </c:pt>
                <c:pt idx="1044">
                  <c:v>38072</c:v>
                </c:pt>
                <c:pt idx="1045">
                  <c:v>38075</c:v>
                </c:pt>
                <c:pt idx="1046">
                  <c:v>38076</c:v>
                </c:pt>
                <c:pt idx="1047">
                  <c:v>38077</c:v>
                </c:pt>
                <c:pt idx="1048">
                  <c:v>38078</c:v>
                </c:pt>
                <c:pt idx="1049">
                  <c:v>38079</c:v>
                </c:pt>
                <c:pt idx="1050">
                  <c:v>38082</c:v>
                </c:pt>
                <c:pt idx="1051">
                  <c:v>38083</c:v>
                </c:pt>
                <c:pt idx="1052">
                  <c:v>38084</c:v>
                </c:pt>
                <c:pt idx="1053">
                  <c:v>38085</c:v>
                </c:pt>
                <c:pt idx="1054">
                  <c:v>38090</c:v>
                </c:pt>
                <c:pt idx="1055">
                  <c:v>38091</c:v>
                </c:pt>
                <c:pt idx="1056">
                  <c:v>38092</c:v>
                </c:pt>
                <c:pt idx="1057">
                  <c:v>38093</c:v>
                </c:pt>
                <c:pt idx="1058">
                  <c:v>38096</c:v>
                </c:pt>
                <c:pt idx="1059">
                  <c:v>38097</c:v>
                </c:pt>
                <c:pt idx="1060">
                  <c:v>38098</c:v>
                </c:pt>
                <c:pt idx="1061">
                  <c:v>38099</c:v>
                </c:pt>
                <c:pt idx="1062">
                  <c:v>38100</c:v>
                </c:pt>
                <c:pt idx="1063">
                  <c:v>38103</c:v>
                </c:pt>
                <c:pt idx="1064">
                  <c:v>38104</c:v>
                </c:pt>
                <c:pt idx="1065">
                  <c:v>38105</c:v>
                </c:pt>
                <c:pt idx="1066">
                  <c:v>38106</c:v>
                </c:pt>
                <c:pt idx="1067">
                  <c:v>38107</c:v>
                </c:pt>
                <c:pt idx="1068">
                  <c:v>38110</c:v>
                </c:pt>
                <c:pt idx="1069">
                  <c:v>38111</c:v>
                </c:pt>
                <c:pt idx="1070">
                  <c:v>38112</c:v>
                </c:pt>
                <c:pt idx="1071">
                  <c:v>38113</c:v>
                </c:pt>
                <c:pt idx="1072">
                  <c:v>38114</c:v>
                </c:pt>
                <c:pt idx="1073">
                  <c:v>38117</c:v>
                </c:pt>
                <c:pt idx="1074">
                  <c:v>38118</c:v>
                </c:pt>
                <c:pt idx="1075">
                  <c:v>38119</c:v>
                </c:pt>
                <c:pt idx="1076">
                  <c:v>38120</c:v>
                </c:pt>
                <c:pt idx="1077">
                  <c:v>38121</c:v>
                </c:pt>
                <c:pt idx="1078">
                  <c:v>38124</c:v>
                </c:pt>
                <c:pt idx="1079">
                  <c:v>38125</c:v>
                </c:pt>
                <c:pt idx="1080">
                  <c:v>38126</c:v>
                </c:pt>
                <c:pt idx="1081">
                  <c:v>38127</c:v>
                </c:pt>
                <c:pt idx="1082">
                  <c:v>38128</c:v>
                </c:pt>
                <c:pt idx="1083">
                  <c:v>38131</c:v>
                </c:pt>
                <c:pt idx="1084">
                  <c:v>38132</c:v>
                </c:pt>
                <c:pt idx="1085">
                  <c:v>38133</c:v>
                </c:pt>
                <c:pt idx="1086">
                  <c:v>38134</c:v>
                </c:pt>
                <c:pt idx="1087">
                  <c:v>38135</c:v>
                </c:pt>
                <c:pt idx="1088">
                  <c:v>38138</c:v>
                </c:pt>
                <c:pt idx="1089">
                  <c:v>38139</c:v>
                </c:pt>
                <c:pt idx="1090">
                  <c:v>38140</c:v>
                </c:pt>
                <c:pt idx="1091">
                  <c:v>38141</c:v>
                </c:pt>
                <c:pt idx="1092">
                  <c:v>38142</c:v>
                </c:pt>
                <c:pt idx="1093">
                  <c:v>38145</c:v>
                </c:pt>
                <c:pt idx="1094">
                  <c:v>38146</c:v>
                </c:pt>
                <c:pt idx="1095">
                  <c:v>38147</c:v>
                </c:pt>
                <c:pt idx="1096">
                  <c:v>38148</c:v>
                </c:pt>
                <c:pt idx="1097">
                  <c:v>38149</c:v>
                </c:pt>
                <c:pt idx="1098">
                  <c:v>38152</c:v>
                </c:pt>
                <c:pt idx="1099">
                  <c:v>38153</c:v>
                </c:pt>
                <c:pt idx="1100">
                  <c:v>38154</c:v>
                </c:pt>
                <c:pt idx="1101">
                  <c:v>38155</c:v>
                </c:pt>
                <c:pt idx="1102">
                  <c:v>38156</c:v>
                </c:pt>
                <c:pt idx="1103">
                  <c:v>38159</c:v>
                </c:pt>
                <c:pt idx="1104">
                  <c:v>38160</c:v>
                </c:pt>
                <c:pt idx="1105">
                  <c:v>38161</c:v>
                </c:pt>
                <c:pt idx="1106">
                  <c:v>38162</c:v>
                </c:pt>
                <c:pt idx="1107">
                  <c:v>38163</c:v>
                </c:pt>
                <c:pt idx="1108">
                  <c:v>38166</c:v>
                </c:pt>
                <c:pt idx="1109">
                  <c:v>38167</c:v>
                </c:pt>
                <c:pt idx="1110">
                  <c:v>38168</c:v>
                </c:pt>
                <c:pt idx="1111">
                  <c:v>38169</c:v>
                </c:pt>
                <c:pt idx="1112">
                  <c:v>38170</c:v>
                </c:pt>
                <c:pt idx="1113">
                  <c:v>38173</c:v>
                </c:pt>
                <c:pt idx="1114">
                  <c:v>38174</c:v>
                </c:pt>
                <c:pt idx="1115">
                  <c:v>38175</c:v>
                </c:pt>
                <c:pt idx="1116">
                  <c:v>38176</c:v>
                </c:pt>
                <c:pt idx="1117">
                  <c:v>38177</c:v>
                </c:pt>
                <c:pt idx="1118">
                  <c:v>38180</c:v>
                </c:pt>
                <c:pt idx="1119">
                  <c:v>38181</c:v>
                </c:pt>
                <c:pt idx="1120">
                  <c:v>38182</c:v>
                </c:pt>
                <c:pt idx="1121">
                  <c:v>38183</c:v>
                </c:pt>
                <c:pt idx="1122">
                  <c:v>38184</c:v>
                </c:pt>
                <c:pt idx="1123">
                  <c:v>38187</c:v>
                </c:pt>
                <c:pt idx="1124">
                  <c:v>38188</c:v>
                </c:pt>
                <c:pt idx="1125">
                  <c:v>38189</c:v>
                </c:pt>
                <c:pt idx="1126">
                  <c:v>38190</c:v>
                </c:pt>
                <c:pt idx="1127">
                  <c:v>38191</c:v>
                </c:pt>
                <c:pt idx="1128">
                  <c:v>38194</c:v>
                </c:pt>
                <c:pt idx="1129">
                  <c:v>38195</c:v>
                </c:pt>
                <c:pt idx="1130">
                  <c:v>38196</c:v>
                </c:pt>
                <c:pt idx="1131">
                  <c:v>38197</c:v>
                </c:pt>
                <c:pt idx="1132">
                  <c:v>38198</c:v>
                </c:pt>
                <c:pt idx="1133">
                  <c:v>38201</c:v>
                </c:pt>
                <c:pt idx="1134">
                  <c:v>38202</c:v>
                </c:pt>
                <c:pt idx="1135">
                  <c:v>38203</c:v>
                </c:pt>
                <c:pt idx="1136">
                  <c:v>38204</c:v>
                </c:pt>
                <c:pt idx="1137">
                  <c:v>38205</c:v>
                </c:pt>
                <c:pt idx="1138">
                  <c:v>38208</c:v>
                </c:pt>
                <c:pt idx="1139">
                  <c:v>38209</c:v>
                </c:pt>
                <c:pt idx="1140">
                  <c:v>38210</c:v>
                </c:pt>
                <c:pt idx="1141">
                  <c:v>38211</c:v>
                </c:pt>
                <c:pt idx="1142">
                  <c:v>38212</c:v>
                </c:pt>
                <c:pt idx="1143">
                  <c:v>38215</c:v>
                </c:pt>
                <c:pt idx="1144">
                  <c:v>38216</c:v>
                </c:pt>
                <c:pt idx="1145">
                  <c:v>38217</c:v>
                </c:pt>
                <c:pt idx="1146">
                  <c:v>38218</c:v>
                </c:pt>
                <c:pt idx="1147">
                  <c:v>38219</c:v>
                </c:pt>
                <c:pt idx="1148">
                  <c:v>38222</c:v>
                </c:pt>
                <c:pt idx="1149">
                  <c:v>38223</c:v>
                </c:pt>
                <c:pt idx="1150">
                  <c:v>38224</c:v>
                </c:pt>
                <c:pt idx="1151">
                  <c:v>38225</c:v>
                </c:pt>
                <c:pt idx="1152">
                  <c:v>38226</c:v>
                </c:pt>
                <c:pt idx="1153">
                  <c:v>38229</c:v>
                </c:pt>
                <c:pt idx="1154">
                  <c:v>38230</c:v>
                </c:pt>
                <c:pt idx="1155">
                  <c:v>38231</c:v>
                </c:pt>
                <c:pt idx="1156">
                  <c:v>38232</c:v>
                </c:pt>
                <c:pt idx="1157">
                  <c:v>38233</c:v>
                </c:pt>
                <c:pt idx="1158">
                  <c:v>38236</c:v>
                </c:pt>
                <c:pt idx="1159">
                  <c:v>38237</c:v>
                </c:pt>
                <c:pt idx="1160">
                  <c:v>38238</c:v>
                </c:pt>
                <c:pt idx="1161">
                  <c:v>38239</c:v>
                </c:pt>
                <c:pt idx="1162">
                  <c:v>38240</c:v>
                </c:pt>
                <c:pt idx="1163">
                  <c:v>38243</c:v>
                </c:pt>
                <c:pt idx="1164">
                  <c:v>38244</c:v>
                </c:pt>
                <c:pt idx="1165">
                  <c:v>38245</c:v>
                </c:pt>
                <c:pt idx="1166">
                  <c:v>38246</c:v>
                </c:pt>
                <c:pt idx="1167">
                  <c:v>38247</c:v>
                </c:pt>
                <c:pt idx="1168">
                  <c:v>38250</c:v>
                </c:pt>
                <c:pt idx="1169">
                  <c:v>38251</c:v>
                </c:pt>
                <c:pt idx="1170">
                  <c:v>38252</c:v>
                </c:pt>
                <c:pt idx="1171">
                  <c:v>38253</c:v>
                </c:pt>
                <c:pt idx="1172">
                  <c:v>38254</c:v>
                </c:pt>
                <c:pt idx="1173">
                  <c:v>38257</c:v>
                </c:pt>
                <c:pt idx="1174">
                  <c:v>38258</c:v>
                </c:pt>
                <c:pt idx="1175">
                  <c:v>38259</c:v>
                </c:pt>
                <c:pt idx="1176">
                  <c:v>38260</c:v>
                </c:pt>
                <c:pt idx="1177">
                  <c:v>38261</c:v>
                </c:pt>
                <c:pt idx="1178">
                  <c:v>38264</c:v>
                </c:pt>
                <c:pt idx="1179">
                  <c:v>38265</c:v>
                </c:pt>
                <c:pt idx="1180">
                  <c:v>38266</c:v>
                </c:pt>
                <c:pt idx="1181">
                  <c:v>38267</c:v>
                </c:pt>
                <c:pt idx="1182">
                  <c:v>38268</c:v>
                </c:pt>
                <c:pt idx="1183">
                  <c:v>38271</c:v>
                </c:pt>
                <c:pt idx="1184">
                  <c:v>38272</c:v>
                </c:pt>
                <c:pt idx="1185">
                  <c:v>38273</c:v>
                </c:pt>
                <c:pt idx="1186">
                  <c:v>38274</c:v>
                </c:pt>
                <c:pt idx="1187">
                  <c:v>38275</c:v>
                </c:pt>
                <c:pt idx="1188">
                  <c:v>38278</c:v>
                </c:pt>
                <c:pt idx="1189">
                  <c:v>38279</c:v>
                </c:pt>
                <c:pt idx="1190">
                  <c:v>38280</c:v>
                </c:pt>
                <c:pt idx="1191">
                  <c:v>38281</c:v>
                </c:pt>
                <c:pt idx="1192">
                  <c:v>38282</c:v>
                </c:pt>
                <c:pt idx="1193">
                  <c:v>38285</c:v>
                </c:pt>
                <c:pt idx="1194">
                  <c:v>38286</c:v>
                </c:pt>
                <c:pt idx="1195">
                  <c:v>38287</c:v>
                </c:pt>
                <c:pt idx="1196">
                  <c:v>38288</c:v>
                </c:pt>
                <c:pt idx="1197">
                  <c:v>38289</c:v>
                </c:pt>
                <c:pt idx="1198">
                  <c:v>38292</c:v>
                </c:pt>
                <c:pt idx="1199">
                  <c:v>38293</c:v>
                </c:pt>
                <c:pt idx="1200">
                  <c:v>38294</c:v>
                </c:pt>
                <c:pt idx="1201">
                  <c:v>38295</c:v>
                </c:pt>
                <c:pt idx="1202">
                  <c:v>38296</c:v>
                </c:pt>
                <c:pt idx="1203">
                  <c:v>38299</c:v>
                </c:pt>
                <c:pt idx="1204">
                  <c:v>38300</c:v>
                </c:pt>
                <c:pt idx="1205">
                  <c:v>38301</c:v>
                </c:pt>
                <c:pt idx="1206">
                  <c:v>38302</c:v>
                </c:pt>
                <c:pt idx="1207">
                  <c:v>38303</c:v>
                </c:pt>
                <c:pt idx="1208">
                  <c:v>38306</c:v>
                </c:pt>
                <c:pt idx="1209">
                  <c:v>38307</c:v>
                </c:pt>
                <c:pt idx="1210">
                  <c:v>38308</c:v>
                </c:pt>
                <c:pt idx="1211">
                  <c:v>38309</c:v>
                </c:pt>
                <c:pt idx="1212">
                  <c:v>38310</c:v>
                </c:pt>
                <c:pt idx="1213">
                  <c:v>38313</c:v>
                </c:pt>
                <c:pt idx="1214">
                  <c:v>38314</c:v>
                </c:pt>
                <c:pt idx="1215">
                  <c:v>38315</c:v>
                </c:pt>
                <c:pt idx="1216">
                  <c:v>38316</c:v>
                </c:pt>
                <c:pt idx="1217">
                  <c:v>38317</c:v>
                </c:pt>
                <c:pt idx="1218">
                  <c:v>38320</c:v>
                </c:pt>
                <c:pt idx="1219">
                  <c:v>38321</c:v>
                </c:pt>
                <c:pt idx="1220">
                  <c:v>38322</c:v>
                </c:pt>
                <c:pt idx="1221">
                  <c:v>38323</c:v>
                </c:pt>
                <c:pt idx="1222">
                  <c:v>38324</c:v>
                </c:pt>
                <c:pt idx="1223">
                  <c:v>38327</c:v>
                </c:pt>
                <c:pt idx="1224">
                  <c:v>38328</c:v>
                </c:pt>
                <c:pt idx="1225">
                  <c:v>38329</c:v>
                </c:pt>
                <c:pt idx="1226">
                  <c:v>38330</c:v>
                </c:pt>
                <c:pt idx="1227">
                  <c:v>38331</c:v>
                </c:pt>
                <c:pt idx="1228">
                  <c:v>38334</c:v>
                </c:pt>
                <c:pt idx="1229">
                  <c:v>38335</c:v>
                </c:pt>
                <c:pt idx="1230">
                  <c:v>38336</c:v>
                </c:pt>
                <c:pt idx="1231">
                  <c:v>38337</c:v>
                </c:pt>
                <c:pt idx="1232">
                  <c:v>38338</c:v>
                </c:pt>
                <c:pt idx="1233">
                  <c:v>38341</c:v>
                </c:pt>
                <c:pt idx="1234">
                  <c:v>38342</c:v>
                </c:pt>
                <c:pt idx="1235">
                  <c:v>38343</c:v>
                </c:pt>
                <c:pt idx="1236">
                  <c:v>38344</c:v>
                </c:pt>
                <c:pt idx="1237">
                  <c:v>38345</c:v>
                </c:pt>
                <c:pt idx="1238">
                  <c:v>38348</c:v>
                </c:pt>
                <c:pt idx="1239">
                  <c:v>38349</c:v>
                </c:pt>
                <c:pt idx="1240">
                  <c:v>38350</c:v>
                </c:pt>
                <c:pt idx="1241">
                  <c:v>38351</c:v>
                </c:pt>
                <c:pt idx="1242">
                  <c:v>38352</c:v>
                </c:pt>
                <c:pt idx="1243">
                  <c:v>38355</c:v>
                </c:pt>
                <c:pt idx="1244">
                  <c:v>38356</c:v>
                </c:pt>
                <c:pt idx="1245">
                  <c:v>38357</c:v>
                </c:pt>
                <c:pt idx="1246">
                  <c:v>38358</c:v>
                </c:pt>
                <c:pt idx="1247">
                  <c:v>38359</c:v>
                </c:pt>
                <c:pt idx="1248">
                  <c:v>38362</c:v>
                </c:pt>
                <c:pt idx="1249">
                  <c:v>38363</c:v>
                </c:pt>
                <c:pt idx="1250">
                  <c:v>38364</c:v>
                </c:pt>
                <c:pt idx="1251">
                  <c:v>38365</c:v>
                </c:pt>
                <c:pt idx="1252">
                  <c:v>38366</c:v>
                </c:pt>
                <c:pt idx="1253">
                  <c:v>38369</c:v>
                </c:pt>
                <c:pt idx="1254">
                  <c:v>38370</c:v>
                </c:pt>
                <c:pt idx="1255">
                  <c:v>38371</c:v>
                </c:pt>
                <c:pt idx="1256">
                  <c:v>38372</c:v>
                </c:pt>
                <c:pt idx="1257">
                  <c:v>38373</c:v>
                </c:pt>
                <c:pt idx="1258">
                  <c:v>38376</c:v>
                </c:pt>
                <c:pt idx="1259">
                  <c:v>38377</c:v>
                </c:pt>
                <c:pt idx="1260">
                  <c:v>38378</c:v>
                </c:pt>
                <c:pt idx="1261">
                  <c:v>38379</c:v>
                </c:pt>
                <c:pt idx="1262">
                  <c:v>38380</c:v>
                </c:pt>
                <c:pt idx="1263">
                  <c:v>38383</c:v>
                </c:pt>
                <c:pt idx="1264">
                  <c:v>38384</c:v>
                </c:pt>
                <c:pt idx="1265">
                  <c:v>38385</c:v>
                </c:pt>
                <c:pt idx="1266">
                  <c:v>38386</c:v>
                </c:pt>
                <c:pt idx="1267">
                  <c:v>38387</c:v>
                </c:pt>
                <c:pt idx="1268">
                  <c:v>38390</c:v>
                </c:pt>
                <c:pt idx="1269">
                  <c:v>38391</c:v>
                </c:pt>
                <c:pt idx="1270">
                  <c:v>38392</c:v>
                </c:pt>
                <c:pt idx="1271">
                  <c:v>38393</c:v>
                </c:pt>
                <c:pt idx="1272">
                  <c:v>38394</c:v>
                </c:pt>
                <c:pt idx="1273">
                  <c:v>38397</c:v>
                </c:pt>
                <c:pt idx="1274">
                  <c:v>38398</c:v>
                </c:pt>
                <c:pt idx="1275">
                  <c:v>38399</c:v>
                </c:pt>
                <c:pt idx="1276">
                  <c:v>38400</c:v>
                </c:pt>
                <c:pt idx="1277">
                  <c:v>38401</c:v>
                </c:pt>
                <c:pt idx="1278">
                  <c:v>38404</c:v>
                </c:pt>
                <c:pt idx="1279">
                  <c:v>38405</c:v>
                </c:pt>
                <c:pt idx="1280">
                  <c:v>38406</c:v>
                </c:pt>
                <c:pt idx="1281">
                  <c:v>38407</c:v>
                </c:pt>
                <c:pt idx="1282">
                  <c:v>38408</c:v>
                </c:pt>
                <c:pt idx="1283">
                  <c:v>38411</c:v>
                </c:pt>
                <c:pt idx="1284">
                  <c:v>38412</c:v>
                </c:pt>
                <c:pt idx="1285">
                  <c:v>38413</c:v>
                </c:pt>
                <c:pt idx="1286">
                  <c:v>38414</c:v>
                </c:pt>
                <c:pt idx="1287">
                  <c:v>38415</c:v>
                </c:pt>
                <c:pt idx="1288">
                  <c:v>38418</c:v>
                </c:pt>
                <c:pt idx="1289">
                  <c:v>38419</c:v>
                </c:pt>
                <c:pt idx="1290">
                  <c:v>38420</c:v>
                </c:pt>
                <c:pt idx="1291">
                  <c:v>38421</c:v>
                </c:pt>
                <c:pt idx="1292">
                  <c:v>38422</c:v>
                </c:pt>
                <c:pt idx="1293">
                  <c:v>38425</c:v>
                </c:pt>
                <c:pt idx="1294">
                  <c:v>38426</c:v>
                </c:pt>
                <c:pt idx="1295">
                  <c:v>38427</c:v>
                </c:pt>
                <c:pt idx="1296">
                  <c:v>38428</c:v>
                </c:pt>
                <c:pt idx="1297">
                  <c:v>38429</c:v>
                </c:pt>
                <c:pt idx="1298">
                  <c:v>38432</c:v>
                </c:pt>
                <c:pt idx="1299">
                  <c:v>38433</c:v>
                </c:pt>
                <c:pt idx="1300">
                  <c:v>38434</c:v>
                </c:pt>
                <c:pt idx="1301">
                  <c:v>38435</c:v>
                </c:pt>
                <c:pt idx="1302">
                  <c:v>38436</c:v>
                </c:pt>
                <c:pt idx="1303">
                  <c:v>38439</c:v>
                </c:pt>
                <c:pt idx="1304">
                  <c:v>38440</c:v>
                </c:pt>
                <c:pt idx="1305">
                  <c:v>38441</c:v>
                </c:pt>
                <c:pt idx="1306">
                  <c:v>38442</c:v>
                </c:pt>
                <c:pt idx="1307">
                  <c:v>38443</c:v>
                </c:pt>
                <c:pt idx="1308">
                  <c:v>38446</c:v>
                </c:pt>
                <c:pt idx="1309">
                  <c:v>38447</c:v>
                </c:pt>
                <c:pt idx="1310">
                  <c:v>38448</c:v>
                </c:pt>
                <c:pt idx="1311">
                  <c:v>38449</c:v>
                </c:pt>
                <c:pt idx="1312">
                  <c:v>38450</c:v>
                </c:pt>
                <c:pt idx="1313">
                  <c:v>38453</c:v>
                </c:pt>
                <c:pt idx="1314">
                  <c:v>38454</c:v>
                </c:pt>
                <c:pt idx="1315">
                  <c:v>38455</c:v>
                </c:pt>
                <c:pt idx="1316">
                  <c:v>38456</c:v>
                </c:pt>
                <c:pt idx="1317">
                  <c:v>38457</c:v>
                </c:pt>
                <c:pt idx="1318">
                  <c:v>38460</c:v>
                </c:pt>
                <c:pt idx="1319">
                  <c:v>38461</c:v>
                </c:pt>
                <c:pt idx="1320">
                  <c:v>38462</c:v>
                </c:pt>
                <c:pt idx="1321">
                  <c:v>38463</c:v>
                </c:pt>
                <c:pt idx="1322">
                  <c:v>38464</c:v>
                </c:pt>
                <c:pt idx="1323">
                  <c:v>38467</c:v>
                </c:pt>
                <c:pt idx="1324">
                  <c:v>38468</c:v>
                </c:pt>
                <c:pt idx="1325">
                  <c:v>38469</c:v>
                </c:pt>
                <c:pt idx="1326">
                  <c:v>38470</c:v>
                </c:pt>
                <c:pt idx="1327">
                  <c:v>38471</c:v>
                </c:pt>
                <c:pt idx="1328">
                  <c:v>38474</c:v>
                </c:pt>
                <c:pt idx="1329">
                  <c:v>38475</c:v>
                </c:pt>
                <c:pt idx="1330">
                  <c:v>38476</c:v>
                </c:pt>
                <c:pt idx="1331">
                  <c:v>38477</c:v>
                </c:pt>
                <c:pt idx="1332">
                  <c:v>38478</c:v>
                </c:pt>
                <c:pt idx="1333">
                  <c:v>38481</c:v>
                </c:pt>
                <c:pt idx="1334">
                  <c:v>38482</c:v>
                </c:pt>
                <c:pt idx="1335">
                  <c:v>38483</c:v>
                </c:pt>
                <c:pt idx="1336">
                  <c:v>38484</c:v>
                </c:pt>
                <c:pt idx="1337">
                  <c:v>38485</c:v>
                </c:pt>
                <c:pt idx="1338">
                  <c:v>38488</c:v>
                </c:pt>
                <c:pt idx="1339">
                  <c:v>38489</c:v>
                </c:pt>
                <c:pt idx="1340">
                  <c:v>38490</c:v>
                </c:pt>
                <c:pt idx="1341">
                  <c:v>38491</c:v>
                </c:pt>
                <c:pt idx="1342">
                  <c:v>38492</c:v>
                </c:pt>
                <c:pt idx="1343">
                  <c:v>38495</c:v>
                </c:pt>
                <c:pt idx="1344">
                  <c:v>38496</c:v>
                </c:pt>
                <c:pt idx="1345">
                  <c:v>38497</c:v>
                </c:pt>
                <c:pt idx="1346">
                  <c:v>38498</c:v>
                </c:pt>
                <c:pt idx="1347">
                  <c:v>38499</c:v>
                </c:pt>
                <c:pt idx="1348">
                  <c:v>38502</c:v>
                </c:pt>
                <c:pt idx="1349">
                  <c:v>38503</c:v>
                </c:pt>
                <c:pt idx="1350">
                  <c:v>38504</c:v>
                </c:pt>
                <c:pt idx="1351">
                  <c:v>38505</c:v>
                </c:pt>
                <c:pt idx="1352">
                  <c:v>38506</c:v>
                </c:pt>
                <c:pt idx="1353">
                  <c:v>38509</c:v>
                </c:pt>
                <c:pt idx="1354">
                  <c:v>38510</c:v>
                </c:pt>
                <c:pt idx="1355">
                  <c:v>38511</c:v>
                </c:pt>
                <c:pt idx="1356">
                  <c:v>38512</c:v>
                </c:pt>
                <c:pt idx="1357">
                  <c:v>38513</c:v>
                </c:pt>
                <c:pt idx="1358">
                  <c:v>38516</c:v>
                </c:pt>
                <c:pt idx="1359">
                  <c:v>38517</c:v>
                </c:pt>
                <c:pt idx="1360">
                  <c:v>38518</c:v>
                </c:pt>
                <c:pt idx="1361">
                  <c:v>38519</c:v>
                </c:pt>
                <c:pt idx="1362">
                  <c:v>38520</c:v>
                </c:pt>
                <c:pt idx="1363">
                  <c:v>38523</c:v>
                </c:pt>
                <c:pt idx="1364">
                  <c:v>38524</c:v>
                </c:pt>
                <c:pt idx="1365">
                  <c:v>38525</c:v>
                </c:pt>
                <c:pt idx="1366">
                  <c:v>38526</c:v>
                </c:pt>
                <c:pt idx="1367">
                  <c:v>38527</c:v>
                </c:pt>
                <c:pt idx="1368">
                  <c:v>38530</c:v>
                </c:pt>
                <c:pt idx="1369">
                  <c:v>38531</c:v>
                </c:pt>
                <c:pt idx="1370">
                  <c:v>38532</c:v>
                </c:pt>
                <c:pt idx="1371">
                  <c:v>38533</c:v>
                </c:pt>
                <c:pt idx="1372">
                  <c:v>38534</c:v>
                </c:pt>
                <c:pt idx="1373">
                  <c:v>38537</c:v>
                </c:pt>
                <c:pt idx="1374">
                  <c:v>38538</c:v>
                </c:pt>
                <c:pt idx="1375">
                  <c:v>38539</c:v>
                </c:pt>
                <c:pt idx="1376">
                  <c:v>38540</c:v>
                </c:pt>
                <c:pt idx="1377">
                  <c:v>38541</c:v>
                </c:pt>
                <c:pt idx="1378">
                  <c:v>38544</c:v>
                </c:pt>
                <c:pt idx="1379">
                  <c:v>38545</c:v>
                </c:pt>
                <c:pt idx="1380">
                  <c:v>38546</c:v>
                </c:pt>
                <c:pt idx="1381">
                  <c:v>38547</c:v>
                </c:pt>
                <c:pt idx="1382">
                  <c:v>38548</c:v>
                </c:pt>
                <c:pt idx="1383">
                  <c:v>38551</c:v>
                </c:pt>
                <c:pt idx="1384">
                  <c:v>38552</c:v>
                </c:pt>
                <c:pt idx="1385">
                  <c:v>38553</c:v>
                </c:pt>
                <c:pt idx="1386">
                  <c:v>38554</c:v>
                </c:pt>
                <c:pt idx="1387">
                  <c:v>38555</c:v>
                </c:pt>
                <c:pt idx="1388">
                  <c:v>38558</c:v>
                </c:pt>
                <c:pt idx="1389">
                  <c:v>38559</c:v>
                </c:pt>
                <c:pt idx="1390">
                  <c:v>38560</c:v>
                </c:pt>
                <c:pt idx="1391">
                  <c:v>38561</c:v>
                </c:pt>
                <c:pt idx="1392">
                  <c:v>38562</c:v>
                </c:pt>
                <c:pt idx="1393">
                  <c:v>38565</c:v>
                </c:pt>
                <c:pt idx="1394">
                  <c:v>38566</c:v>
                </c:pt>
                <c:pt idx="1395">
                  <c:v>38567</c:v>
                </c:pt>
                <c:pt idx="1396">
                  <c:v>38568</c:v>
                </c:pt>
                <c:pt idx="1397">
                  <c:v>38569</c:v>
                </c:pt>
                <c:pt idx="1398">
                  <c:v>38572</c:v>
                </c:pt>
                <c:pt idx="1399">
                  <c:v>38573</c:v>
                </c:pt>
                <c:pt idx="1400">
                  <c:v>38574</c:v>
                </c:pt>
                <c:pt idx="1401">
                  <c:v>38575</c:v>
                </c:pt>
                <c:pt idx="1402">
                  <c:v>38576</c:v>
                </c:pt>
                <c:pt idx="1403">
                  <c:v>38579</c:v>
                </c:pt>
                <c:pt idx="1404">
                  <c:v>38580</c:v>
                </c:pt>
                <c:pt idx="1405">
                  <c:v>38581</c:v>
                </c:pt>
                <c:pt idx="1406">
                  <c:v>38582</c:v>
                </c:pt>
                <c:pt idx="1407">
                  <c:v>38583</c:v>
                </c:pt>
                <c:pt idx="1408">
                  <c:v>38586</c:v>
                </c:pt>
                <c:pt idx="1409">
                  <c:v>38587</c:v>
                </c:pt>
                <c:pt idx="1410">
                  <c:v>38588</c:v>
                </c:pt>
                <c:pt idx="1411">
                  <c:v>38589</c:v>
                </c:pt>
                <c:pt idx="1412">
                  <c:v>38590</c:v>
                </c:pt>
                <c:pt idx="1413">
                  <c:v>38593</c:v>
                </c:pt>
                <c:pt idx="1414">
                  <c:v>38594</c:v>
                </c:pt>
                <c:pt idx="1415">
                  <c:v>38595</c:v>
                </c:pt>
                <c:pt idx="1416">
                  <c:v>38596</c:v>
                </c:pt>
                <c:pt idx="1417">
                  <c:v>38597</c:v>
                </c:pt>
                <c:pt idx="1418">
                  <c:v>38600</c:v>
                </c:pt>
                <c:pt idx="1419">
                  <c:v>38601</c:v>
                </c:pt>
                <c:pt idx="1420">
                  <c:v>38602</c:v>
                </c:pt>
                <c:pt idx="1421">
                  <c:v>38603</c:v>
                </c:pt>
                <c:pt idx="1422">
                  <c:v>38604</c:v>
                </c:pt>
                <c:pt idx="1423">
                  <c:v>38607</c:v>
                </c:pt>
                <c:pt idx="1424">
                  <c:v>38608</c:v>
                </c:pt>
                <c:pt idx="1425">
                  <c:v>38609</c:v>
                </c:pt>
                <c:pt idx="1426">
                  <c:v>38610</c:v>
                </c:pt>
                <c:pt idx="1427">
                  <c:v>38611</c:v>
                </c:pt>
                <c:pt idx="1428">
                  <c:v>38614</c:v>
                </c:pt>
                <c:pt idx="1429">
                  <c:v>38615</c:v>
                </c:pt>
                <c:pt idx="1430">
                  <c:v>38616</c:v>
                </c:pt>
                <c:pt idx="1431">
                  <c:v>38617</c:v>
                </c:pt>
                <c:pt idx="1432">
                  <c:v>38618</c:v>
                </c:pt>
                <c:pt idx="1433">
                  <c:v>38621</c:v>
                </c:pt>
                <c:pt idx="1434">
                  <c:v>38622</c:v>
                </c:pt>
                <c:pt idx="1435">
                  <c:v>38623</c:v>
                </c:pt>
                <c:pt idx="1436">
                  <c:v>38624</c:v>
                </c:pt>
                <c:pt idx="1437">
                  <c:v>38625</c:v>
                </c:pt>
                <c:pt idx="1438">
                  <c:v>38628</c:v>
                </c:pt>
                <c:pt idx="1439">
                  <c:v>38629</c:v>
                </c:pt>
                <c:pt idx="1440">
                  <c:v>38630</c:v>
                </c:pt>
                <c:pt idx="1441">
                  <c:v>38631</c:v>
                </c:pt>
                <c:pt idx="1442">
                  <c:v>38632</c:v>
                </c:pt>
                <c:pt idx="1443">
                  <c:v>38635</c:v>
                </c:pt>
                <c:pt idx="1444">
                  <c:v>38636</c:v>
                </c:pt>
                <c:pt idx="1445">
                  <c:v>38637</c:v>
                </c:pt>
                <c:pt idx="1446">
                  <c:v>38638</c:v>
                </c:pt>
                <c:pt idx="1447">
                  <c:v>38639</c:v>
                </c:pt>
                <c:pt idx="1448">
                  <c:v>38642</c:v>
                </c:pt>
                <c:pt idx="1449">
                  <c:v>38643</c:v>
                </c:pt>
                <c:pt idx="1450">
                  <c:v>38644</c:v>
                </c:pt>
                <c:pt idx="1451">
                  <c:v>38645</c:v>
                </c:pt>
                <c:pt idx="1452">
                  <c:v>38646</c:v>
                </c:pt>
                <c:pt idx="1453">
                  <c:v>38649</c:v>
                </c:pt>
                <c:pt idx="1454">
                  <c:v>38650</c:v>
                </c:pt>
                <c:pt idx="1455">
                  <c:v>38651</c:v>
                </c:pt>
                <c:pt idx="1456">
                  <c:v>38652</c:v>
                </c:pt>
                <c:pt idx="1457">
                  <c:v>38653</c:v>
                </c:pt>
                <c:pt idx="1458">
                  <c:v>38656</c:v>
                </c:pt>
                <c:pt idx="1459">
                  <c:v>38657</c:v>
                </c:pt>
                <c:pt idx="1460">
                  <c:v>38658</c:v>
                </c:pt>
                <c:pt idx="1461">
                  <c:v>38659</c:v>
                </c:pt>
                <c:pt idx="1462">
                  <c:v>38660</c:v>
                </c:pt>
                <c:pt idx="1463">
                  <c:v>38663</c:v>
                </c:pt>
                <c:pt idx="1464">
                  <c:v>38664</c:v>
                </c:pt>
                <c:pt idx="1465">
                  <c:v>38665</c:v>
                </c:pt>
                <c:pt idx="1466">
                  <c:v>38666</c:v>
                </c:pt>
                <c:pt idx="1467">
                  <c:v>38667</c:v>
                </c:pt>
                <c:pt idx="1468">
                  <c:v>38670</c:v>
                </c:pt>
                <c:pt idx="1469">
                  <c:v>38671</c:v>
                </c:pt>
                <c:pt idx="1470">
                  <c:v>38672</c:v>
                </c:pt>
                <c:pt idx="1471">
                  <c:v>38673</c:v>
                </c:pt>
                <c:pt idx="1472">
                  <c:v>38674</c:v>
                </c:pt>
                <c:pt idx="1473">
                  <c:v>38677</c:v>
                </c:pt>
                <c:pt idx="1474">
                  <c:v>38678</c:v>
                </c:pt>
                <c:pt idx="1475">
                  <c:v>38679</c:v>
                </c:pt>
                <c:pt idx="1476">
                  <c:v>38680</c:v>
                </c:pt>
                <c:pt idx="1477">
                  <c:v>38681</c:v>
                </c:pt>
                <c:pt idx="1478">
                  <c:v>38684</c:v>
                </c:pt>
                <c:pt idx="1479">
                  <c:v>38685</c:v>
                </c:pt>
                <c:pt idx="1480">
                  <c:v>38686</c:v>
                </c:pt>
                <c:pt idx="1481">
                  <c:v>38687</c:v>
                </c:pt>
                <c:pt idx="1482">
                  <c:v>38688</c:v>
                </c:pt>
                <c:pt idx="1483">
                  <c:v>38691</c:v>
                </c:pt>
                <c:pt idx="1484">
                  <c:v>38692</c:v>
                </c:pt>
                <c:pt idx="1485">
                  <c:v>38693</c:v>
                </c:pt>
                <c:pt idx="1486">
                  <c:v>38694</c:v>
                </c:pt>
                <c:pt idx="1487">
                  <c:v>38695</c:v>
                </c:pt>
                <c:pt idx="1488">
                  <c:v>38698</c:v>
                </c:pt>
                <c:pt idx="1489">
                  <c:v>38699</c:v>
                </c:pt>
                <c:pt idx="1490">
                  <c:v>38700</c:v>
                </c:pt>
                <c:pt idx="1491">
                  <c:v>38701</c:v>
                </c:pt>
                <c:pt idx="1492">
                  <c:v>38702</c:v>
                </c:pt>
                <c:pt idx="1493">
                  <c:v>38705</c:v>
                </c:pt>
                <c:pt idx="1494">
                  <c:v>38706</c:v>
                </c:pt>
                <c:pt idx="1495">
                  <c:v>38707</c:v>
                </c:pt>
                <c:pt idx="1496">
                  <c:v>38708</c:v>
                </c:pt>
                <c:pt idx="1497">
                  <c:v>38709</c:v>
                </c:pt>
                <c:pt idx="1498">
                  <c:v>38712</c:v>
                </c:pt>
                <c:pt idx="1499">
                  <c:v>38713</c:v>
                </c:pt>
                <c:pt idx="1500">
                  <c:v>38714</c:v>
                </c:pt>
                <c:pt idx="1501">
                  <c:v>38715</c:v>
                </c:pt>
                <c:pt idx="1502">
                  <c:v>38716</c:v>
                </c:pt>
                <c:pt idx="1503">
                  <c:v>38719</c:v>
                </c:pt>
                <c:pt idx="1504">
                  <c:v>38720</c:v>
                </c:pt>
                <c:pt idx="1505">
                  <c:v>38721</c:v>
                </c:pt>
                <c:pt idx="1506">
                  <c:v>38722</c:v>
                </c:pt>
                <c:pt idx="1507">
                  <c:v>38723</c:v>
                </c:pt>
                <c:pt idx="1508">
                  <c:v>38726</c:v>
                </c:pt>
                <c:pt idx="1509">
                  <c:v>38727</c:v>
                </c:pt>
                <c:pt idx="1510">
                  <c:v>38728</c:v>
                </c:pt>
                <c:pt idx="1511">
                  <c:v>38729</c:v>
                </c:pt>
                <c:pt idx="1512">
                  <c:v>38730</c:v>
                </c:pt>
                <c:pt idx="1513">
                  <c:v>38733</c:v>
                </c:pt>
                <c:pt idx="1514">
                  <c:v>38734</c:v>
                </c:pt>
                <c:pt idx="1515">
                  <c:v>38735</c:v>
                </c:pt>
                <c:pt idx="1516">
                  <c:v>38736</c:v>
                </c:pt>
                <c:pt idx="1517">
                  <c:v>38737</c:v>
                </c:pt>
                <c:pt idx="1518">
                  <c:v>38740</c:v>
                </c:pt>
                <c:pt idx="1519">
                  <c:v>38741</c:v>
                </c:pt>
                <c:pt idx="1520">
                  <c:v>38742</c:v>
                </c:pt>
                <c:pt idx="1521">
                  <c:v>38743</c:v>
                </c:pt>
                <c:pt idx="1522">
                  <c:v>38744</c:v>
                </c:pt>
                <c:pt idx="1523">
                  <c:v>38747</c:v>
                </c:pt>
                <c:pt idx="1524">
                  <c:v>38748</c:v>
                </c:pt>
                <c:pt idx="1525">
                  <c:v>38749</c:v>
                </c:pt>
                <c:pt idx="1526">
                  <c:v>38750</c:v>
                </c:pt>
                <c:pt idx="1527">
                  <c:v>38751</c:v>
                </c:pt>
                <c:pt idx="1528">
                  <c:v>38754</c:v>
                </c:pt>
                <c:pt idx="1529">
                  <c:v>38755</c:v>
                </c:pt>
                <c:pt idx="1530">
                  <c:v>38756</c:v>
                </c:pt>
                <c:pt idx="1531">
                  <c:v>38757</c:v>
                </c:pt>
                <c:pt idx="1532">
                  <c:v>38758</c:v>
                </c:pt>
                <c:pt idx="1533">
                  <c:v>38761</c:v>
                </c:pt>
                <c:pt idx="1534">
                  <c:v>38762</c:v>
                </c:pt>
                <c:pt idx="1535">
                  <c:v>38763</c:v>
                </c:pt>
                <c:pt idx="1536">
                  <c:v>38764</c:v>
                </c:pt>
                <c:pt idx="1537">
                  <c:v>38765</c:v>
                </c:pt>
                <c:pt idx="1538">
                  <c:v>38768</c:v>
                </c:pt>
                <c:pt idx="1539">
                  <c:v>38769</c:v>
                </c:pt>
                <c:pt idx="1540">
                  <c:v>38770</c:v>
                </c:pt>
                <c:pt idx="1541">
                  <c:v>38771</c:v>
                </c:pt>
                <c:pt idx="1542">
                  <c:v>38772</c:v>
                </c:pt>
                <c:pt idx="1543">
                  <c:v>38775</c:v>
                </c:pt>
                <c:pt idx="1544">
                  <c:v>38776</c:v>
                </c:pt>
                <c:pt idx="1545">
                  <c:v>38777</c:v>
                </c:pt>
                <c:pt idx="1546">
                  <c:v>38778</c:v>
                </c:pt>
                <c:pt idx="1547">
                  <c:v>38779</c:v>
                </c:pt>
                <c:pt idx="1548">
                  <c:v>38782</c:v>
                </c:pt>
                <c:pt idx="1549">
                  <c:v>38783</c:v>
                </c:pt>
                <c:pt idx="1550">
                  <c:v>38784</c:v>
                </c:pt>
                <c:pt idx="1551">
                  <c:v>38785</c:v>
                </c:pt>
                <c:pt idx="1552">
                  <c:v>38786</c:v>
                </c:pt>
                <c:pt idx="1553">
                  <c:v>38789</c:v>
                </c:pt>
                <c:pt idx="1554">
                  <c:v>38790</c:v>
                </c:pt>
                <c:pt idx="1555">
                  <c:v>38791</c:v>
                </c:pt>
                <c:pt idx="1556">
                  <c:v>38792</c:v>
                </c:pt>
                <c:pt idx="1557">
                  <c:v>38793</c:v>
                </c:pt>
                <c:pt idx="1558">
                  <c:v>38796</c:v>
                </c:pt>
                <c:pt idx="1559">
                  <c:v>38797</c:v>
                </c:pt>
                <c:pt idx="1560">
                  <c:v>38798</c:v>
                </c:pt>
                <c:pt idx="1561">
                  <c:v>38799</c:v>
                </c:pt>
                <c:pt idx="1562">
                  <c:v>38800</c:v>
                </c:pt>
                <c:pt idx="1563">
                  <c:v>38803</c:v>
                </c:pt>
                <c:pt idx="1564">
                  <c:v>38804</c:v>
                </c:pt>
                <c:pt idx="1565">
                  <c:v>38805</c:v>
                </c:pt>
                <c:pt idx="1566">
                  <c:v>38806</c:v>
                </c:pt>
                <c:pt idx="1567">
                  <c:v>38807</c:v>
                </c:pt>
                <c:pt idx="1568">
                  <c:v>38810</c:v>
                </c:pt>
                <c:pt idx="1569">
                  <c:v>38811</c:v>
                </c:pt>
                <c:pt idx="1570">
                  <c:v>38812</c:v>
                </c:pt>
                <c:pt idx="1571">
                  <c:v>38813</c:v>
                </c:pt>
                <c:pt idx="1572">
                  <c:v>38814</c:v>
                </c:pt>
                <c:pt idx="1573">
                  <c:v>38817</c:v>
                </c:pt>
                <c:pt idx="1574">
                  <c:v>38818</c:v>
                </c:pt>
                <c:pt idx="1575">
                  <c:v>38819</c:v>
                </c:pt>
                <c:pt idx="1576">
                  <c:v>38820</c:v>
                </c:pt>
                <c:pt idx="1577">
                  <c:v>38821</c:v>
                </c:pt>
                <c:pt idx="1578">
                  <c:v>38824</c:v>
                </c:pt>
                <c:pt idx="1579">
                  <c:v>38825</c:v>
                </c:pt>
                <c:pt idx="1580">
                  <c:v>38826</c:v>
                </c:pt>
                <c:pt idx="1581">
                  <c:v>38827</c:v>
                </c:pt>
                <c:pt idx="1582">
                  <c:v>38828</c:v>
                </c:pt>
                <c:pt idx="1583">
                  <c:v>38831</c:v>
                </c:pt>
                <c:pt idx="1584">
                  <c:v>38832</c:v>
                </c:pt>
                <c:pt idx="1585">
                  <c:v>38833</c:v>
                </c:pt>
                <c:pt idx="1586">
                  <c:v>38834</c:v>
                </c:pt>
                <c:pt idx="1587">
                  <c:v>38835</c:v>
                </c:pt>
                <c:pt idx="1588">
                  <c:v>38838</c:v>
                </c:pt>
                <c:pt idx="1589">
                  <c:v>38839</c:v>
                </c:pt>
                <c:pt idx="1590">
                  <c:v>38840</c:v>
                </c:pt>
                <c:pt idx="1591">
                  <c:v>38841</c:v>
                </c:pt>
                <c:pt idx="1592">
                  <c:v>38842</c:v>
                </c:pt>
                <c:pt idx="1593">
                  <c:v>38845</c:v>
                </c:pt>
                <c:pt idx="1594">
                  <c:v>38846</c:v>
                </c:pt>
                <c:pt idx="1595">
                  <c:v>38847</c:v>
                </c:pt>
                <c:pt idx="1596">
                  <c:v>38848</c:v>
                </c:pt>
                <c:pt idx="1597">
                  <c:v>38849</c:v>
                </c:pt>
                <c:pt idx="1598">
                  <c:v>38852</c:v>
                </c:pt>
                <c:pt idx="1599">
                  <c:v>38853</c:v>
                </c:pt>
                <c:pt idx="1600">
                  <c:v>38854</c:v>
                </c:pt>
                <c:pt idx="1601">
                  <c:v>38855</c:v>
                </c:pt>
                <c:pt idx="1602">
                  <c:v>38856</c:v>
                </c:pt>
                <c:pt idx="1603">
                  <c:v>38859</c:v>
                </c:pt>
                <c:pt idx="1604">
                  <c:v>38860</c:v>
                </c:pt>
                <c:pt idx="1605">
                  <c:v>38861</c:v>
                </c:pt>
                <c:pt idx="1606">
                  <c:v>38862</c:v>
                </c:pt>
                <c:pt idx="1607">
                  <c:v>38863</c:v>
                </c:pt>
                <c:pt idx="1608">
                  <c:v>38866</c:v>
                </c:pt>
                <c:pt idx="1609">
                  <c:v>38867</c:v>
                </c:pt>
                <c:pt idx="1610">
                  <c:v>38868</c:v>
                </c:pt>
                <c:pt idx="1611">
                  <c:v>38869</c:v>
                </c:pt>
                <c:pt idx="1612">
                  <c:v>38870</c:v>
                </c:pt>
                <c:pt idx="1613">
                  <c:v>38873</c:v>
                </c:pt>
                <c:pt idx="1614">
                  <c:v>38874</c:v>
                </c:pt>
                <c:pt idx="1615">
                  <c:v>38875</c:v>
                </c:pt>
                <c:pt idx="1616">
                  <c:v>38876</c:v>
                </c:pt>
                <c:pt idx="1617">
                  <c:v>38877</c:v>
                </c:pt>
                <c:pt idx="1618">
                  <c:v>38880</c:v>
                </c:pt>
                <c:pt idx="1619">
                  <c:v>38881</c:v>
                </c:pt>
                <c:pt idx="1620">
                  <c:v>38882</c:v>
                </c:pt>
                <c:pt idx="1621">
                  <c:v>38883</c:v>
                </c:pt>
                <c:pt idx="1622">
                  <c:v>38884</c:v>
                </c:pt>
                <c:pt idx="1623">
                  <c:v>38887</c:v>
                </c:pt>
                <c:pt idx="1624">
                  <c:v>38888</c:v>
                </c:pt>
                <c:pt idx="1625">
                  <c:v>38889</c:v>
                </c:pt>
                <c:pt idx="1626">
                  <c:v>38890</c:v>
                </c:pt>
                <c:pt idx="1627">
                  <c:v>38891</c:v>
                </c:pt>
                <c:pt idx="1628">
                  <c:v>38894</c:v>
                </c:pt>
                <c:pt idx="1629">
                  <c:v>38895</c:v>
                </c:pt>
                <c:pt idx="1630">
                  <c:v>38896</c:v>
                </c:pt>
                <c:pt idx="1631">
                  <c:v>38897</c:v>
                </c:pt>
                <c:pt idx="1632">
                  <c:v>38898</c:v>
                </c:pt>
                <c:pt idx="1633">
                  <c:v>38901</c:v>
                </c:pt>
                <c:pt idx="1634">
                  <c:v>38902</c:v>
                </c:pt>
                <c:pt idx="1635">
                  <c:v>38903</c:v>
                </c:pt>
                <c:pt idx="1636">
                  <c:v>38904</c:v>
                </c:pt>
                <c:pt idx="1637">
                  <c:v>38905</c:v>
                </c:pt>
                <c:pt idx="1638">
                  <c:v>38908</c:v>
                </c:pt>
                <c:pt idx="1639">
                  <c:v>38909</c:v>
                </c:pt>
                <c:pt idx="1640">
                  <c:v>38910</c:v>
                </c:pt>
                <c:pt idx="1641">
                  <c:v>38911</c:v>
                </c:pt>
                <c:pt idx="1642">
                  <c:v>38912</c:v>
                </c:pt>
                <c:pt idx="1643">
                  <c:v>38915</c:v>
                </c:pt>
                <c:pt idx="1644">
                  <c:v>38916</c:v>
                </c:pt>
                <c:pt idx="1645">
                  <c:v>38917</c:v>
                </c:pt>
                <c:pt idx="1646">
                  <c:v>38918</c:v>
                </c:pt>
                <c:pt idx="1647">
                  <c:v>38919</c:v>
                </c:pt>
                <c:pt idx="1648">
                  <c:v>38922</c:v>
                </c:pt>
                <c:pt idx="1649">
                  <c:v>38923</c:v>
                </c:pt>
                <c:pt idx="1650">
                  <c:v>38924</c:v>
                </c:pt>
                <c:pt idx="1651">
                  <c:v>38925</c:v>
                </c:pt>
                <c:pt idx="1652">
                  <c:v>38926</c:v>
                </c:pt>
                <c:pt idx="1653">
                  <c:v>38929</c:v>
                </c:pt>
                <c:pt idx="1654">
                  <c:v>38930</c:v>
                </c:pt>
                <c:pt idx="1655">
                  <c:v>38931</c:v>
                </c:pt>
                <c:pt idx="1656">
                  <c:v>38932</c:v>
                </c:pt>
                <c:pt idx="1657">
                  <c:v>38933</c:v>
                </c:pt>
                <c:pt idx="1658">
                  <c:v>38936</c:v>
                </c:pt>
                <c:pt idx="1659">
                  <c:v>38937</c:v>
                </c:pt>
                <c:pt idx="1660">
                  <c:v>38938</c:v>
                </c:pt>
                <c:pt idx="1661">
                  <c:v>38939</c:v>
                </c:pt>
                <c:pt idx="1662">
                  <c:v>38940</c:v>
                </c:pt>
                <c:pt idx="1663">
                  <c:v>38943</c:v>
                </c:pt>
                <c:pt idx="1664">
                  <c:v>38944</c:v>
                </c:pt>
                <c:pt idx="1665">
                  <c:v>38945</c:v>
                </c:pt>
                <c:pt idx="1666">
                  <c:v>38946</c:v>
                </c:pt>
                <c:pt idx="1667">
                  <c:v>38947</c:v>
                </c:pt>
                <c:pt idx="1668">
                  <c:v>38950</c:v>
                </c:pt>
                <c:pt idx="1669">
                  <c:v>38951</c:v>
                </c:pt>
                <c:pt idx="1670">
                  <c:v>38952</c:v>
                </c:pt>
                <c:pt idx="1671">
                  <c:v>38953</c:v>
                </c:pt>
                <c:pt idx="1672">
                  <c:v>38954</c:v>
                </c:pt>
                <c:pt idx="1673">
                  <c:v>38957</c:v>
                </c:pt>
                <c:pt idx="1674">
                  <c:v>38958</c:v>
                </c:pt>
                <c:pt idx="1675">
                  <c:v>38959</c:v>
                </c:pt>
                <c:pt idx="1676">
                  <c:v>38960</c:v>
                </c:pt>
                <c:pt idx="1677">
                  <c:v>38961</c:v>
                </c:pt>
                <c:pt idx="1678">
                  <c:v>38964</c:v>
                </c:pt>
                <c:pt idx="1679">
                  <c:v>38965</c:v>
                </c:pt>
                <c:pt idx="1680">
                  <c:v>38966</c:v>
                </c:pt>
                <c:pt idx="1681">
                  <c:v>38967</c:v>
                </c:pt>
                <c:pt idx="1682">
                  <c:v>38968</c:v>
                </c:pt>
                <c:pt idx="1683">
                  <c:v>38971</c:v>
                </c:pt>
                <c:pt idx="1684">
                  <c:v>38972</c:v>
                </c:pt>
                <c:pt idx="1685">
                  <c:v>38973</c:v>
                </c:pt>
                <c:pt idx="1686">
                  <c:v>38974</c:v>
                </c:pt>
                <c:pt idx="1687">
                  <c:v>38975</c:v>
                </c:pt>
                <c:pt idx="1688">
                  <c:v>38978</c:v>
                </c:pt>
                <c:pt idx="1689">
                  <c:v>38979</c:v>
                </c:pt>
                <c:pt idx="1690">
                  <c:v>38980</c:v>
                </c:pt>
                <c:pt idx="1691">
                  <c:v>38981</c:v>
                </c:pt>
                <c:pt idx="1692">
                  <c:v>38982</c:v>
                </c:pt>
                <c:pt idx="1693">
                  <c:v>38985</c:v>
                </c:pt>
                <c:pt idx="1694">
                  <c:v>38986</c:v>
                </c:pt>
                <c:pt idx="1695">
                  <c:v>38987</c:v>
                </c:pt>
                <c:pt idx="1696">
                  <c:v>38988</c:v>
                </c:pt>
                <c:pt idx="1697">
                  <c:v>38989</c:v>
                </c:pt>
                <c:pt idx="1698">
                  <c:v>38992</c:v>
                </c:pt>
                <c:pt idx="1699">
                  <c:v>38993</c:v>
                </c:pt>
                <c:pt idx="1700">
                  <c:v>38994</c:v>
                </c:pt>
                <c:pt idx="1701">
                  <c:v>38995</c:v>
                </c:pt>
                <c:pt idx="1702">
                  <c:v>38996</c:v>
                </c:pt>
                <c:pt idx="1703">
                  <c:v>38999</c:v>
                </c:pt>
                <c:pt idx="1704">
                  <c:v>39000</c:v>
                </c:pt>
                <c:pt idx="1705">
                  <c:v>39001</c:v>
                </c:pt>
                <c:pt idx="1706">
                  <c:v>39002</c:v>
                </c:pt>
                <c:pt idx="1707">
                  <c:v>39003</c:v>
                </c:pt>
                <c:pt idx="1708">
                  <c:v>39006</c:v>
                </c:pt>
                <c:pt idx="1709">
                  <c:v>39007</c:v>
                </c:pt>
                <c:pt idx="1710">
                  <c:v>39008</c:v>
                </c:pt>
                <c:pt idx="1711">
                  <c:v>39009</c:v>
                </c:pt>
                <c:pt idx="1712">
                  <c:v>39010</c:v>
                </c:pt>
                <c:pt idx="1713">
                  <c:v>39013</c:v>
                </c:pt>
                <c:pt idx="1714">
                  <c:v>39014</c:v>
                </c:pt>
                <c:pt idx="1715">
                  <c:v>39015</c:v>
                </c:pt>
                <c:pt idx="1716">
                  <c:v>39016</c:v>
                </c:pt>
                <c:pt idx="1717">
                  <c:v>39017</c:v>
                </c:pt>
                <c:pt idx="1718">
                  <c:v>39020</c:v>
                </c:pt>
                <c:pt idx="1719">
                  <c:v>39021</c:v>
                </c:pt>
                <c:pt idx="1720">
                  <c:v>39022</c:v>
                </c:pt>
                <c:pt idx="1721">
                  <c:v>39023</c:v>
                </c:pt>
                <c:pt idx="1722">
                  <c:v>39024</c:v>
                </c:pt>
                <c:pt idx="1723">
                  <c:v>39027</c:v>
                </c:pt>
                <c:pt idx="1724">
                  <c:v>39028</c:v>
                </c:pt>
                <c:pt idx="1725">
                  <c:v>39029</c:v>
                </c:pt>
                <c:pt idx="1726">
                  <c:v>39030</c:v>
                </c:pt>
                <c:pt idx="1727">
                  <c:v>39031</c:v>
                </c:pt>
                <c:pt idx="1728">
                  <c:v>39034</c:v>
                </c:pt>
                <c:pt idx="1729">
                  <c:v>39035</c:v>
                </c:pt>
                <c:pt idx="1730">
                  <c:v>39036</c:v>
                </c:pt>
                <c:pt idx="1731">
                  <c:v>39037</c:v>
                </c:pt>
                <c:pt idx="1732">
                  <c:v>39038</c:v>
                </c:pt>
                <c:pt idx="1733">
                  <c:v>39041</c:v>
                </c:pt>
                <c:pt idx="1734">
                  <c:v>39042</c:v>
                </c:pt>
                <c:pt idx="1735">
                  <c:v>39043</c:v>
                </c:pt>
                <c:pt idx="1736">
                  <c:v>39044</c:v>
                </c:pt>
                <c:pt idx="1737">
                  <c:v>39045</c:v>
                </c:pt>
                <c:pt idx="1738">
                  <c:v>39048</c:v>
                </c:pt>
                <c:pt idx="1739">
                  <c:v>39049</c:v>
                </c:pt>
                <c:pt idx="1740">
                  <c:v>39050</c:v>
                </c:pt>
                <c:pt idx="1741">
                  <c:v>39051</c:v>
                </c:pt>
                <c:pt idx="1742">
                  <c:v>39052</c:v>
                </c:pt>
                <c:pt idx="1743">
                  <c:v>39055</c:v>
                </c:pt>
                <c:pt idx="1744">
                  <c:v>39056</c:v>
                </c:pt>
                <c:pt idx="1745">
                  <c:v>39057</c:v>
                </c:pt>
                <c:pt idx="1746">
                  <c:v>39058</c:v>
                </c:pt>
                <c:pt idx="1747">
                  <c:v>39059</c:v>
                </c:pt>
                <c:pt idx="1748">
                  <c:v>39062</c:v>
                </c:pt>
                <c:pt idx="1749">
                  <c:v>39063</c:v>
                </c:pt>
                <c:pt idx="1750">
                  <c:v>39064</c:v>
                </c:pt>
                <c:pt idx="1751">
                  <c:v>39065</c:v>
                </c:pt>
                <c:pt idx="1752">
                  <c:v>39066</c:v>
                </c:pt>
                <c:pt idx="1753">
                  <c:v>39069</c:v>
                </c:pt>
                <c:pt idx="1754">
                  <c:v>39070</c:v>
                </c:pt>
                <c:pt idx="1755">
                  <c:v>39071</c:v>
                </c:pt>
                <c:pt idx="1756">
                  <c:v>39072</c:v>
                </c:pt>
                <c:pt idx="1757">
                  <c:v>39073</c:v>
                </c:pt>
                <c:pt idx="1758">
                  <c:v>39076</c:v>
                </c:pt>
                <c:pt idx="1759">
                  <c:v>39077</c:v>
                </c:pt>
                <c:pt idx="1760">
                  <c:v>39078</c:v>
                </c:pt>
                <c:pt idx="1761">
                  <c:v>39079</c:v>
                </c:pt>
                <c:pt idx="1762">
                  <c:v>39080</c:v>
                </c:pt>
                <c:pt idx="1763">
                  <c:v>39083</c:v>
                </c:pt>
                <c:pt idx="1764">
                  <c:v>39084</c:v>
                </c:pt>
                <c:pt idx="1765">
                  <c:v>39085</c:v>
                </c:pt>
                <c:pt idx="1766">
                  <c:v>39086</c:v>
                </c:pt>
                <c:pt idx="1767">
                  <c:v>39087</c:v>
                </c:pt>
                <c:pt idx="1768">
                  <c:v>39090</c:v>
                </c:pt>
                <c:pt idx="1769">
                  <c:v>39091</c:v>
                </c:pt>
                <c:pt idx="1770">
                  <c:v>39092</c:v>
                </c:pt>
                <c:pt idx="1771">
                  <c:v>39093</c:v>
                </c:pt>
                <c:pt idx="1772">
                  <c:v>39094</c:v>
                </c:pt>
                <c:pt idx="1773">
                  <c:v>39097</c:v>
                </c:pt>
                <c:pt idx="1774">
                  <c:v>39098</c:v>
                </c:pt>
                <c:pt idx="1775">
                  <c:v>39099</c:v>
                </c:pt>
                <c:pt idx="1776">
                  <c:v>39100</c:v>
                </c:pt>
                <c:pt idx="1777">
                  <c:v>39101</c:v>
                </c:pt>
                <c:pt idx="1778">
                  <c:v>39104</c:v>
                </c:pt>
                <c:pt idx="1779">
                  <c:v>39105</c:v>
                </c:pt>
                <c:pt idx="1780">
                  <c:v>39106</c:v>
                </c:pt>
                <c:pt idx="1781">
                  <c:v>39107</c:v>
                </c:pt>
                <c:pt idx="1782">
                  <c:v>39108</c:v>
                </c:pt>
                <c:pt idx="1783">
                  <c:v>39111</c:v>
                </c:pt>
                <c:pt idx="1784">
                  <c:v>39112</c:v>
                </c:pt>
                <c:pt idx="1785">
                  <c:v>39113</c:v>
                </c:pt>
                <c:pt idx="1786">
                  <c:v>39114</c:v>
                </c:pt>
                <c:pt idx="1787">
                  <c:v>39115</c:v>
                </c:pt>
                <c:pt idx="1788">
                  <c:v>39118</c:v>
                </c:pt>
                <c:pt idx="1789">
                  <c:v>39119</c:v>
                </c:pt>
                <c:pt idx="1790">
                  <c:v>39120</c:v>
                </c:pt>
                <c:pt idx="1791">
                  <c:v>39121</c:v>
                </c:pt>
                <c:pt idx="1792">
                  <c:v>39122</c:v>
                </c:pt>
                <c:pt idx="1793">
                  <c:v>39125</c:v>
                </c:pt>
                <c:pt idx="1794">
                  <c:v>39126</c:v>
                </c:pt>
                <c:pt idx="1795">
                  <c:v>39127</c:v>
                </c:pt>
                <c:pt idx="1796">
                  <c:v>39128</c:v>
                </c:pt>
                <c:pt idx="1797">
                  <c:v>39129</c:v>
                </c:pt>
                <c:pt idx="1798">
                  <c:v>39132</c:v>
                </c:pt>
                <c:pt idx="1799">
                  <c:v>39133</c:v>
                </c:pt>
                <c:pt idx="1800">
                  <c:v>39134</c:v>
                </c:pt>
                <c:pt idx="1801">
                  <c:v>39135</c:v>
                </c:pt>
                <c:pt idx="1802">
                  <c:v>39136</c:v>
                </c:pt>
                <c:pt idx="1803">
                  <c:v>39139</c:v>
                </c:pt>
                <c:pt idx="1804">
                  <c:v>39140</c:v>
                </c:pt>
                <c:pt idx="1805">
                  <c:v>39141</c:v>
                </c:pt>
                <c:pt idx="1806">
                  <c:v>39142</c:v>
                </c:pt>
                <c:pt idx="1807">
                  <c:v>39143</c:v>
                </c:pt>
                <c:pt idx="1808">
                  <c:v>39146</c:v>
                </c:pt>
                <c:pt idx="1809">
                  <c:v>39147</c:v>
                </c:pt>
                <c:pt idx="1810">
                  <c:v>39148</c:v>
                </c:pt>
                <c:pt idx="1811">
                  <c:v>39149</c:v>
                </c:pt>
                <c:pt idx="1812">
                  <c:v>39150</c:v>
                </c:pt>
                <c:pt idx="1813">
                  <c:v>39153</c:v>
                </c:pt>
                <c:pt idx="1814">
                  <c:v>39154</c:v>
                </c:pt>
                <c:pt idx="1815">
                  <c:v>39155</c:v>
                </c:pt>
                <c:pt idx="1816">
                  <c:v>39156</c:v>
                </c:pt>
                <c:pt idx="1817">
                  <c:v>39157</c:v>
                </c:pt>
                <c:pt idx="1818">
                  <c:v>39160</c:v>
                </c:pt>
                <c:pt idx="1819">
                  <c:v>39161</c:v>
                </c:pt>
                <c:pt idx="1820">
                  <c:v>39162</c:v>
                </c:pt>
                <c:pt idx="1821">
                  <c:v>39163</c:v>
                </c:pt>
                <c:pt idx="1822">
                  <c:v>39164</c:v>
                </c:pt>
                <c:pt idx="1823">
                  <c:v>39167</c:v>
                </c:pt>
                <c:pt idx="1824">
                  <c:v>39168</c:v>
                </c:pt>
                <c:pt idx="1825">
                  <c:v>39169</c:v>
                </c:pt>
                <c:pt idx="1826">
                  <c:v>39170</c:v>
                </c:pt>
                <c:pt idx="1827">
                  <c:v>39171</c:v>
                </c:pt>
                <c:pt idx="1828">
                  <c:v>39174</c:v>
                </c:pt>
                <c:pt idx="1829">
                  <c:v>39175</c:v>
                </c:pt>
                <c:pt idx="1830">
                  <c:v>39176</c:v>
                </c:pt>
                <c:pt idx="1831">
                  <c:v>39177</c:v>
                </c:pt>
                <c:pt idx="1832">
                  <c:v>39178</c:v>
                </c:pt>
                <c:pt idx="1833">
                  <c:v>39181</c:v>
                </c:pt>
                <c:pt idx="1834">
                  <c:v>39182</c:v>
                </c:pt>
                <c:pt idx="1835">
                  <c:v>39183</c:v>
                </c:pt>
                <c:pt idx="1836">
                  <c:v>39184</c:v>
                </c:pt>
                <c:pt idx="1837">
                  <c:v>39185</c:v>
                </c:pt>
                <c:pt idx="1838">
                  <c:v>39188</c:v>
                </c:pt>
                <c:pt idx="1839">
                  <c:v>39189</c:v>
                </c:pt>
                <c:pt idx="1840">
                  <c:v>39190</c:v>
                </c:pt>
                <c:pt idx="1841">
                  <c:v>39191</c:v>
                </c:pt>
                <c:pt idx="1842">
                  <c:v>39192</c:v>
                </c:pt>
                <c:pt idx="1843">
                  <c:v>39195</c:v>
                </c:pt>
                <c:pt idx="1844">
                  <c:v>39196</c:v>
                </c:pt>
                <c:pt idx="1845">
                  <c:v>39197</c:v>
                </c:pt>
                <c:pt idx="1846">
                  <c:v>39198</c:v>
                </c:pt>
                <c:pt idx="1847">
                  <c:v>39199</c:v>
                </c:pt>
                <c:pt idx="1848">
                  <c:v>39202</c:v>
                </c:pt>
                <c:pt idx="1849">
                  <c:v>39203</c:v>
                </c:pt>
                <c:pt idx="1850">
                  <c:v>39204</c:v>
                </c:pt>
                <c:pt idx="1851">
                  <c:v>39205</c:v>
                </c:pt>
                <c:pt idx="1852">
                  <c:v>39206</c:v>
                </c:pt>
                <c:pt idx="1853">
                  <c:v>39209</c:v>
                </c:pt>
                <c:pt idx="1854">
                  <c:v>39210</c:v>
                </c:pt>
                <c:pt idx="1855">
                  <c:v>39211</c:v>
                </c:pt>
                <c:pt idx="1856">
                  <c:v>39212</c:v>
                </c:pt>
                <c:pt idx="1857">
                  <c:v>39213</c:v>
                </c:pt>
                <c:pt idx="1858">
                  <c:v>39216</c:v>
                </c:pt>
                <c:pt idx="1859">
                  <c:v>39217</c:v>
                </c:pt>
                <c:pt idx="1860">
                  <c:v>39218</c:v>
                </c:pt>
                <c:pt idx="1861">
                  <c:v>39219</c:v>
                </c:pt>
                <c:pt idx="1862">
                  <c:v>39220</c:v>
                </c:pt>
                <c:pt idx="1863">
                  <c:v>39223</c:v>
                </c:pt>
                <c:pt idx="1864">
                  <c:v>39224</c:v>
                </c:pt>
                <c:pt idx="1865">
                  <c:v>39225</c:v>
                </c:pt>
                <c:pt idx="1866">
                  <c:v>39226</c:v>
                </c:pt>
                <c:pt idx="1867">
                  <c:v>39227</c:v>
                </c:pt>
                <c:pt idx="1868">
                  <c:v>39230</c:v>
                </c:pt>
                <c:pt idx="1869">
                  <c:v>39231</c:v>
                </c:pt>
                <c:pt idx="1870">
                  <c:v>39232</c:v>
                </c:pt>
                <c:pt idx="1871">
                  <c:v>39233</c:v>
                </c:pt>
                <c:pt idx="1872">
                  <c:v>39234</c:v>
                </c:pt>
                <c:pt idx="1873">
                  <c:v>39237</c:v>
                </c:pt>
                <c:pt idx="1874">
                  <c:v>39238</c:v>
                </c:pt>
                <c:pt idx="1875">
                  <c:v>39239</c:v>
                </c:pt>
                <c:pt idx="1876">
                  <c:v>39240</c:v>
                </c:pt>
                <c:pt idx="1877">
                  <c:v>39241</c:v>
                </c:pt>
                <c:pt idx="1878">
                  <c:v>39244</c:v>
                </c:pt>
                <c:pt idx="1879">
                  <c:v>39245</c:v>
                </c:pt>
                <c:pt idx="1880">
                  <c:v>39246</c:v>
                </c:pt>
                <c:pt idx="1881">
                  <c:v>39247</c:v>
                </c:pt>
                <c:pt idx="1882">
                  <c:v>39248</c:v>
                </c:pt>
                <c:pt idx="1883">
                  <c:v>39251</c:v>
                </c:pt>
                <c:pt idx="1884">
                  <c:v>39252</c:v>
                </c:pt>
                <c:pt idx="1885">
                  <c:v>39253</c:v>
                </c:pt>
                <c:pt idx="1886">
                  <c:v>39254</c:v>
                </c:pt>
                <c:pt idx="1887">
                  <c:v>39255</c:v>
                </c:pt>
                <c:pt idx="1888">
                  <c:v>39258</c:v>
                </c:pt>
                <c:pt idx="1889">
                  <c:v>39259</c:v>
                </c:pt>
                <c:pt idx="1890">
                  <c:v>39260</c:v>
                </c:pt>
                <c:pt idx="1891">
                  <c:v>39261</c:v>
                </c:pt>
                <c:pt idx="1892">
                  <c:v>39262</c:v>
                </c:pt>
                <c:pt idx="1893">
                  <c:v>39265</c:v>
                </c:pt>
                <c:pt idx="1894">
                  <c:v>39266</c:v>
                </c:pt>
                <c:pt idx="1895">
                  <c:v>39267</c:v>
                </c:pt>
                <c:pt idx="1896">
                  <c:v>39268</c:v>
                </c:pt>
                <c:pt idx="1897">
                  <c:v>39269</c:v>
                </c:pt>
                <c:pt idx="1898">
                  <c:v>39272</c:v>
                </c:pt>
                <c:pt idx="1899">
                  <c:v>39273</c:v>
                </c:pt>
                <c:pt idx="1900">
                  <c:v>39274</c:v>
                </c:pt>
                <c:pt idx="1901">
                  <c:v>39275</c:v>
                </c:pt>
                <c:pt idx="1902">
                  <c:v>39276</c:v>
                </c:pt>
                <c:pt idx="1903">
                  <c:v>39279</c:v>
                </c:pt>
                <c:pt idx="1904">
                  <c:v>39280</c:v>
                </c:pt>
                <c:pt idx="1905">
                  <c:v>39281</c:v>
                </c:pt>
                <c:pt idx="1906">
                  <c:v>39282</c:v>
                </c:pt>
                <c:pt idx="1907">
                  <c:v>39283</c:v>
                </c:pt>
                <c:pt idx="1908">
                  <c:v>39286</c:v>
                </c:pt>
                <c:pt idx="1909">
                  <c:v>39287</c:v>
                </c:pt>
                <c:pt idx="1910">
                  <c:v>39288</c:v>
                </c:pt>
                <c:pt idx="1911">
                  <c:v>39289</c:v>
                </c:pt>
                <c:pt idx="1912">
                  <c:v>39290</c:v>
                </c:pt>
                <c:pt idx="1913">
                  <c:v>39293</c:v>
                </c:pt>
                <c:pt idx="1914">
                  <c:v>39294</c:v>
                </c:pt>
                <c:pt idx="1915">
                  <c:v>39295</c:v>
                </c:pt>
                <c:pt idx="1916">
                  <c:v>39296</c:v>
                </c:pt>
                <c:pt idx="1917">
                  <c:v>39297</c:v>
                </c:pt>
                <c:pt idx="1918">
                  <c:v>39300</c:v>
                </c:pt>
                <c:pt idx="1919">
                  <c:v>39301</c:v>
                </c:pt>
                <c:pt idx="1920">
                  <c:v>39302</c:v>
                </c:pt>
                <c:pt idx="1921">
                  <c:v>39303</c:v>
                </c:pt>
                <c:pt idx="1922">
                  <c:v>39304</c:v>
                </c:pt>
                <c:pt idx="1923">
                  <c:v>39307</c:v>
                </c:pt>
                <c:pt idx="1924">
                  <c:v>39308</c:v>
                </c:pt>
                <c:pt idx="1925">
                  <c:v>39309</c:v>
                </c:pt>
                <c:pt idx="1926">
                  <c:v>39310</c:v>
                </c:pt>
                <c:pt idx="1927">
                  <c:v>39311</c:v>
                </c:pt>
                <c:pt idx="1928">
                  <c:v>39314</c:v>
                </c:pt>
                <c:pt idx="1929">
                  <c:v>39315</c:v>
                </c:pt>
                <c:pt idx="1930">
                  <c:v>39316</c:v>
                </c:pt>
                <c:pt idx="1931">
                  <c:v>39317</c:v>
                </c:pt>
                <c:pt idx="1932">
                  <c:v>39318</c:v>
                </c:pt>
                <c:pt idx="1933">
                  <c:v>39321</c:v>
                </c:pt>
                <c:pt idx="1934">
                  <c:v>39322</c:v>
                </c:pt>
                <c:pt idx="1935">
                  <c:v>39323</c:v>
                </c:pt>
                <c:pt idx="1936">
                  <c:v>39324</c:v>
                </c:pt>
                <c:pt idx="1937">
                  <c:v>39325</c:v>
                </c:pt>
                <c:pt idx="1938">
                  <c:v>39328</c:v>
                </c:pt>
                <c:pt idx="1939">
                  <c:v>39329</c:v>
                </c:pt>
                <c:pt idx="1940">
                  <c:v>39330</c:v>
                </c:pt>
                <c:pt idx="1941">
                  <c:v>39331</c:v>
                </c:pt>
                <c:pt idx="1942">
                  <c:v>39332</c:v>
                </c:pt>
                <c:pt idx="1943">
                  <c:v>39335</c:v>
                </c:pt>
                <c:pt idx="1944">
                  <c:v>39336</c:v>
                </c:pt>
                <c:pt idx="1945">
                  <c:v>39337</c:v>
                </c:pt>
                <c:pt idx="1946">
                  <c:v>39338</c:v>
                </c:pt>
                <c:pt idx="1947">
                  <c:v>39339</c:v>
                </c:pt>
                <c:pt idx="1948">
                  <c:v>39342</c:v>
                </c:pt>
                <c:pt idx="1949">
                  <c:v>39343</c:v>
                </c:pt>
                <c:pt idx="1950">
                  <c:v>39344</c:v>
                </c:pt>
                <c:pt idx="1951">
                  <c:v>39345</c:v>
                </c:pt>
                <c:pt idx="1952">
                  <c:v>39346</c:v>
                </c:pt>
                <c:pt idx="1953">
                  <c:v>39349</c:v>
                </c:pt>
                <c:pt idx="1954">
                  <c:v>39350</c:v>
                </c:pt>
                <c:pt idx="1955">
                  <c:v>39351</c:v>
                </c:pt>
                <c:pt idx="1956">
                  <c:v>39352</c:v>
                </c:pt>
                <c:pt idx="1957">
                  <c:v>39353</c:v>
                </c:pt>
                <c:pt idx="1958">
                  <c:v>39356</c:v>
                </c:pt>
                <c:pt idx="1959">
                  <c:v>39357</c:v>
                </c:pt>
                <c:pt idx="1960">
                  <c:v>39358</c:v>
                </c:pt>
                <c:pt idx="1961">
                  <c:v>39359</c:v>
                </c:pt>
                <c:pt idx="1962">
                  <c:v>39360</c:v>
                </c:pt>
                <c:pt idx="1963">
                  <c:v>39363</c:v>
                </c:pt>
                <c:pt idx="1964">
                  <c:v>39364</c:v>
                </c:pt>
                <c:pt idx="1965">
                  <c:v>39365</c:v>
                </c:pt>
                <c:pt idx="1966">
                  <c:v>39366</c:v>
                </c:pt>
                <c:pt idx="1967">
                  <c:v>39367</c:v>
                </c:pt>
                <c:pt idx="1968">
                  <c:v>39370</c:v>
                </c:pt>
                <c:pt idx="1969">
                  <c:v>39371</c:v>
                </c:pt>
                <c:pt idx="1970">
                  <c:v>39372</c:v>
                </c:pt>
                <c:pt idx="1971">
                  <c:v>39373</c:v>
                </c:pt>
                <c:pt idx="1972">
                  <c:v>39374</c:v>
                </c:pt>
                <c:pt idx="1973">
                  <c:v>39377</c:v>
                </c:pt>
                <c:pt idx="1974">
                  <c:v>39378</c:v>
                </c:pt>
                <c:pt idx="1975">
                  <c:v>39379</c:v>
                </c:pt>
                <c:pt idx="1976">
                  <c:v>39380</c:v>
                </c:pt>
                <c:pt idx="1977">
                  <c:v>39381</c:v>
                </c:pt>
                <c:pt idx="1978">
                  <c:v>39384</c:v>
                </c:pt>
                <c:pt idx="1979">
                  <c:v>39385</c:v>
                </c:pt>
                <c:pt idx="1980">
                  <c:v>39386</c:v>
                </c:pt>
                <c:pt idx="1981">
                  <c:v>39387</c:v>
                </c:pt>
                <c:pt idx="1982">
                  <c:v>39388</c:v>
                </c:pt>
                <c:pt idx="1983">
                  <c:v>39391</c:v>
                </c:pt>
                <c:pt idx="1984">
                  <c:v>39392</c:v>
                </c:pt>
                <c:pt idx="1985">
                  <c:v>39393</c:v>
                </c:pt>
                <c:pt idx="1986">
                  <c:v>39394</c:v>
                </c:pt>
                <c:pt idx="1987">
                  <c:v>39395</c:v>
                </c:pt>
                <c:pt idx="1988">
                  <c:v>39398</c:v>
                </c:pt>
                <c:pt idx="1989">
                  <c:v>39399</c:v>
                </c:pt>
                <c:pt idx="1990">
                  <c:v>39400</c:v>
                </c:pt>
                <c:pt idx="1991">
                  <c:v>39401</c:v>
                </c:pt>
                <c:pt idx="1992">
                  <c:v>39402</c:v>
                </c:pt>
                <c:pt idx="1993">
                  <c:v>39405</c:v>
                </c:pt>
                <c:pt idx="1994">
                  <c:v>39406</c:v>
                </c:pt>
                <c:pt idx="1995">
                  <c:v>39407</c:v>
                </c:pt>
                <c:pt idx="1996">
                  <c:v>39408</c:v>
                </c:pt>
                <c:pt idx="1997">
                  <c:v>39409</c:v>
                </c:pt>
                <c:pt idx="1998">
                  <c:v>39412</c:v>
                </c:pt>
                <c:pt idx="1999">
                  <c:v>39413</c:v>
                </c:pt>
                <c:pt idx="2000">
                  <c:v>39414</c:v>
                </c:pt>
                <c:pt idx="2001">
                  <c:v>39415</c:v>
                </c:pt>
                <c:pt idx="2002">
                  <c:v>39416</c:v>
                </c:pt>
                <c:pt idx="2003">
                  <c:v>39419</c:v>
                </c:pt>
                <c:pt idx="2004">
                  <c:v>39420</c:v>
                </c:pt>
                <c:pt idx="2005">
                  <c:v>39421</c:v>
                </c:pt>
                <c:pt idx="2006">
                  <c:v>39422</c:v>
                </c:pt>
                <c:pt idx="2007">
                  <c:v>39423</c:v>
                </c:pt>
                <c:pt idx="2008">
                  <c:v>39426</c:v>
                </c:pt>
                <c:pt idx="2009">
                  <c:v>39427</c:v>
                </c:pt>
                <c:pt idx="2010">
                  <c:v>39428</c:v>
                </c:pt>
                <c:pt idx="2011">
                  <c:v>39429</c:v>
                </c:pt>
                <c:pt idx="2012">
                  <c:v>39430</c:v>
                </c:pt>
                <c:pt idx="2013">
                  <c:v>39433</c:v>
                </c:pt>
                <c:pt idx="2014">
                  <c:v>39434</c:v>
                </c:pt>
                <c:pt idx="2015">
                  <c:v>39435</c:v>
                </c:pt>
                <c:pt idx="2016">
                  <c:v>39436</c:v>
                </c:pt>
                <c:pt idx="2017">
                  <c:v>39437</c:v>
                </c:pt>
                <c:pt idx="2018">
                  <c:v>39443</c:v>
                </c:pt>
                <c:pt idx="2019">
                  <c:v>39444</c:v>
                </c:pt>
                <c:pt idx="2020">
                  <c:v>39447</c:v>
                </c:pt>
                <c:pt idx="2021">
                  <c:v>39449</c:v>
                </c:pt>
                <c:pt idx="2022">
                  <c:v>39450</c:v>
                </c:pt>
                <c:pt idx="2023">
                  <c:v>39451</c:v>
                </c:pt>
                <c:pt idx="2024">
                  <c:v>39454</c:v>
                </c:pt>
                <c:pt idx="2025">
                  <c:v>39455</c:v>
                </c:pt>
                <c:pt idx="2026">
                  <c:v>39456</c:v>
                </c:pt>
                <c:pt idx="2027">
                  <c:v>39457</c:v>
                </c:pt>
                <c:pt idx="2028">
                  <c:v>39458</c:v>
                </c:pt>
                <c:pt idx="2029">
                  <c:v>39461</c:v>
                </c:pt>
                <c:pt idx="2030">
                  <c:v>39462</c:v>
                </c:pt>
                <c:pt idx="2031">
                  <c:v>39463</c:v>
                </c:pt>
                <c:pt idx="2032">
                  <c:v>39464</c:v>
                </c:pt>
                <c:pt idx="2033">
                  <c:v>39465</c:v>
                </c:pt>
                <c:pt idx="2034">
                  <c:v>39468</c:v>
                </c:pt>
                <c:pt idx="2035">
                  <c:v>39469</c:v>
                </c:pt>
                <c:pt idx="2036">
                  <c:v>39470</c:v>
                </c:pt>
                <c:pt idx="2037">
                  <c:v>39471</c:v>
                </c:pt>
                <c:pt idx="2038">
                  <c:v>39472</c:v>
                </c:pt>
                <c:pt idx="2039">
                  <c:v>39475</c:v>
                </c:pt>
                <c:pt idx="2040">
                  <c:v>39476</c:v>
                </c:pt>
                <c:pt idx="2041">
                  <c:v>39477</c:v>
                </c:pt>
                <c:pt idx="2042">
                  <c:v>39478</c:v>
                </c:pt>
                <c:pt idx="2043">
                  <c:v>39479</c:v>
                </c:pt>
                <c:pt idx="2044">
                  <c:v>39482</c:v>
                </c:pt>
                <c:pt idx="2045">
                  <c:v>39483</c:v>
                </c:pt>
                <c:pt idx="2046">
                  <c:v>39484</c:v>
                </c:pt>
                <c:pt idx="2047">
                  <c:v>39485</c:v>
                </c:pt>
                <c:pt idx="2048">
                  <c:v>39486</c:v>
                </c:pt>
                <c:pt idx="2049">
                  <c:v>39489</c:v>
                </c:pt>
                <c:pt idx="2050">
                  <c:v>39490</c:v>
                </c:pt>
                <c:pt idx="2051">
                  <c:v>39491</c:v>
                </c:pt>
                <c:pt idx="2052">
                  <c:v>39492</c:v>
                </c:pt>
                <c:pt idx="2053">
                  <c:v>39493</c:v>
                </c:pt>
                <c:pt idx="2054">
                  <c:v>39496</c:v>
                </c:pt>
                <c:pt idx="2055">
                  <c:v>39497</c:v>
                </c:pt>
                <c:pt idx="2056">
                  <c:v>39498</c:v>
                </c:pt>
                <c:pt idx="2057">
                  <c:v>39499</c:v>
                </c:pt>
                <c:pt idx="2058">
                  <c:v>39500</c:v>
                </c:pt>
                <c:pt idx="2059">
                  <c:v>39503</c:v>
                </c:pt>
                <c:pt idx="2060">
                  <c:v>39504</c:v>
                </c:pt>
                <c:pt idx="2061">
                  <c:v>39505</c:v>
                </c:pt>
                <c:pt idx="2062">
                  <c:v>39506</c:v>
                </c:pt>
                <c:pt idx="2063">
                  <c:v>39507</c:v>
                </c:pt>
                <c:pt idx="2064">
                  <c:v>39510</c:v>
                </c:pt>
                <c:pt idx="2065">
                  <c:v>39511</c:v>
                </c:pt>
                <c:pt idx="2066">
                  <c:v>39512</c:v>
                </c:pt>
                <c:pt idx="2067">
                  <c:v>39513</c:v>
                </c:pt>
                <c:pt idx="2068">
                  <c:v>39514</c:v>
                </c:pt>
                <c:pt idx="2069">
                  <c:v>39517</c:v>
                </c:pt>
                <c:pt idx="2070">
                  <c:v>39518</c:v>
                </c:pt>
                <c:pt idx="2071">
                  <c:v>39519</c:v>
                </c:pt>
                <c:pt idx="2072">
                  <c:v>39520</c:v>
                </c:pt>
                <c:pt idx="2073">
                  <c:v>39521</c:v>
                </c:pt>
                <c:pt idx="2074">
                  <c:v>39524</c:v>
                </c:pt>
                <c:pt idx="2075">
                  <c:v>39525</c:v>
                </c:pt>
                <c:pt idx="2076">
                  <c:v>39526</c:v>
                </c:pt>
                <c:pt idx="2077">
                  <c:v>39527</c:v>
                </c:pt>
                <c:pt idx="2078">
                  <c:v>39532</c:v>
                </c:pt>
                <c:pt idx="2079">
                  <c:v>39533</c:v>
                </c:pt>
                <c:pt idx="2080">
                  <c:v>39534</c:v>
                </c:pt>
                <c:pt idx="2081">
                  <c:v>39535</c:v>
                </c:pt>
                <c:pt idx="2082">
                  <c:v>39538</c:v>
                </c:pt>
                <c:pt idx="2083">
                  <c:v>39539</c:v>
                </c:pt>
                <c:pt idx="2084">
                  <c:v>39540</c:v>
                </c:pt>
                <c:pt idx="2085">
                  <c:v>39541</c:v>
                </c:pt>
                <c:pt idx="2086">
                  <c:v>39542</c:v>
                </c:pt>
                <c:pt idx="2087">
                  <c:v>39545</c:v>
                </c:pt>
                <c:pt idx="2088">
                  <c:v>39546</c:v>
                </c:pt>
                <c:pt idx="2089">
                  <c:v>39547</c:v>
                </c:pt>
                <c:pt idx="2090">
                  <c:v>39548</c:v>
                </c:pt>
                <c:pt idx="2091">
                  <c:v>39549</c:v>
                </c:pt>
                <c:pt idx="2092">
                  <c:v>39552</c:v>
                </c:pt>
                <c:pt idx="2093">
                  <c:v>39553</c:v>
                </c:pt>
                <c:pt idx="2094">
                  <c:v>39554</c:v>
                </c:pt>
                <c:pt idx="2095">
                  <c:v>39555</c:v>
                </c:pt>
                <c:pt idx="2096">
                  <c:v>39556</c:v>
                </c:pt>
                <c:pt idx="2097">
                  <c:v>39559</c:v>
                </c:pt>
                <c:pt idx="2098">
                  <c:v>39560</c:v>
                </c:pt>
                <c:pt idx="2099">
                  <c:v>39561</c:v>
                </c:pt>
                <c:pt idx="2100">
                  <c:v>39562</c:v>
                </c:pt>
                <c:pt idx="2101">
                  <c:v>39563</c:v>
                </c:pt>
                <c:pt idx="2102">
                  <c:v>39566</c:v>
                </c:pt>
                <c:pt idx="2103">
                  <c:v>39567</c:v>
                </c:pt>
                <c:pt idx="2104">
                  <c:v>39568</c:v>
                </c:pt>
                <c:pt idx="2105">
                  <c:v>39569</c:v>
                </c:pt>
                <c:pt idx="2106">
                  <c:v>39570</c:v>
                </c:pt>
                <c:pt idx="2107">
                  <c:v>39573</c:v>
                </c:pt>
                <c:pt idx="2108">
                  <c:v>39574</c:v>
                </c:pt>
                <c:pt idx="2109">
                  <c:v>39575</c:v>
                </c:pt>
                <c:pt idx="2110">
                  <c:v>39576</c:v>
                </c:pt>
                <c:pt idx="2111">
                  <c:v>39577</c:v>
                </c:pt>
                <c:pt idx="2112">
                  <c:v>39580</c:v>
                </c:pt>
                <c:pt idx="2113">
                  <c:v>39581</c:v>
                </c:pt>
                <c:pt idx="2114">
                  <c:v>39582</c:v>
                </c:pt>
                <c:pt idx="2115">
                  <c:v>39583</c:v>
                </c:pt>
                <c:pt idx="2116">
                  <c:v>39584</c:v>
                </c:pt>
                <c:pt idx="2117">
                  <c:v>39587</c:v>
                </c:pt>
                <c:pt idx="2118">
                  <c:v>39588</c:v>
                </c:pt>
                <c:pt idx="2119">
                  <c:v>39589</c:v>
                </c:pt>
                <c:pt idx="2120">
                  <c:v>39590</c:v>
                </c:pt>
                <c:pt idx="2121">
                  <c:v>39591</c:v>
                </c:pt>
                <c:pt idx="2122">
                  <c:v>39594</c:v>
                </c:pt>
                <c:pt idx="2123">
                  <c:v>39595</c:v>
                </c:pt>
                <c:pt idx="2124">
                  <c:v>39596</c:v>
                </c:pt>
                <c:pt idx="2125">
                  <c:v>39597</c:v>
                </c:pt>
                <c:pt idx="2126">
                  <c:v>39598</c:v>
                </c:pt>
                <c:pt idx="2127">
                  <c:v>39601</c:v>
                </c:pt>
                <c:pt idx="2128">
                  <c:v>39602</c:v>
                </c:pt>
                <c:pt idx="2129">
                  <c:v>39603</c:v>
                </c:pt>
                <c:pt idx="2130">
                  <c:v>39604</c:v>
                </c:pt>
                <c:pt idx="2131">
                  <c:v>39605</c:v>
                </c:pt>
                <c:pt idx="2132">
                  <c:v>39608</c:v>
                </c:pt>
                <c:pt idx="2133">
                  <c:v>39609</c:v>
                </c:pt>
                <c:pt idx="2134">
                  <c:v>39610</c:v>
                </c:pt>
                <c:pt idx="2135">
                  <c:v>39611</c:v>
                </c:pt>
                <c:pt idx="2136">
                  <c:v>39612</c:v>
                </c:pt>
                <c:pt idx="2137">
                  <c:v>39615</c:v>
                </c:pt>
                <c:pt idx="2138">
                  <c:v>39616</c:v>
                </c:pt>
                <c:pt idx="2139">
                  <c:v>39617</c:v>
                </c:pt>
                <c:pt idx="2140">
                  <c:v>39618</c:v>
                </c:pt>
                <c:pt idx="2141">
                  <c:v>39619</c:v>
                </c:pt>
                <c:pt idx="2142">
                  <c:v>39622</c:v>
                </c:pt>
                <c:pt idx="2143">
                  <c:v>39623</c:v>
                </c:pt>
                <c:pt idx="2144">
                  <c:v>39624</c:v>
                </c:pt>
                <c:pt idx="2145">
                  <c:v>39625</c:v>
                </c:pt>
                <c:pt idx="2146">
                  <c:v>39626</c:v>
                </c:pt>
                <c:pt idx="2147">
                  <c:v>39629</c:v>
                </c:pt>
                <c:pt idx="2148">
                  <c:v>39630</c:v>
                </c:pt>
                <c:pt idx="2149">
                  <c:v>39631</c:v>
                </c:pt>
                <c:pt idx="2150">
                  <c:v>39632</c:v>
                </c:pt>
                <c:pt idx="2151">
                  <c:v>39633</c:v>
                </c:pt>
                <c:pt idx="2152">
                  <c:v>39636</c:v>
                </c:pt>
                <c:pt idx="2153">
                  <c:v>39637</c:v>
                </c:pt>
                <c:pt idx="2154">
                  <c:v>39638</c:v>
                </c:pt>
                <c:pt idx="2155">
                  <c:v>39639</c:v>
                </c:pt>
                <c:pt idx="2156">
                  <c:v>39640</c:v>
                </c:pt>
                <c:pt idx="2157">
                  <c:v>39643</c:v>
                </c:pt>
                <c:pt idx="2158">
                  <c:v>39644</c:v>
                </c:pt>
                <c:pt idx="2159">
                  <c:v>39645</c:v>
                </c:pt>
                <c:pt idx="2160">
                  <c:v>39646</c:v>
                </c:pt>
                <c:pt idx="2161">
                  <c:v>39647</c:v>
                </c:pt>
                <c:pt idx="2162">
                  <c:v>39650</c:v>
                </c:pt>
                <c:pt idx="2163">
                  <c:v>39651</c:v>
                </c:pt>
                <c:pt idx="2164">
                  <c:v>39652</c:v>
                </c:pt>
                <c:pt idx="2165">
                  <c:v>39653</c:v>
                </c:pt>
                <c:pt idx="2166">
                  <c:v>39654</c:v>
                </c:pt>
                <c:pt idx="2167">
                  <c:v>39657</c:v>
                </c:pt>
                <c:pt idx="2168">
                  <c:v>39658</c:v>
                </c:pt>
                <c:pt idx="2169">
                  <c:v>39659</c:v>
                </c:pt>
                <c:pt idx="2170">
                  <c:v>39660</c:v>
                </c:pt>
                <c:pt idx="2171">
                  <c:v>39661</c:v>
                </c:pt>
                <c:pt idx="2172">
                  <c:v>39664</c:v>
                </c:pt>
                <c:pt idx="2173">
                  <c:v>39665</c:v>
                </c:pt>
                <c:pt idx="2174">
                  <c:v>39666</c:v>
                </c:pt>
                <c:pt idx="2175">
                  <c:v>39667</c:v>
                </c:pt>
                <c:pt idx="2176">
                  <c:v>39668</c:v>
                </c:pt>
                <c:pt idx="2177">
                  <c:v>39671</c:v>
                </c:pt>
                <c:pt idx="2178">
                  <c:v>39672</c:v>
                </c:pt>
                <c:pt idx="2179">
                  <c:v>39673</c:v>
                </c:pt>
                <c:pt idx="2180">
                  <c:v>39674</c:v>
                </c:pt>
                <c:pt idx="2181">
                  <c:v>39675</c:v>
                </c:pt>
                <c:pt idx="2182">
                  <c:v>39678</c:v>
                </c:pt>
                <c:pt idx="2183">
                  <c:v>39679</c:v>
                </c:pt>
                <c:pt idx="2184">
                  <c:v>39680</c:v>
                </c:pt>
                <c:pt idx="2185">
                  <c:v>39681</c:v>
                </c:pt>
                <c:pt idx="2186">
                  <c:v>39682</c:v>
                </c:pt>
                <c:pt idx="2187">
                  <c:v>39685</c:v>
                </c:pt>
                <c:pt idx="2188">
                  <c:v>39686</c:v>
                </c:pt>
                <c:pt idx="2189">
                  <c:v>39687</c:v>
                </c:pt>
                <c:pt idx="2190">
                  <c:v>39688</c:v>
                </c:pt>
                <c:pt idx="2191">
                  <c:v>39689</c:v>
                </c:pt>
                <c:pt idx="2192">
                  <c:v>39692</c:v>
                </c:pt>
                <c:pt idx="2193">
                  <c:v>39693</c:v>
                </c:pt>
                <c:pt idx="2194">
                  <c:v>39694</c:v>
                </c:pt>
                <c:pt idx="2195">
                  <c:v>39695</c:v>
                </c:pt>
                <c:pt idx="2196">
                  <c:v>39696</c:v>
                </c:pt>
                <c:pt idx="2197">
                  <c:v>39699</c:v>
                </c:pt>
                <c:pt idx="2198">
                  <c:v>39700</c:v>
                </c:pt>
                <c:pt idx="2199">
                  <c:v>39701</c:v>
                </c:pt>
                <c:pt idx="2200">
                  <c:v>39702</c:v>
                </c:pt>
                <c:pt idx="2201">
                  <c:v>39703</c:v>
                </c:pt>
                <c:pt idx="2202">
                  <c:v>39706</c:v>
                </c:pt>
                <c:pt idx="2203">
                  <c:v>39707</c:v>
                </c:pt>
                <c:pt idx="2204">
                  <c:v>39708</c:v>
                </c:pt>
                <c:pt idx="2205">
                  <c:v>39709</c:v>
                </c:pt>
                <c:pt idx="2206">
                  <c:v>39710</c:v>
                </c:pt>
                <c:pt idx="2207">
                  <c:v>39713</c:v>
                </c:pt>
                <c:pt idx="2208">
                  <c:v>39714</c:v>
                </c:pt>
                <c:pt idx="2209">
                  <c:v>39715</c:v>
                </c:pt>
                <c:pt idx="2210">
                  <c:v>39716</c:v>
                </c:pt>
                <c:pt idx="2211">
                  <c:v>39717</c:v>
                </c:pt>
                <c:pt idx="2212">
                  <c:v>39720</c:v>
                </c:pt>
                <c:pt idx="2213">
                  <c:v>39721</c:v>
                </c:pt>
                <c:pt idx="2214">
                  <c:v>39722</c:v>
                </c:pt>
                <c:pt idx="2215">
                  <c:v>39723</c:v>
                </c:pt>
                <c:pt idx="2216">
                  <c:v>39724</c:v>
                </c:pt>
                <c:pt idx="2217">
                  <c:v>39727</c:v>
                </c:pt>
                <c:pt idx="2218">
                  <c:v>39728</c:v>
                </c:pt>
                <c:pt idx="2219">
                  <c:v>39729</c:v>
                </c:pt>
                <c:pt idx="2220">
                  <c:v>39730</c:v>
                </c:pt>
                <c:pt idx="2221">
                  <c:v>39731</c:v>
                </c:pt>
                <c:pt idx="2222">
                  <c:v>39734</c:v>
                </c:pt>
                <c:pt idx="2223">
                  <c:v>39735</c:v>
                </c:pt>
                <c:pt idx="2224">
                  <c:v>39736</c:v>
                </c:pt>
                <c:pt idx="2225">
                  <c:v>39737</c:v>
                </c:pt>
                <c:pt idx="2226">
                  <c:v>39738</c:v>
                </c:pt>
                <c:pt idx="2227">
                  <c:v>39741</c:v>
                </c:pt>
                <c:pt idx="2228">
                  <c:v>39742</c:v>
                </c:pt>
                <c:pt idx="2229">
                  <c:v>39743</c:v>
                </c:pt>
                <c:pt idx="2230">
                  <c:v>39744</c:v>
                </c:pt>
                <c:pt idx="2231">
                  <c:v>39745</c:v>
                </c:pt>
                <c:pt idx="2232">
                  <c:v>39748</c:v>
                </c:pt>
                <c:pt idx="2233">
                  <c:v>39749</c:v>
                </c:pt>
                <c:pt idx="2234">
                  <c:v>39750</c:v>
                </c:pt>
                <c:pt idx="2235">
                  <c:v>39751</c:v>
                </c:pt>
                <c:pt idx="2236">
                  <c:v>39752</c:v>
                </c:pt>
                <c:pt idx="2237">
                  <c:v>39755</c:v>
                </c:pt>
                <c:pt idx="2238">
                  <c:v>39756</c:v>
                </c:pt>
                <c:pt idx="2239">
                  <c:v>39757</c:v>
                </c:pt>
                <c:pt idx="2240">
                  <c:v>39758</c:v>
                </c:pt>
                <c:pt idx="2241">
                  <c:v>39759</c:v>
                </c:pt>
                <c:pt idx="2242">
                  <c:v>39762</c:v>
                </c:pt>
                <c:pt idx="2243">
                  <c:v>39763</c:v>
                </c:pt>
                <c:pt idx="2244">
                  <c:v>39764</c:v>
                </c:pt>
                <c:pt idx="2245">
                  <c:v>39765</c:v>
                </c:pt>
                <c:pt idx="2246">
                  <c:v>39766</c:v>
                </c:pt>
                <c:pt idx="2247">
                  <c:v>39769</c:v>
                </c:pt>
                <c:pt idx="2248">
                  <c:v>39770</c:v>
                </c:pt>
                <c:pt idx="2249">
                  <c:v>39771</c:v>
                </c:pt>
                <c:pt idx="2250">
                  <c:v>39772</c:v>
                </c:pt>
                <c:pt idx="2251">
                  <c:v>39773</c:v>
                </c:pt>
                <c:pt idx="2252">
                  <c:v>39776</c:v>
                </c:pt>
                <c:pt idx="2253">
                  <c:v>39777</c:v>
                </c:pt>
                <c:pt idx="2254">
                  <c:v>39778</c:v>
                </c:pt>
                <c:pt idx="2255">
                  <c:v>39779</c:v>
                </c:pt>
                <c:pt idx="2256">
                  <c:v>39780</c:v>
                </c:pt>
                <c:pt idx="2257">
                  <c:v>39783</c:v>
                </c:pt>
                <c:pt idx="2258">
                  <c:v>39784</c:v>
                </c:pt>
                <c:pt idx="2259">
                  <c:v>39785</c:v>
                </c:pt>
                <c:pt idx="2260">
                  <c:v>39786</c:v>
                </c:pt>
                <c:pt idx="2261">
                  <c:v>39787</c:v>
                </c:pt>
                <c:pt idx="2262">
                  <c:v>39790</c:v>
                </c:pt>
                <c:pt idx="2263">
                  <c:v>39791</c:v>
                </c:pt>
                <c:pt idx="2264">
                  <c:v>39792</c:v>
                </c:pt>
                <c:pt idx="2265">
                  <c:v>39793</c:v>
                </c:pt>
                <c:pt idx="2266">
                  <c:v>39794</c:v>
                </c:pt>
                <c:pt idx="2267">
                  <c:v>39797</c:v>
                </c:pt>
                <c:pt idx="2268">
                  <c:v>39798</c:v>
                </c:pt>
                <c:pt idx="2269">
                  <c:v>39799</c:v>
                </c:pt>
                <c:pt idx="2270">
                  <c:v>39800</c:v>
                </c:pt>
                <c:pt idx="2271">
                  <c:v>39801</c:v>
                </c:pt>
                <c:pt idx="2272">
                  <c:v>39804</c:v>
                </c:pt>
                <c:pt idx="2273">
                  <c:v>39805</c:v>
                </c:pt>
                <c:pt idx="2274">
                  <c:v>39806</c:v>
                </c:pt>
                <c:pt idx="2275">
                  <c:v>39811</c:v>
                </c:pt>
                <c:pt idx="2276">
                  <c:v>39812</c:v>
                </c:pt>
                <c:pt idx="2277">
                  <c:v>39813</c:v>
                </c:pt>
                <c:pt idx="2278">
                  <c:v>39815</c:v>
                </c:pt>
                <c:pt idx="2279">
                  <c:v>39818</c:v>
                </c:pt>
                <c:pt idx="2280">
                  <c:v>39819</c:v>
                </c:pt>
                <c:pt idx="2281">
                  <c:v>39820</c:v>
                </c:pt>
                <c:pt idx="2282">
                  <c:v>39821</c:v>
                </c:pt>
                <c:pt idx="2283">
                  <c:v>39822</c:v>
                </c:pt>
                <c:pt idx="2284">
                  <c:v>39825</c:v>
                </c:pt>
                <c:pt idx="2285">
                  <c:v>39826</c:v>
                </c:pt>
                <c:pt idx="2286">
                  <c:v>39827</c:v>
                </c:pt>
                <c:pt idx="2287">
                  <c:v>39828</c:v>
                </c:pt>
                <c:pt idx="2288">
                  <c:v>39829</c:v>
                </c:pt>
                <c:pt idx="2289">
                  <c:v>39832</c:v>
                </c:pt>
                <c:pt idx="2290">
                  <c:v>39833</c:v>
                </c:pt>
                <c:pt idx="2291">
                  <c:v>39834</c:v>
                </c:pt>
                <c:pt idx="2292">
                  <c:v>39835</c:v>
                </c:pt>
                <c:pt idx="2293">
                  <c:v>39836</c:v>
                </c:pt>
                <c:pt idx="2294">
                  <c:v>39839</c:v>
                </c:pt>
                <c:pt idx="2295">
                  <c:v>39840</c:v>
                </c:pt>
                <c:pt idx="2296">
                  <c:v>39841</c:v>
                </c:pt>
                <c:pt idx="2297">
                  <c:v>39842</c:v>
                </c:pt>
                <c:pt idx="2298">
                  <c:v>39843</c:v>
                </c:pt>
                <c:pt idx="2299">
                  <c:v>39846</c:v>
                </c:pt>
                <c:pt idx="2300">
                  <c:v>39847</c:v>
                </c:pt>
                <c:pt idx="2301">
                  <c:v>39848</c:v>
                </c:pt>
                <c:pt idx="2302">
                  <c:v>39849</c:v>
                </c:pt>
                <c:pt idx="2303">
                  <c:v>39850</c:v>
                </c:pt>
                <c:pt idx="2304">
                  <c:v>39853</c:v>
                </c:pt>
                <c:pt idx="2305">
                  <c:v>39854</c:v>
                </c:pt>
                <c:pt idx="2306">
                  <c:v>39855</c:v>
                </c:pt>
                <c:pt idx="2307">
                  <c:v>39856</c:v>
                </c:pt>
                <c:pt idx="2308">
                  <c:v>39857</c:v>
                </c:pt>
                <c:pt idx="2309">
                  <c:v>39860</c:v>
                </c:pt>
                <c:pt idx="2310">
                  <c:v>39861</c:v>
                </c:pt>
                <c:pt idx="2311">
                  <c:v>39862</c:v>
                </c:pt>
                <c:pt idx="2312">
                  <c:v>39863</c:v>
                </c:pt>
                <c:pt idx="2313">
                  <c:v>39864</c:v>
                </c:pt>
                <c:pt idx="2314">
                  <c:v>39867</c:v>
                </c:pt>
                <c:pt idx="2315">
                  <c:v>39868</c:v>
                </c:pt>
                <c:pt idx="2316">
                  <c:v>39869</c:v>
                </c:pt>
                <c:pt idx="2317">
                  <c:v>39870</c:v>
                </c:pt>
                <c:pt idx="2318">
                  <c:v>39871</c:v>
                </c:pt>
                <c:pt idx="2319">
                  <c:v>39874</c:v>
                </c:pt>
                <c:pt idx="2320">
                  <c:v>39875</c:v>
                </c:pt>
                <c:pt idx="2321">
                  <c:v>39876</c:v>
                </c:pt>
                <c:pt idx="2322">
                  <c:v>39877</c:v>
                </c:pt>
                <c:pt idx="2323">
                  <c:v>39878</c:v>
                </c:pt>
                <c:pt idx="2324">
                  <c:v>39881</c:v>
                </c:pt>
                <c:pt idx="2325">
                  <c:v>39882</c:v>
                </c:pt>
                <c:pt idx="2326">
                  <c:v>39883</c:v>
                </c:pt>
                <c:pt idx="2327">
                  <c:v>39884</c:v>
                </c:pt>
                <c:pt idx="2328">
                  <c:v>39885</c:v>
                </c:pt>
                <c:pt idx="2329">
                  <c:v>39888</c:v>
                </c:pt>
                <c:pt idx="2330">
                  <c:v>39889</c:v>
                </c:pt>
                <c:pt idx="2331">
                  <c:v>39890</c:v>
                </c:pt>
                <c:pt idx="2332">
                  <c:v>39891</c:v>
                </c:pt>
                <c:pt idx="2333">
                  <c:v>39892</c:v>
                </c:pt>
                <c:pt idx="2334">
                  <c:v>39895</c:v>
                </c:pt>
                <c:pt idx="2335">
                  <c:v>39896</c:v>
                </c:pt>
                <c:pt idx="2336">
                  <c:v>39897</c:v>
                </c:pt>
                <c:pt idx="2337">
                  <c:v>39898</c:v>
                </c:pt>
                <c:pt idx="2338">
                  <c:v>39899</c:v>
                </c:pt>
                <c:pt idx="2339">
                  <c:v>39902</c:v>
                </c:pt>
                <c:pt idx="2340">
                  <c:v>39903</c:v>
                </c:pt>
                <c:pt idx="2341">
                  <c:v>39904</c:v>
                </c:pt>
                <c:pt idx="2342">
                  <c:v>39905</c:v>
                </c:pt>
                <c:pt idx="2343">
                  <c:v>39906</c:v>
                </c:pt>
                <c:pt idx="2344">
                  <c:v>39909</c:v>
                </c:pt>
                <c:pt idx="2345">
                  <c:v>39910</c:v>
                </c:pt>
                <c:pt idx="2346">
                  <c:v>39911</c:v>
                </c:pt>
                <c:pt idx="2347">
                  <c:v>39912</c:v>
                </c:pt>
                <c:pt idx="2348">
                  <c:v>39917</c:v>
                </c:pt>
                <c:pt idx="2349">
                  <c:v>39918</c:v>
                </c:pt>
                <c:pt idx="2350">
                  <c:v>39919</c:v>
                </c:pt>
                <c:pt idx="2351">
                  <c:v>39920</c:v>
                </c:pt>
                <c:pt idx="2352">
                  <c:v>39923</c:v>
                </c:pt>
                <c:pt idx="2353">
                  <c:v>39924</c:v>
                </c:pt>
                <c:pt idx="2354">
                  <c:v>39925</c:v>
                </c:pt>
                <c:pt idx="2355">
                  <c:v>39926</c:v>
                </c:pt>
                <c:pt idx="2356">
                  <c:v>39927</c:v>
                </c:pt>
                <c:pt idx="2357">
                  <c:v>39930</c:v>
                </c:pt>
                <c:pt idx="2358">
                  <c:v>39931</c:v>
                </c:pt>
                <c:pt idx="2359">
                  <c:v>39932</c:v>
                </c:pt>
                <c:pt idx="2360">
                  <c:v>39933</c:v>
                </c:pt>
                <c:pt idx="2361">
                  <c:v>39934</c:v>
                </c:pt>
                <c:pt idx="2362">
                  <c:v>39937</c:v>
                </c:pt>
                <c:pt idx="2363">
                  <c:v>39938</c:v>
                </c:pt>
                <c:pt idx="2364">
                  <c:v>39939</c:v>
                </c:pt>
                <c:pt idx="2365">
                  <c:v>39940</c:v>
                </c:pt>
                <c:pt idx="2366">
                  <c:v>39941</c:v>
                </c:pt>
                <c:pt idx="2367">
                  <c:v>39944</c:v>
                </c:pt>
                <c:pt idx="2368">
                  <c:v>39945</c:v>
                </c:pt>
                <c:pt idx="2369">
                  <c:v>39946</c:v>
                </c:pt>
                <c:pt idx="2370">
                  <c:v>39947</c:v>
                </c:pt>
                <c:pt idx="2371">
                  <c:v>39948</c:v>
                </c:pt>
                <c:pt idx="2372">
                  <c:v>39951</c:v>
                </c:pt>
                <c:pt idx="2373">
                  <c:v>39952</c:v>
                </c:pt>
                <c:pt idx="2374">
                  <c:v>39953</c:v>
                </c:pt>
                <c:pt idx="2375">
                  <c:v>39954</c:v>
                </c:pt>
                <c:pt idx="2376">
                  <c:v>39955</c:v>
                </c:pt>
                <c:pt idx="2377">
                  <c:v>39958</c:v>
                </c:pt>
                <c:pt idx="2378">
                  <c:v>39959</c:v>
                </c:pt>
                <c:pt idx="2379">
                  <c:v>39960</c:v>
                </c:pt>
                <c:pt idx="2380">
                  <c:v>39961</c:v>
                </c:pt>
                <c:pt idx="2381">
                  <c:v>39962</c:v>
                </c:pt>
                <c:pt idx="2382">
                  <c:v>39965</c:v>
                </c:pt>
                <c:pt idx="2383">
                  <c:v>39966</c:v>
                </c:pt>
                <c:pt idx="2384">
                  <c:v>39967</c:v>
                </c:pt>
                <c:pt idx="2385">
                  <c:v>39968</c:v>
                </c:pt>
                <c:pt idx="2386">
                  <c:v>39969</c:v>
                </c:pt>
                <c:pt idx="2387">
                  <c:v>39972</c:v>
                </c:pt>
                <c:pt idx="2388">
                  <c:v>39973</c:v>
                </c:pt>
                <c:pt idx="2389">
                  <c:v>39974</c:v>
                </c:pt>
                <c:pt idx="2390">
                  <c:v>39975</c:v>
                </c:pt>
                <c:pt idx="2391">
                  <c:v>39976</c:v>
                </c:pt>
                <c:pt idx="2392">
                  <c:v>39979</c:v>
                </c:pt>
                <c:pt idx="2393">
                  <c:v>39980</c:v>
                </c:pt>
                <c:pt idx="2394">
                  <c:v>39981</c:v>
                </c:pt>
                <c:pt idx="2395">
                  <c:v>39982</c:v>
                </c:pt>
                <c:pt idx="2396">
                  <c:v>39983</c:v>
                </c:pt>
                <c:pt idx="2397">
                  <c:v>39986</c:v>
                </c:pt>
                <c:pt idx="2398">
                  <c:v>39987</c:v>
                </c:pt>
                <c:pt idx="2399">
                  <c:v>39988</c:v>
                </c:pt>
                <c:pt idx="2400">
                  <c:v>39989</c:v>
                </c:pt>
                <c:pt idx="2401">
                  <c:v>39990</c:v>
                </c:pt>
                <c:pt idx="2402">
                  <c:v>39993</c:v>
                </c:pt>
                <c:pt idx="2403">
                  <c:v>39994</c:v>
                </c:pt>
                <c:pt idx="2404">
                  <c:v>39995</c:v>
                </c:pt>
                <c:pt idx="2405">
                  <c:v>39996</c:v>
                </c:pt>
                <c:pt idx="2406">
                  <c:v>39997</c:v>
                </c:pt>
                <c:pt idx="2407">
                  <c:v>40000</c:v>
                </c:pt>
                <c:pt idx="2408">
                  <c:v>40001</c:v>
                </c:pt>
                <c:pt idx="2409">
                  <c:v>40002</c:v>
                </c:pt>
                <c:pt idx="2410">
                  <c:v>40003</c:v>
                </c:pt>
                <c:pt idx="2411">
                  <c:v>40004</c:v>
                </c:pt>
                <c:pt idx="2412">
                  <c:v>40007</c:v>
                </c:pt>
                <c:pt idx="2413">
                  <c:v>40008</c:v>
                </c:pt>
                <c:pt idx="2414">
                  <c:v>40009</c:v>
                </c:pt>
                <c:pt idx="2415">
                  <c:v>40010</c:v>
                </c:pt>
                <c:pt idx="2416">
                  <c:v>40011</c:v>
                </c:pt>
                <c:pt idx="2417">
                  <c:v>40014</c:v>
                </c:pt>
                <c:pt idx="2418">
                  <c:v>40015</c:v>
                </c:pt>
                <c:pt idx="2419">
                  <c:v>40016</c:v>
                </c:pt>
                <c:pt idx="2420">
                  <c:v>40017</c:v>
                </c:pt>
                <c:pt idx="2421">
                  <c:v>40018</c:v>
                </c:pt>
                <c:pt idx="2422">
                  <c:v>40021</c:v>
                </c:pt>
                <c:pt idx="2423">
                  <c:v>40022</c:v>
                </c:pt>
                <c:pt idx="2424">
                  <c:v>40023</c:v>
                </c:pt>
                <c:pt idx="2425">
                  <c:v>40024</c:v>
                </c:pt>
                <c:pt idx="2426">
                  <c:v>40025</c:v>
                </c:pt>
                <c:pt idx="2427">
                  <c:v>40028</c:v>
                </c:pt>
                <c:pt idx="2428">
                  <c:v>40029</c:v>
                </c:pt>
                <c:pt idx="2429">
                  <c:v>40030</c:v>
                </c:pt>
                <c:pt idx="2430">
                  <c:v>40031</c:v>
                </c:pt>
                <c:pt idx="2431">
                  <c:v>40032</c:v>
                </c:pt>
                <c:pt idx="2432">
                  <c:v>40035</c:v>
                </c:pt>
                <c:pt idx="2433">
                  <c:v>40036</c:v>
                </c:pt>
                <c:pt idx="2434">
                  <c:v>40037</c:v>
                </c:pt>
                <c:pt idx="2435">
                  <c:v>40038</c:v>
                </c:pt>
                <c:pt idx="2436">
                  <c:v>40039</c:v>
                </c:pt>
                <c:pt idx="2437">
                  <c:v>40042</c:v>
                </c:pt>
                <c:pt idx="2438">
                  <c:v>40043</c:v>
                </c:pt>
                <c:pt idx="2439">
                  <c:v>40044</c:v>
                </c:pt>
                <c:pt idx="2440">
                  <c:v>40045</c:v>
                </c:pt>
                <c:pt idx="2441">
                  <c:v>40046</c:v>
                </c:pt>
                <c:pt idx="2442">
                  <c:v>40049</c:v>
                </c:pt>
                <c:pt idx="2443">
                  <c:v>40050</c:v>
                </c:pt>
                <c:pt idx="2444">
                  <c:v>40051</c:v>
                </c:pt>
                <c:pt idx="2445">
                  <c:v>40052</c:v>
                </c:pt>
                <c:pt idx="2446">
                  <c:v>40053</c:v>
                </c:pt>
                <c:pt idx="2447">
                  <c:v>40056</c:v>
                </c:pt>
                <c:pt idx="2448">
                  <c:v>40057</c:v>
                </c:pt>
                <c:pt idx="2449">
                  <c:v>40058</c:v>
                </c:pt>
                <c:pt idx="2450">
                  <c:v>40059</c:v>
                </c:pt>
                <c:pt idx="2451">
                  <c:v>40060</c:v>
                </c:pt>
                <c:pt idx="2452">
                  <c:v>40063</c:v>
                </c:pt>
                <c:pt idx="2453">
                  <c:v>40064</c:v>
                </c:pt>
                <c:pt idx="2454">
                  <c:v>40065</c:v>
                </c:pt>
                <c:pt idx="2455">
                  <c:v>40066</c:v>
                </c:pt>
                <c:pt idx="2456">
                  <c:v>40067</c:v>
                </c:pt>
                <c:pt idx="2457">
                  <c:v>40070</c:v>
                </c:pt>
                <c:pt idx="2458">
                  <c:v>40071</c:v>
                </c:pt>
                <c:pt idx="2459">
                  <c:v>40072</c:v>
                </c:pt>
                <c:pt idx="2460">
                  <c:v>40073</c:v>
                </c:pt>
                <c:pt idx="2461">
                  <c:v>40074</c:v>
                </c:pt>
                <c:pt idx="2462">
                  <c:v>40077</c:v>
                </c:pt>
                <c:pt idx="2463">
                  <c:v>40078</c:v>
                </c:pt>
                <c:pt idx="2464">
                  <c:v>40079</c:v>
                </c:pt>
                <c:pt idx="2465">
                  <c:v>40080</c:v>
                </c:pt>
                <c:pt idx="2466">
                  <c:v>40081</c:v>
                </c:pt>
                <c:pt idx="2467">
                  <c:v>40084</c:v>
                </c:pt>
                <c:pt idx="2468">
                  <c:v>40085</c:v>
                </c:pt>
                <c:pt idx="2469">
                  <c:v>40086</c:v>
                </c:pt>
                <c:pt idx="2470">
                  <c:v>40087</c:v>
                </c:pt>
                <c:pt idx="2471">
                  <c:v>40088</c:v>
                </c:pt>
                <c:pt idx="2472">
                  <c:v>40091</c:v>
                </c:pt>
                <c:pt idx="2473">
                  <c:v>40092</c:v>
                </c:pt>
                <c:pt idx="2474">
                  <c:v>40093</c:v>
                </c:pt>
                <c:pt idx="2475">
                  <c:v>40094</c:v>
                </c:pt>
                <c:pt idx="2476">
                  <c:v>40095</c:v>
                </c:pt>
                <c:pt idx="2477">
                  <c:v>40098</c:v>
                </c:pt>
                <c:pt idx="2478">
                  <c:v>40099</c:v>
                </c:pt>
                <c:pt idx="2479">
                  <c:v>40100</c:v>
                </c:pt>
                <c:pt idx="2480">
                  <c:v>40101</c:v>
                </c:pt>
                <c:pt idx="2481">
                  <c:v>40102</c:v>
                </c:pt>
                <c:pt idx="2482">
                  <c:v>40105</c:v>
                </c:pt>
                <c:pt idx="2483">
                  <c:v>40106</c:v>
                </c:pt>
                <c:pt idx="2484">
                  <c:v>40107</c:v>
                </c:pt>
                <c:pt idx="2485">
                  <c:v>40108</c:v>
                </c:pt>
                <c:pt idx="2486">
                  <c:v>40109</c:v>
                </c:pt>
                <c:pt idx="2487">
                  <c:v>40112</c:v>
                </c:pt>
                <c:pt idx="2488">
                  <c:v>40113</c:v>
                </c:pt>
                <c:pt idx="2489">
                  <c:v>40114</c:v>
                </c:pt>
                <c:pt idx="2490">
                  <c:v>40115</c:v>
                </c:pt>
                <c:pt idx="2491">
                  <c:v>40116</c:v>
                </c:pt>
                <c:pt idx="2492">
                  <c:v>40119</c:v>
                </c:pt>
                <c:pt idx="2493">
                  <c:v>40120</c:v>
                </c:pt>
                <c:pt idx="2494">
                  <c:v>40121</c:v>
                </c:pt>
                <c:pt idx="2495">
                  <c:v>40122</c:v>
                </c:pt>
                <c:pt idx="2496">
                  <c:v>40123</c:v>
                </c:pt>
                <c:pt idx="2497">
                  <c:v>40126</c:v>
                </c:pt>
                <c:pt idx="2498">
                  <c:v>40127</c:v>
                </c:pt>
                <c:pt idx="2499">
                  <c:v>40128</c:v>
                </c:pt>
                <c:pt idx="2500">
                  <c:v>40129</c:v>
                </c:pt>
                <c:pt idx="2501">
                  <c:v>40130</c:v>
                </c:pt>
                <c:pt idx="2502">
                  <c:v>40133</c:v>
                </c:pt>
                <c:pt idx="2503">
                  <c:v>40134</c:v>
                </c:pt>
                <c:pt idx="2504">
                  <c:v>40135</c:v>
                </c:pt>
                <c:pt idx="2505">
                  <c:v>40136</c:v>
                </c:pt>
                <c:pt idx="2506">
                  <c:v>40137</c:v>
                </c:pt>
                <c:pt idx="2507">
                  <c:v>40140</c:v>
                </c:pt>
                <c:pt idx="2508">
                  <c:v>40141</c:v>
                </c:pt>
                <c:pt idx="2509">
                  <c:v>40142</c:v>
                </c:pt>
                <c:pt idx="2510">
                  <c:v>40143</c:v>
                </c:pt>
                <c:pt idx="2511">
                  <c:v>40144</c:v>
                </c:pt>
                <c:pt idx="2512">
                  <c:v>40147</c:v>
                </c:pt>
                <c:pt idx="2513">
                  <c:v>40148</c:v>
                </c:pt>
                <c:pt idx="2514">
                  <c:v>40149</c:v>
                </c:pt>
                <c:pt idx="2515">
                  <c:v>40150</c:v>
                </c:pt>
                <c:pt idx="2516">
                  <c:v>40151</c:v>
                </c:pt>
                <c:pt idx="2517">
                  <c:v>40154</c:v>
                </c:pt>
                <c:pt idx="2518">
                  <c:v>40155</c:v>
                </c:pt>
                <c:pt idx="2519">
                  <c:v>40156</c:v>
                </c:pt>
                <c:pt idx="2520">
                  <c:v>40157</c:v>
                </c:pt>
                <c:pt idx="2521">
                  <c:v>40158</c:v>
                </c:pt>
                <c:pt idx="2522">
                  <c:v>40161</c:v>
                </c:pt>
                <c:pt idx="2523">
                  <c:v>40162</c:v>
                </c:pt>
                <c:pt idx="2524">
                  <c:v>40163</c:v>
                </c:pt>
                <c:pt idx="2525">
                  <c:v>40164</c:v>
                </c:pt>
                <c:pt idx="2526">
                  <c:v>40165</c:v>
                </c:pt>
                <c:pt idx="2527">
                  <c:v>40168</c:v>
                </c:pt>
                <c:pt idx="2528">
                  <c:v>40169</c:v>
                </c:pt>
                <c:pt idx="2529">
                  <c:v>40170</c:v>
                </c:pt>
                <c:pt idx="2530">
                  <c:v>40171</c:v>
                </c:pt>
                <c:pt idx="2531">
                  <c:v>40175</c:v>
                </c:pt>
                <c:pt idx="2532">
                  <c:v>40176</c:v>
                </c:pt>
                <c:pt idx="2533">
                  <c:v>40177</c:v>
                </c:pt>
                <c:pt idx="2534">
                  <c:v>40178</c:v>
                </c:pt>
                <c:pt idx="2535">
                  <c:v>40182</c:v>
                </c:pt>
                <c:pt idx="2536">
                  <c:v>40183</c:v>
                </c:pt>
                <c:pt idx="2537">
                  <c:v>40184</c:v>
                </c:pt>
                <c:pt idx="2538">
                  <c:v>40185</c:v>
                </c:pt>
                <c:pt idx="2539">
                  <c:v>40186</c:v>
                </c:pt>
                <c:pt idx="2540">
                  <c:v>40189</c:v>
                </c:pt>
                <c:pt idx="2541">
                  <c:v>40190</c:v>
                </c:pt>
                <c:pt idx="2542">
                  <c:v>40191</c:v>
                </c:pt>
                <c:pt idx="2543">
                  <c:v>40192</c:v>
                </c:pt>
                <c:pt idx="2544">
                  <c:v>40193</c:v>
                </c:pt>
                <c:pt idx="2545">
                  <c:v>40196</c:v>
                </c:pt>
                <c:pt idx="2546">
                  <c:v>40197</c:v>
                </c:pt>
                <c:pt idx="2547">
                  <c:v>40198</c:v>
                </c:pt>
                <c:pt idx="2548">
                  <c:v>40199</c:v>
                </c:pt>
                <c:pt idx="2549">
                  <c:v>40200</c:v>
                </c:pt>
                <c:pt idx="2550">
                  <c:v>40203</c:v>
                </c:pt>
                <c:pt idx="2551">
                  <c:v>40204</c:v>
                </c:pt>
                <c:pt idx="2552">
                  <c:v>40205</c:v>
                </c:pt>
                <c:pt idx="2553">
                  <c:v>40206</c:v>
                </c:pt>
                <c:pt idx="2554">
                  <c:v>40207</c:v>
                </c:pt>
                <c:pt idx="2555">
                  <c:v>40210</c:v>
                </c:pt>
                <c:pt idx="2556">
                  <c:v>40211</c:v>
                </c:pt>
                <c:pt idx="2557">
                  <c:v>40212</c:v>
                </c:pt>
                <c:pt idx="2558">
                  <c:v>40213</c:v>
                </c:pt>
                <c:pt idx="2559">
                  <c:v>40214</c:v>
                </c:pt>
                <c:pt idx="2560">
                  <c:v>40217</c:v>
                </c:pt>
                <c:pt idx="2561">
                  <c:v>40218</c:v>
                </c:pt>
                <c:pt idx="2562">
                  <c:v>40219</c:v>
                </c:pt>
                <c:pt idx="2563">
                  <c:v>40220</c:v>
                </c:pt>
                <c:pt idx="2564">
                  <c:v>40221</c:v>
                </c:pt>
                <c:pt idx="2565">
                  <c:v>40224</c:v>
                </c:pt>
                <c:pt idx="2566">
                  <c:v>40225</c:v>
                </c:pt>
                <c:pt idx="2567">
                  <c:v>40226</c:v>
                </c:pt>
                <c:pt idx="2568">
                  <c:v>40227</c:v>
                </c:pt>
                <c:pt idx="2569">
                  <c:v>40228</c:v>
                </c:pt>
                <c:pt idx="2570">
                  <c:v>40231</c:v>
                </c:pt>
                <c:pt idx="2571">
                  <c:v>40232</c:v>
                </c:pt>
                <c:pt idx="2572">
                  <c:v>40233</c:v>
                </c:pt>
                <c:pt idx="2573">
                  <c:v>40234</c:v>
                </c:pt>
                <c:pt idx="2574">
                  <c:v>40235</c:v>
                </c:pt>
                <c:pt idx="2575">
                  <c:v>40238</c:v>
                </c:pt>
                <c:pt idx="2576">
                  <c:v>40239</c:v>
                </c:pt>
                <c:pt idx="2577">
                  <c:v>40240</c:v>
                </c:pt>
                <c:pt idx="2578">
                  <c:v>40241</c:v>
                </c:pt>
                <c:pt idx="2579">
                  <c:v>40242</c:v>
                </c:pt>
                <c:pt idx="2580">
                  <c:v>40245</c:v>
                </c:pt>
                <c:pt idx="2581">
                  <c:v>40246</c:v>
                </c:pt>
                <c:pt idx="2582">
                  <c:v>40247</c:v>
                </c:pt>
                <c:pt idx="2583">
                  <c:v>40248</c:v>
                </c:pt>
                <c:pt idx="2584">
                  <c:v>40249</c:v>
                </c:pt>
                <c:pt idx="2585">
                  <c:v>40252</c:v>
                </c:pt>
                <c:pt idx="2586">
                  <c:v>40253</c:v>
                </c:pt>
                <c:pt idx="2587">
                  <c:v>40254</c:v>
                </c:pt>
                <c:pt idx="2588">
                  <c:v>40255</c:v>
                </c:pt>
                <c:pt idx="2589">
                  <c:v>40256</c:v>
                </c:pt>
                <c:pt idx="2590">
                  <c:v>40259</c:v>
                </c:pt>
                <c:pt idx="2591">
                  <c:v>40260</c:v>
                </c:pt>
                <c:pt idx="2592">
                  <c:v>40261</c:v>
                </c:pt>
                <c:pt idx="2593">
                  <c:v>40262</c:v>
                </c:pt>
                <c:pt idx="2594">
                  <c:v>40263</c:v>
                </c:pt>
                <c:pt idx="2595">
                  <c:v>40266</c:v>
                </c:pt>
                <c:pt idx="2596">
                  <c:v>40267</c:v>
                </c:pt>
                <c:pt idx="2597">
                  <c:v>40268</c:v>
                </c:pt>
                <c:pt idx="2598">
                  <c:v>40269</c:v>
                </c:pt>
                <c:pt idx="2599">
                  <c:v>40274</c:v>
                </c:pt>
                <c:pt idx="2600">
                  <c:v>40275</c:v>
                </c:pt>
                <c:pt idx="2601">
                  <c:v>40276</c:v>
                </c:pt>
                <c:pt idx="2602">
                  <c:v>40277</c:v>
                </c:pt>
                <c:pt idx="2603">
                  <c:v>40280</c:v>
                </c:pt>
                <c:pt idx="2604">
                  <c:v>40281</c:v>
                </c:pt>
                <c:pt idx="2605">
                  <c:v>40282</c:v>
                </c:pt>
                <c:pt idx="2606">
                  <c:v>40283</c:v>
                </c:pt>
                <c:pt idx="2607">
                  <c:v>40284</c:v>
                </c:pt>
                <c:pt idx="2608">
                  <c:v>40287</c:v>
                </c:pt>
                <c:pt idx="2609">
                  <c:v>40288</c:v>
                </c:pt>
                <c:pt idx="2610">
                  <c:v>40289</c:v>
                </c:pt>
                <c:pt idx="2611">
                  <c:v>40290</c:v>
                </c:pt>
                <c:pt idx="2612">
                  <c:v>40291</c:v>
                </c:pt>
                <c:pt idx="2613">
                  <c:v>40294</c:v>
                </c:pt>
                <c:pt idx="2614">
                  <c:v>40295</c:v>
                </c:pt>
                <c:pt idx="2615">
                  <c:v>40296</c:v>
                </c:pt>
                <c:pt idx="2616">
                  <c:v>40297</c:v>
                </c:pt>
                <c:pt idx="2617">
                  <c:v>40298</c:v>
                </c:pt>
                <c:pt idx="2618">
                  <c:v>40301</c:v>
                </c:pt>
                <c:pt idx="2619">
                  <c:v>40302</c:v>
                </c:pt>
                <c:pt idx="2620">
                  <c:v>40303</c:v>
                </c:pt>
                <c:pt idx="2621">
                  <c:v>40304</c:v>
                </c:pt>
                <c:pt idx="2622">
                  <c:v>40305</c:v>
                </c:pt>
                <c:pt idx="2623">
                  <c:v>40308</c:v>
                </c:pt>
                <c:pt idx="2624">
                  <c:v>40309</c:v>
                </c:pt>
                <c:pt idx="2625">
                  <c:v>40310</c:v>
                </c:pt>
                <c:pt idx="2626">
                  <c:v>40311</c:v>
                </c:pt>
                <c:pt idx="2627">
                  <c:v>40312</c:v>
                </c:pt>
                <c:pt idx="2628">
                  <c:v>40315</c:v>
                </c:pt>
                <c:pt idx="2629">
                  <c:v>40316</c:v>
                </c:pt>
                <c:pt idx="2630">
                  <c:v>40317</c:v>
                </c:pt>
                <c:pt idx="2631">
                  <c:v>40318</c:v>
                </c:pt>
                <c:pt idx="2632">
                  <c:v>40319</c:v>
                </c:pt>
                <c:pt idx="2633">
                  <c:v>40322</c:v>
                </c:pt>
                <c:pt idx="2634">
                  <c:v>40323</c:v>
                </c:pt>
                <c:pt idx="2635">
                  <c:v>40324</c:v>
                </c:pt>
                <c:pt idx="2636">
                  <c:v>40325</c:v>
                </c:pt>
                <c:pt idx="2637">
                  <c:v>40326</c:v>
                </c:pt>
                <c:pt idx="2638">
                  <c:v>40329</c:v>
                </c:pt>
                <c:pt idx="2639">
                  <c:v>40330</c:v>
                </c:pt>
                <c:pt idx="2640">
                  <c:v>40331</c:v>
                </c:pt>
                <c:pt idx="2641">
                  <c:v>40332</c:v>
                </c:pt>
                <c:pt idx="2642">
                  <c:v>40333</c:v>
                </c:pt>
                <c:pt idx="2643">
                  <c:v>40336</c:v>
                </c:pt>
                <c:pt idx="2644">
                  <c:v>40337</c:v>
                </c:pt>
                <c:pt idx="2645">
                  <c:v>40338</c:v>
                </c:pt>
                <c:pt idx="2646">
                  <c:v>40339</c:v>
                </c:pt>
                <c:pt idx="2647">
                  <c:v>40340</c:v>
                </c:pt>
                <c:pt idx="2648">
                  <c:v>40343</c:v>
                </c:pt>
                <c:pt idx="2649">
                  <c:v>40344</c:v>
                </c:pt>
                <c:pt idx="2650">
                  <c:v>40345</c:v>
                </c:pt>
                <c:pt idx="2651">
                  <c:v>40346</c:v>
                </c:pt>
                <c:pt idx="2652">
                  <c:v>40347</c:v>
                </c:pt>
                <c:pt idx="2653">
                  <c:v>40350</c:v>
                </c:pt>
                <c:pt idx="2654">
                  <c:v>40351</c:v>
                </c:pt>
                <c:pt idx="2655">
                  <c:v>40352</c:v>
                </c:pt>
                <c:pt idx="2656">
                  <c:v>40353</c:v>
                </c:pt>
                <c:pt idx="2657">
                  <c:v>40354</c:v>
                </c:pt>
                <c:pt idx="2658">
                  <c:v>40357</c:v>
                </c:pt>
                <c:pt idx="2659">
                  <c:v>40358</c:v>
                </c:pt>
                <c:pt idx="2660">
                  <c:v>40359</c:v>
                </c:pt>
                <c:pt idx="2661">
                  <c:v>40360</c:v>
                </c:pt>
                <c:pt idx="2662">
                  <c:v>40361</c:v>
                </c:pt>
                <c:pt idx="2663">
                  <c:v>40364</c:v>
                </c:pt>
                <c:pt idx="2664">
                  <c:v>40365</c:v>
                </c:pt>
                <c:pt idx="2665">
                  <c:v>40366</c:v>
                </c:pt>
                <c:pt idx="2666">
                  <c:v>40367</c:v>
                </c:pt>
                <c:pt idx="2667">
                  <c:v>40368</c:v>
                </c:pt>
                <c:pt idx="2668">
                  <c:v>40371</c:v>
                </c:pt>
                <c:pt idx="2669">
                  <c:v>40372</c:v>
                </c:pt>
                <c:pt idx="2670">
                  <c:v>40373</c:v>
                </c:pt>
                <c:pt idx="2671">
                  <c:v>40374</c:v>
                </c:pt>
                <c:pt idx="2672">
                  <c:v>40375</c:v>
                </c:pt>
                <c:pt idx="2673">
                  <c:v>40378</c:v>
                </c:pt>
                <c:pt idx="2674">
                  <c:v>40379</c:v>
                </c:pt>
                <c:pt idx="2675">
                  <c:v>40380</c:v>
                </c:pt>
                <c:pt idx="2676">
                  <c:v>40381</c:v>
                </c:pt>
                <c:pt idx="2677">
                  <c:v>40382</c:v>
                </c:pt>
                <c:pt idx="2678">
                  <c:v>40385</c:v>
                </c:pt>
                <c:pt idx="2679">
                  <c:v>40386</c:v>
                </c:pt>
                <c:pt idx="2680">
                  <c:v>40387</c:v>
                </c:pt>
                <c:pt idx="2681">
                  <c:v>40388</c:v>
                </c:pt>
                <c:pt idx="2682">
                  <c:v>40389</c:v>
                </c:pt>
                <c:pt idx="2683">
                  <c:v>40392</c:v>
                </c:pt>
                <c:pt idx="2684">
                  <c:v>40393</c:v>
                </c:pt>
                <c:pt idx="2685">
                  <c:v>40394</c:v>
                </c:pt>
                <c:pt idx="2686">
                  <c:v>40395</c:v>
                </c:pt>
                <c:pt idx="2687">
                  <c:v>40396</c:v>
                </c:pt>
                <c:pt idx="2688">
                  <c:v>40399</c:v>
                </c:pt>
                <c:pt idx="2689">
                  <c:v>40400</c:v>
                </c:pt>
                <c:pt idx="2690">
                  <c:v>40401</c:v>
                </c:pt>
                <c:pt idx="2691">
                  <c:v>40402</c:v>
                </c:pt>
                <c:pt idx="2692">
                  <c:v>40403</c:v>
                </c:pt>
                <c:pt idx="2693">
                  <c:v>40406</c:v>
                </c:pt>
                <c:pt idx="2694">
                  <c:v>40407</c:v>
                </c:pt>
                <c:pt idx="2695">
                  <c:v>40408</c:v>
                </c:pt>
                <c:pt idx="2696">
                  <c:v>40409</c:v>
                </c:pt>
                <c:pt idx="2697">
                  <c:v>40410</c:v>
                </c:pt>
                <c:pt idx="2698">
                  <c:v>40413</c:v>
                </c:pt>
                <c:pt idx="2699">
                  <c:v>40414</c:v>
                </c:pt>
                <c:pt idx="2700">
                  <c:v>40415</c:v>
                </c:pt>
                <c:pt idx="2701">
                  <c:v>40416</c:v>
                </c:pt>
                <c:pt idx="2702">
                  <c:v>40417</c:v>
                </c:pt>
                <c:pt idx="2703">
                  <c:v>40420</c:v>
                </c:pt>
                <c:pt idx="2704">
                  <c:v>40421</c:v>
                </c:pt>
                <c:pt idx="2705">
                  <c:v>40422</c:v>
                </c:pt>
                <c:pt idx="2706">
                  <c:v>40423</c:v>
                </c:pt>
                <c:pt idx="2707">
                  <c:v>40424</c:v>
                </c:pt>
                <c:pt idx="2708">
                  <c:v>40427</c:v>
                </c:pt>
                <c:pt idx="2709">
                  <c:v>40428</c:v>
                </c:pt>
                <c:pt idx="2710">
                  <c:v>40429</c:v>
                </c:pt>
                <c:pt idx="2711">
                  <c:v>40430</c:v>
                </c:pt>
                <c:pt idx="2712">
                  <c:v>40431</c:v>
                </c:pt>
                <c:pt idx="2713">
                  <c:v>40434</c:v>
                </c:pt>
                <c:pt idx="2714">
                  <c:v>40435</c:v>
                </c:pt>
                <c:pt idx="2715">
                  <c:v>40436</c:v>
                </c:pt>
                <c:pt idx="2716">
                  <c:v>40437</c:v>
                </c:pt>
                <c:pt idx="2717">
                  <c:v>40438</c:v>
                </c:pt>
                <c:pt idx="2718">
                  <c:v>40441</c:v>
                </c:pt>
                <c:pt idx="2719">
                  <c:v>40442</c:v>
                </c:pt>
                <c:pt idx="2720">
                  <c:v>40443</c:v>
                </c:pt>
                <c:pt idx="2721">
                  <c:v>40444</c:v>
                </c:pt>
                <c:pt idx="2722">
                  <c:v>40445</c:v>
                </c:pt>
                <c:pt idx="2723">
                  <c:v>40448</c:v>
                </c:pt>
                <c:pt idx="2724">
                  <c:v>40449</c:v>
                </c:pt>
                <c:pt idx="2725">
                  <c:v>40450</c:v>
                </c:pt>
                <c:pt idx="2726">
                  <c:v>40451</c:v>
                </c:pt>
                <c:pt idx="2727">
                  <c:v>40452</c:v>
                </c:pt>
                <c:pt idx="2728">
                  <c:v>40455</c:v>
                </c:pt>
                <c:pt idx="2729">
                  <c:v>40456</c:v>
                </c:pt>
                <c:pt idx="2730">
                  <c:v>40457</c:v>
                </c:pt>
                <c:pt idx="2731">
                  <c:v>40458</c:v>
                </c:pt>
                <c:pt idx="2732">
                  <c:v>40459</c:v>
                </c:pt>
                <c:pt idx="2733">
                  <c:v>40462</c:v>
                </c:pt>
                <c:pt idx="2734">
                  <c:v>40463</c:v>
                </c:pt>
                <c:pt idx="2735">
                  <c:v>40464</c:v>
                </c:pt>
                <c:pt idx="2736">
                  <c:v>40465</c:v>
                </c:pt>
                <c:pt idx="2737">
                  <c:v>40466</c:v>
                </c:pt>
                <c:pt idx="2738">
                  <c:v>40469</c:v>
                </c:pt>
                <c:pt idx="2739">
                  <c:v>40470</c:v>
                </c:pt>
                <c:pt idx="2740">
                  <c:v>40471</c:v>
                </c:pt>
                <c:pt idx="2741">
                  <c:v>40472</c:v>
                </c:pt>
                <c:pt idx="2742">
                  <c:v>40473</c:v>
                </c:pt>
                <c:pt idx="2743">
                  <c:v>40476</c:v>
                </c:pt>
                <c:pt idx="2744">
                  <c:v>40477</c:v>
                </c:pt>
                <c:pt idx="2745">
                  <c:v>40478</c:v>
                </c:pt>
                <c:pt idx="2746">
                  <c:v>40479</c:v>
                </c:pt>
                <c:pt idx="2747">
                  <c:v>40480</c:v>
                </c:pt>
                <c:pt idx="2748">
                  <c:v>40483</c:v>
                </c:pt>
                <c:pt idx="2749">
                  <c:v>40484</c:v>
                </c:pt>
                <c:pt idx="2750">
                  <c:v>40485</c:v>
                </c:pt>
                <c:pt idx="2751">
                  <c:v>40486</c:v>
                </c:pt>
                <c:pt idx="2752">
                  <c:v>40487</c:v>
                </c:pt>
                <c:pt idx="2753">
                  <c:v>40490</c:v>
                </c:pt>
                <c:pt idx="2754">
                  <c:v>40491</c:v>
                </c:pt>
                <c:pt idx="2755">
                  <c:v>40492</c:v>
                </c:pt>
                <c:pt idx="2756">
                  <c:v>40493</c:v>
                </c:pt>
                <c:pt idx="2757">
                  <c:v>40494</c:v>
                </c:pt>
                <c:pt idx="2758">
                  <c:v>40497</c:v>
                </c:pt>
                <c:pt idx="2759">
                  <c:v>40498</c:v>
                </c:pt>
                <c:pt idx="2760">
                  <c:v>40499</c:v>
                </c:pt>
                <c:pt idx="2761">
                  <c:v>40500</c:v>
                </c:pt>
                <c:pt idx="2762">
                  <c:v>40501</c:v>
                </c:pt>
                <c:pt idx="2763">
                  <c:v>40504</c:v>
                </c:pt>
                <c:pt idx="2764">
                  <c:v>40505</c:v>
                </c:pt>
                <c:pt idx="2765">
                  <c:v>40506</c:v>
                </c:pt>
                <c:pt idx="2766">
                  <c:v>40507</c:v>
                </c:pt>
                <c:pt idx="2767">
                  <c:v>40508</c:v>
                </c:pt>
                <c:pt idx="2768">
                  <c:v>40511</c:v>
                </c:pt>
                <c:pt idx="2769">
                  <c:v>40512</c:v>
                </c:pt>
                <c:pt idx="2770">
                  <c:v>40513</c:v>
                </c:pt>
                <c:pt idx="2771">
                  <c:v>40514</c:v>
                </c:pt>
                <c:pt idx="2772">
                  <c:v>40515</c:v>
                </c:pt>
                <c:pt idx="2773">
                  <c:v>40518</c:v>
                </c:pt>
                <c:pt idx="2774">
                  <c:v>40519</c:v>
                </c:pt>
                <c:pt idx="2775">
                  <c:v>40520</c:v>
                </c:pt>
                <c:pt idx="2776">
                  <c:v>40521</c:v>
                </c:pt>
                <c:pt idx="2777">
                  <c:v>40522</c:v>
                </c:pt>
                <c:pt idx="2778">
                  <c:v>40525</c:v>
                </c:pt>
                <c:pt idx="2779">
                  <c:v>40526</c:v>
                </c:pt>
                <c:pt idx="2780">
                  <c:v>40527</c:v>
                </c:pt>
                <c:pt idx="2781">
                  <c:v>40528</c:v>
                </c:pt>
                <c:pt idx="2782">
                  <c:v>40529</c:v>
                </c:pt>
                <c:pt idx="2783">
                  <c:v>40532</c:v>
                </c:pt>
                <c:pt idx="2784">
                  <c:v>40533</c:v>
                </c:pt>
                <c:pt idx="2785">
                  <c:v>40534</c:v>
                </c:pt>
                <c:pt idx="2786">
                  <c:v>40535</c:v>
                </c:pt>
                <c:pt idx="2787">
                  <c:v>40536</c:v>
                </c:pt>
                <c:pt idx="2788">
                  <c:v>40539</c:v>
                </c:pt>
                <c:pt idx="2789">
                  <c:v>40540</c:v>
                </c:pt>
                <c:pt idx="2790">
                  <c:v>40541</c:v>
                </c:pt>
                <c:pt idx="2791">
                  <c:v>40542</c:v>
                </c:pt>
                <c:pt idx="2792">
                  <c:v>40543</c:v>
                </c:pt>
                <c:pt idx="2793">
                  <c:v>40546</c:v>
                </c:pt>
                <c:pt idx="2794">
                  <c:v>40547</c:v>
                </c:pt>
                <c:pt idx="2795">
                  <c:v>40548</c:v>
                </c:pt>
                <c:pt idx="2796">
                  <c:v>40549</c:v>
                </c:pt>
                <c:pt idx="2797">
                  <c:v>40550</c:v>
                </c:pt>
                <c:pt idx="2798">
                  <c:v>40553</c:v>
                </c:pt>
                <c:pt idx="2799">
                  <c:v>40554</c:v>
                </c:pt>
                <c:pt idx="2800">
                  <c:v>40555</c:v>
                </c:pt>
                <c:pt idx="2801">
                  <c:v>40556</c:v>
                </c:pt>
                <c:pt idx="2802">
                  <c:v>40557</c:v>
                </c:pt>
                <c:pt idx="2803">
                  <c:v>40560</c:v>
                </c:pt>
                <c:pt idx="2804">
                  <c:v>40561</c:v>
                </c:pt>
                <c:pt idx="2805">
                  <c:v>40562</c:v>
                </c:pt>
                <c:pt idx="2806">
                  <c:v>40563</c:v>
                </c:pt>
                <c:pt idx="2807">
                  <c:v>40564</c:v>
                </c:pt>
                <c:pt idx="2808">
                  <c:v>40567</c:v>
                </c:pt>
                <c:pt idx="2809">
                  <c:v>40568</c:v>
                </c:pt>
                <c:pt idx="2810">
                  <c:v>40569</c:v>
                </c:pt>
                <c:pt idx="2811">
                  <c:v>40570</c:v>
                </c:pt>
                <c:pt idx="2812">
                  <c:v>40571</c:v>
                </c:pt>
                <c:pt idx="2813">
                  <c:v>40574</c:v>
                </c:pt>
                <c:pt idx="2814">
                  <c:v>40575</c:v>
                </c:pt>
                <c:pt idx="2815">
                  <c:v>40576</c:v>
                </c:pt>
                <c:pt idx="2816">
                  <c:v>40577</c:v>
                </c:pt>
                <c:pt idx="2817">
                  <c:v>40578</c:v>
                </c:pt>
                <c:pt idx="2818">
                  <c:v>40581</c:v>
                </c:pt>
                <c:pt idx="2819">
                  <c:v>40582</c:v>
                </c:pt>
                <c:pt idx="2820">
                  <c:v>40583</c:v>
                </c:pt>
                <c:pt idx="2821">
                  <c:v>40584</c:v>
                </c:pt>
                <c:pt idx="2822">
                  <c:v>40585</c:v>
                </c:pt>
                <c:pt idx="2823">
                  <c:v>40588</c:v>
                </c:pt>
                <c:pt idx="2824">
                  <c:v>40589</c:v>
                </c:pt>
                <c:pt idx="2825">
                  <c:v>40590</c:v>
                </c:pt>
                <c:pt idx="2826">
                  <c:v>40591</c:v>
                </c:pt>
                <c:pt idx="2827">
                  <c:v>40592</c:v>
                </c:pt>
                <c:pt idx="2828">
                  <c:v>40595</c:v>
                </c:pt>
                <c:pt idx="2829">
                  <c:v>40596</c:v>
                </c:pt>
                <c:pt idx="2830">
                  <c:v>40597</c:v>
                </c:pt>
                <c:pt idx="2831">
                  <c:v>40598</c:v>
                </c:pt>
                <c:pt idx="2832">
                  <c:v>40599</c:v>
                </c:pt>
                <c:pt idx="2833">
                  <c:v>40602</c:v>
                </c:pt>
                <c:pt idx="2834">
                  <c:v>40603</c:v>
                </c:pt>
                <c:pt idx="2835">
                  <c:v>40604</c:v>
                </c:pt>
                <c:pt idx="2836">
                  <c:v>40605</c:v>
                </c:pt>
                <c:pt idx="2837">
                  <c:v>40606</c:v>
                </c:pt>
                <c:pt idx="2838">
                  <c:v>40609</c:v>
                </c:pt>
                <c:pt idx="2839">
                  <c:v>40610</c:v>
                </c:pt>
                <c:pt idx="2840">
                  <c:v>40611</c:v>
                </c:pt>
                <c:pt idx="2841">
                  <c:v>40612</c:v>
                </c:pt>
                <c:pt idx="2842">
                  <c:v>40613</c:v>
                </c:pt>
                <c:pt idx="2843">
                  <c:v>40616</c:v>
                </c:pt>
                <c:pt idx="2844">
                  <c:v>40617</c:v>
                </c:pt>
                <c:pt idx="2845">
                  <c:v>40618</c:v>
                </c:pt>
                <c:pt idx="2846">
                  <c:v>40619</c:v>
                </c:pt>
                <c:pt idx="2847">
                  <c:v>40620</c:v>
                </c:pt>
                <c:pt idx="2848">
                  <c:v>40623</c:v>
                </c:pt>
                <c:pt idx="2849">
                  <c:v>40624</c:v>
                </c:pt>
                <c:pt idx="2850">
                  <c:v>40625</c:v>
                </c:pt>
                <c:pt idx="2851">
                  <c:v>40626</c:v>
                </c:pt>
                <c:pt idx="2852">
                  <c:v>40627</c:v>
                </c:pt>
                <c:pt idx="2853">
                  <c:v>40630</c:v>
                </c:pt>
                <c:pt idx="2854">
                  <c:v>40631</c:v>
                </c:pt>
                <c:pt idx="2855">
                  <c:v>40632</c:v>
                </c:pt>
                <c:pt idx="2856">
                  <c:v>40633</c:v>
                </c:pt>
                <c:pt idx="2857">
                  <c:v>40634</c:v>
                </c:pt>
                <c:pt idx="2858">
                  <c:v>40637</c:v>
                </c:pt>
                <c:pt idx="2859">
                  <c:v>40638</c:v>
                </c:pt>
                <c:pt idx="2860">
                  <c:v>40639</c:v>
                </c:pt>
                <c:pt idx="2861">
                  <c:v>40640</c:v>
                </c:pt>
                <c:pt idx="2862">
                  <c:v>40641</c:v>
                </c:pt>
                <c:pt idx="2863">
                  <c:v>40644</c:v>
                </c:pt>
                <c:pt idx="2864">
                  <c:v>40645</c:v>
                </c:pt>
                <c:pt idx="2865">
                  <c:v>40646</c:v>
                </c:pt>
                <c:pt idx="2866">
                  <c:v>40647</c:v>
                </c:pt>
                <c:pt idx="2867">
                  <c:v>40648</c:v>
                </c:pt>
                <c:pt idx="2868">
                  <c:v>40651</c:v>
                </c:pt>
                <c:pt idx="2869">
                  <c:v>40652</c:v>
                </c:pt>
                <c:pt idx="2870">
                  <c:v>40653</c:v>
                </c:pt>
                <c:pt idx="2871">
                  <c:v>40654</c:v>
                </c:pt>
                <c:pt idx="2872">
                  <c:v>40659</c:v>
                </c:pt>
                <c:pt idx="2873">
                  <c:v>40660</c:v>
                </c:pt>
                <c:pt idx="2874">
                  <c:v>40661</c:v>
                </c:pt>
                <c:pt idx="2875">
                  <c:v>40662</c:v>
                </c:pt>
                <c:pt idx="2876">
                  <c:v>40665</c:v>
                </c:pt>
                <c:pt idx="2877">
                  <c:v>40666</c:v>
                </c:pt>
                <c:pt idx="2878">
                  <c:v>40667</c:v>
                </c:pt>
                <c:pt idx="2879">
                  <c:v>40668</c:v>
                </c:pt>
                <c:pt idx="2880">
                  <c:v>40669</c:v>
                </c:pt>
                <c:pt idx="2881">
                  <c:v>40672</c:v>
                </c:pt>
                <c:pt idx="2882">
                  <c:v>40673</c:v>
                </c:pt>
                <c:pt idx="2883">
                  <c:v>40674</c:v>
                </c:pt>
                <c:pt idx="2884">
                  <c:v>40675</c:v>
                </c:pt>
                <c:pt idx="2885">
                  <c:v>40676</c:v>
                </c:pt>
                <c:pt idx="2886">
                  <c:v>40679</c:v>
                </c:pt>
                <c:pt idx="2887">
                  <c:v>40680</c:v>
                </c:pt>
                <c:pt idx="2888">
                  <c:v>40681</c:v>
                </c:pt>
                <c:pt idx="2889">
                  <c:v>40682</c:v>
                </c:pt>
                <c:pt idx="2890">
                  <c:v>40683</c:v>
                </c:pt>
                <c:pt idx="2891">
                  <c:v>40686</c:v>
                </c:pt>
                <c:pt idx="2892">
                  <c:v>40687</c:v>
                </c:pt>
                <c:pt idx="2893">
                  <c:v>40688</c:v>
                </c:pt>
                <c:pt idx="2894">
                  <c:v>40689</c:v>
                </c:pt>
                <c:pt idx="2895">
                  <c:v>40690</c:v>
                </c:pt>
                <c:pt idx="2896">
                  <c:v>40693</c:v>
                </c:pt>
                <c:pt idx="2897">
                  <c:v>40694</c:v>
                </c:pt>
                <c:pt idx="2898">
                  <c:v>40695</c:v>
                </c:pt>
                <c:pt idx="2899">
                  <c:v>40696</c:v>
                </c:pt>
                <c:pt idx="2900">
                  <c:v>40697</c:v>
                </c:pt>
                <c:pt idx="2901">
                  <c:v>40700</c:v>
                </c:pt>
                <c:pt idx="2902">
                  <c:v>40701</c:v>
                </c:pt>
                <c:pt idx="2903">
                  <c:v>40702</c:v>
                </c:pt>
                <c:pt idx="2904">
                  <c:v>40703</c:v>
                </c:pt>
                <c:pt idx="2905">
                  <c:v>40704</c:v>
                </c:pt>
                <c:pt idx="2906">
                  <c:v>40707</c:v>
                </c:pt>
                <c:pt idx="2907">
                  <c:v>40708</c:v>
                </c:pt>
                <c:pt idx="2908">
                  <c:v>40709</c:v>
                </c:pt>
                <c:pt idx="2909">
                  <c:v>40710</c:v>
                </c:pt>
                <c:pt idx="2910">
                  <c:v>40711</c:v>
                </c:pt>
                <c:pt idx="2911">
                  <c:v>40714</c:v>
                </c:pt>
                <c:pt idx="2912">
                  <c:v>40715</c:v>
                </c:pt>
                <c:pt idx="2913">
                  <c:v>40716</c:v>
                </c:pt>
                <c:pt idx="2914">
                  <c:v>40717</c:v>
                </c:pt>
                <c:pt idx="2915">
                  <c:v>40718</c:v>
                </c:pt>
                <c:pt idx="2916">
                  <c:v>40721</c:v>
                </c:pt>
                <c:pt idx="2917">
                  <c:v>40722</c:v>
                </c:pt>
                <c:pt idx="2918">
                  <c:v>40723</c:v>
                </c:pt>
                <c:pt idx="2919">
                  <c:v>40724</c:v>
                </c:pt>
                <c:pt idx="2920">
                  <c:v>40725</c:v>
                </c:pt>
                <c:pt idx="2921">
                  <c:v>40728</c:v>
                </c:pt>
                <c:pt idx="2922">
                  <c:v>40729</c:v>
                </c:pt>
                <c:pt idx="2923">
                  <c:v>40730</c:v>
                </c:pt>
                <c:pt idx="2924">
                  <c:v>40731</c:v>
                </c:pt>
                <c:pt idx="2925">
                  <c:v>40732</c:v>
                </c:pt>
                <c:pt idx="2926">
                  <c:v>40735</c:v>
                </c:pt>
                <c:pt idx="2927">
                  <c:v>40736</c:v>
                </c:pt>
                <c:pt idx="2928">
                  <c:v>40737</c:v>
                </c:pt>
                <c:pt idx="2929">
                  <c:v>40738</c:v>
                </c:pt>
                <c:pt idx="2930">
                  <c:v>40739</c:v>
                </c:pt>
                <c:pt idx="2931">
                  <c:v>40742</c:v>
                </c:pt>
                <c:pt idx="2932">
                  <c:v>40743</c:v>
                </c:pt>
                <c:pt idx="2933">
                  <c:v>40744</c:v>
                </c:pt>
                <c:pt idx="2934">
                  <c:v>40745</c:v>
                </c:pt>
                <c:pt idx="2935">
                  <c:v>40746</c:v>
                </c:pt>
                <c:pt idx="2936">
                  <c:v>40749</c:v>
                </c:pt>
                <c:pt idx="2937">
                  <c:v>40750</c:v>
                </c:pt>
                <c:pt idx="2938">
                  <c:v>40751</c:v>
                </c:pt>
                <c:pt idx="2939">
                  <c:v>40752</c:v>
                </c:pt>
                <c:pt idx="2940">
                  <c:v>40753</c:v>
                </c:pt>
                <c:pt idx="2941">
                  <c:v>40756</c:v>
                </c:pt>
                <c:pt idx="2942">
                  <c:v>40757</c:v>
                </c:pt>
                <c:pt idx="2943">
                  <c:v>40758</c:v>
                </c:pt>
                <c:pt idx="2944">
                  <c:v>40759</c:v>
                </c:pt>
                <c:pt idx="2945">
                  <c:v>40760</c:v>
                </c:pt>
                <c:pt idx="2946">
                  <c:v>40763</c:v>
                </c:pt>
                <c:pt idx="2947">
                  <c:v>40764</c:v>
                </c:pt>
                <c:pt idx="2948">
                  <c:v>40765</c:v>
                </c:pt>
                <c:pt idx="2949">
                  <c:v>40766</c:v>
                </c:pt>
                <c:pt idx="2950">
                  <c:v>40767</c:v>
                </c:pt>
                <c:pt idx="2951">
                  <c:v>40770</c:v>
                </c:pt>
                <c:pt idx="2952">
                  <c:v>40771</c:v>
                </c:pt>
                <c:pt idx="2953">
                  <c:v>40772</c:v>
                </c:pt>
                <c:pt idx="2954">
                  <c:v>40773</c:v>
                </c:pt>
                <c:pt idx="2955">
                  <c:v>40774</c:v>
                </c:pt>
                <c:pt idx="2956">
                  <c:v>40777</c:v>
                </c:pt>
                <c:pt idx="2957">
                  <c:v>40778</c:v>
                </c:pt>
                <c:pt idx="2958">
                  <c:v>40779</c:v>
                </c:pt>
                <c:pt idx="2959">
                  <c:v>40780</c:v>
                </c:pt>
                <c:pt idx="2960">
                  <c:v>40781</c:v>
                </c:pt>
                <c:pt idx="2961">
                  <c:v>40784</c:v>
                </c:pt>
                <c:pt idx="2962">
                  <c:v>40785</c:v>
                </c:pt>
                <c:pt idx="2963">
                  <c:v>40786</c:v>
                </c:pt>
                <c:pt idx="2964">
                  <c:v>40787</c:v>
                </c:pt>
                <c:pt idx="2965">
                  <c:v>40788</c:v>
                </c:pt>
                <c:pt idx="2966">
                  <c:v>40791</c:v>
                </c:pt>
                <c:pt idx="2967">
                  <c:v>40792</c:v>
                </c:pt>
                <c:pt idx="2968">
                  <c:v>40793</c:v>
                </c:pt>
                <c:pt idx="2969">
                  <c:v>40794</c:v>
                </c:pt>
                <c:pt idx="2970">
                  <c:v>40795</c:v>
                </c:pt>
                <c:pt idx="2971">
                  <c:v>40798</c:v>
                </c:pt>
                <c:pt idx="2972">
                  <c:v>40799</c:v>
                </c:pt>
                <c:pt idx="2973">
                  <c:v>40800</c:v>
                </c:pt>
                <c:pt idx="2974">
                  <c:v>40801</c:v>
                </c:pt>
                <c:pt idx="2975">
                  <c:v>40802</c:v>
                </c:pt>
                <c:pt idx="2976">
                  <c:v>40805</c:v>
                </c:pt>
                <c:pt idx="2977">
                  <c:v>40806</c:v>
                </c:pt>
                <c:pt idx="2978">
                  <c:v>40807</c:v>
                </c:pt>
                <c:pt idx="2979">
                  <c:v>40808</c:v>
                </c:pt>
                <c:pt idx="2980">
                  <c:v>40809</c:v>
                </c:pt>
                <c:pt idx="2981">
                  <c:v>40812</c:v>
                </c:pt>
                <c:pt idx="2982">
                  <c:v>40813</c:v>
                </c:pt>
                <c:pt idx="2983">
                  <c:v>40814</c:v>
                </c:pt>
                <c:pt idx="2984">
                  <c:v>40815</c:v>
                </c:pt>
                <c:pt idx="2985">
                  <c:v>40816</c:v>
                </c:pt>
                <c:pt idx="2986">
                  <c:v>40819</c:v>
                </c:pt>
                <c:pt idx="2987">
                  <c:v>40820</c:v>
                </c:pt>
                <c:pt idx="2988">
                  <c:v>40821</c:v>
                </c:pt>
                <c:pt idx="2989">
                  <c:v>40822</c:v>
                </c:pt>
                <c:pt idx="2990">
                  <c:v>40823</c:v>
                </c:pt>
                <c:pt idx="2991">
                  <c:v>40826</c:v>
                </c:pt>
                <c:pt idx="2992">
                  <c:v>40827</c:v>
                </c:pt>
                <c:pt idx="2993">
                  <c:v>40828</c:v>
                </c:pt>
                <c:pt idx="2994">
                  <c:v>40829</c:v>
                </c:pt>
                <c:pt idx="2995">
                  <c:v>40830</c:v>
                </c:pt>
                <c:pt idx="2996">
                  <c:v>40833</c:v>
                </c:pt>
                <c:pt idx="2997">
                  <c:v>40834</c:v>
                </c:pt>
                <c:pt idx="2998">
                  <c:v>40835</c:v>
                </c:pt>
                <c:pt idx="2999">
                  <c:v>40836</c:v>
                </c:pt>
                <c:pt idx="3000">
                  <c:v>40837</c:v>
                </c:pt>
                <c:pt idx="3001">
                  <c:v>40840</c:v>
                </c:pt>
                <c:pt idx="3002">
                  <c:v>40841</c:v>
                </c:pt>
                <c:pt idx="3003">
                  <c:v>40842</c:v>
                </c:pt>
                <c:pt idx="3004">
                  <c:v>40843</c:v>
                </c:pt>
                <c:pt idx="3005">
                  <c:v>40844</c:v>
                </c:pt>
                <c:pt idx="3006">
                  <c:v>40847</c:v>
                </c:pt>
                <c:pt idx="3007">
                  <c:v>40848</c:v>
                </c:pt>
                <c:pt idx="3008">
                  <c:v>40849</c:v>
                </c:pt>
                <c:pt idx="3009">
                  <c:v>40850</c:v>
                </c:pt>
                <c:pt idx="3010">
                  <c:v>40851</c:v>
                </c:pt>
                <c:pt idx="3011">
                  <c:v>40854</c:v>
                </c:pt>
                <c:pt idx="3012">
                  <c:v>40855</c:v>
                </c:pt>
                <c:pt idx="3013">
                  <c:v>40856</c:v>
                </c:pt>
                <c:pt idx="3014">
                  <c:v>40857</c:v>
                </c:pt>
                <c:pt idx="3015">
                  <c:v>40858</c:v>
                </c:pt>
                <c:pt idx="3016">
                  <c:v>40861</c:v>
                </c:pt>
                <c:pt idx="3017">
                  <c:v>40862</c:v>
                </c:pt>
                <c:pt idx="3018">
                  <c:v>40863</c:v>
                </c:pt>
                <c:pt idx="3019">
                  <c:v>40864</c:v>
                </c:pt>
                <c:pt idx="3020">
                  <c:v>40865</c:v>
                </c:pt>
                <c:pt idx="3021">
                  <c:v>40868</c:v>
                </c:pt>
                <c:pt idx="3022">
                  <c:v>40869</c:v>
                </c:pt>
                <c:pt idx="3023">
                  <c:v>40870</c:v>
                </c:pt>
                <c:pt idx="3024">
                  <c:v>40871</c:v>
                </c:pt>
                <c:pt idx="3025">
                  <c:v>40872</c:v>
                </c:pt>
                <c:pt idx="3026">
                  <c:v>40875</c:v>
                </c:pt>
                <c:pt idx="3027">
                  <c:v>40876</c:v>
                </c:pt>
                <c:pt idx="3028">
                  <c:v>40877</c:v>
                </c:pt>
                <c:pt idx="3029">
                  <c:v>40878</c:v>
                </c:pt>
                <c:pt idx="3030">
                  <c:v>40879</c:v>
                </c:pt>
                <c:pt idx="3031">
                  <c:v>40882</c:v>
                </c:pt>
                <c:pt idx="3032">
                  <c:v>40883</c:v>
                </c:pt>
                <c:pt idx="3033">
                  <c:v>40884</c:v>
                </c:pt>
                <c:pt idx="3034">
                  <c:v>40885</c:v>
                </c:pt>
                <c:pt idx="3035">
                  <c:v>40886</c:v>
                </c:pt>
                <c:pt idx="3036">
                  <c:v>40889</c:v>
                </c:pt>
                <c:pt idx="3037">
                  <c:v>40890</c:v>
                </c:pt>
                <c:pt idx="3038">
                  <c:v>40891</c:v>
                </c:pt>
                <c:pt idx="3039">
                  <c:v>40892</c:v>
                </c:pt>
                <c:pt idx="3040">
                  <c:v>40893</c:v>
                </c:pt>
                <c:pt idx="3041">
                  <c:v>40896</c:v>
                </c:pt>
                <c:pt idx="3042">
                  <c:v>40897</c:v>
                </c:pt>
                <c:pt idx="3043">
                  <c:v>40898</c:v>
                </c:pt>
                <c:pt idx="3044">
                  <c:v>40899</c:v>
                </c:pt>
                <c:pt idx="3045">
                  <c:v>40900</c:v>
                </c:pt>
                <c:pt idx="3046">
                  <c:v>40904</c:v>
                </c:pt>
                <c:pt idx="3047">
                  <c:v>40905</c:v>
                </c:pt>
                <c:pt idx="3048">
                  <c:v>40906</c:v>
                </c:pt>
                <c:pt idx="3049">
                  <c:v>40907</c:v>
                </c:pt>
                <c:pt idx="3050">
                  <c:v>40910</c:v>
                </c:pt>
                <c:pt idx="3051">
                  <c:v>40911</c:v>
                </c:pt>
                <c:pt idx="3052">
                  <c:v>40912</c:v>
                </c:pt>
                <c:pt idx="3053">
                  <c:v>40913</c:v>
                </c:pt>
                <c:pt idx="3054">
                  <c:v>40914</c:v>
                </c:pt>
                <c:pt idx="3055">
                  <c:v>40917</c:v>
                </c:pt>
                <c:pt idx="3056">
                  <c:v>40918</c:v>
                </c:pt>
                <c:pt idx="3057">
                  <c:v>40919</c:v>
                </c:pt>
                <c:pt idx="3058">
                  <c:v>40920</c:v>
                </c:pt>
                <c:pt idx="3059">
                  <c:v>40921</c:v>
                </c:pt>
                <c:pt idx="3060">
                  <c:v>40924</c:v>
                </c:pt>
                <c:pt idx="3061">
                  <c:v>40925</c:v>
                </c:pt>
                <c:pt idx="3062">
                  <c:v>40926</c:v>
                </c:pt>
                <c:pt idx="3063">
                  <c:v>40927</c:v>
                </c:pt>
                <c:pt idx="3064">
                  <c:v>40928</c:v>
                </c:pt>
                <c:pt idx="3065">
                  <c:v>40931</c:v>
                </c:pt>
                <c:pt idx="3066">
                  <c:v>40932</c:v>
                </c:pt>
                <c:pt idx="3067">
                  <c:v>40933</c:v>
                </c:pt>
                <c:pt idx="3068">
                  <c:v>40934</c:v>
                </c:pt>
                <c:pt idx="3069">
                  <c:v>40935</c:v>
                </c:pt>
                <c:pt idx="3070">
                  <c:v>40938</c:v>
                </c:pt>
                <c:pt idx="3071">
                  <c:v>40939</c:v>
                </c:pt>
                <c:pt idx="3072">
                  <c:v>40940</c:v>
                </c:pt>
                <c:pt idx="3073">
                  <c:v>40941</c:v>
                </c:pt>
                <c:pt idx="3074">
                  <c:v>40942</c:v>
                </c:pt>
                <c:pt idx="3075">
                  <c:v>40945</c:v>
                </c:pt>
                <c:pt idx="3076">
                  <c:v>40946</c:v>
                </c:pt>
                <c:pt idx="3077">
                  <c:v>40947</c:v>
                </c:pt>
                <c:pt idx="3078">
                  <c:v>40948</c:v>
                </c:pt>
                <c:pt idx="3079">
                  <c:v>40949</c:v>
                </c:pt>
                <c:pt idx="3080">
                  <c:v>40952</c:v>
                </c:pt>
                <c:pt idx="3081">
                  <c:v>40953</c:v>
                </c:pt>
                <c:pt idx="3082">
                  <c:v>40954</c:v>
                </c:pt>
                <c:pt idx="3083">
                  <c:v>40955</c:v>
                </c:pt>
                <c:pt idx="3084">
                  <c:v>40956</c:v>
                </c:pt>
                <c:pt idx="3085">
                  <c:v>40959</c:v>
                </c:pt>
                <c:pt idx="3086">
                  <c:v>40960</c:v>
                </c:pt>
                <c:pt idx="3087">
                  <c:v>40961</c:v>
                </c:pt>
                <c:pt idx="3088">
                  <c:v>40962</c:v>
                </c:pt>
                <c:pt idx="3089">
                  <c:v>40963</c:v>
                </c:pt>
                <c:pt idx="3090">
                  <c:v>40966</c:v>
                </c:pt>
                <c:pt idx="3091">
                  <c:v>40967</c:v>
                </c:pt>
                <c:pt idx="3092">
                  <c:v>40968</c:v>
                </c:pt>
                <c:pt idx="3093">
                  <c:v>40969</c:v>
                </c:pt>
                <c:pt idx="3094">
                  <c:v>40970</c:v>
                </c:pt>
                <c:pt idx="3095">
                  <c:v>40973</c:v>
                </c:pt>
                <c:pt idx="3096">
                  <c:v>40974</c:v>
                </c:pt>
                <c:pt idx="3097">
                  <c:v>40975</c:v>
                </c:pt>
                <c:pt idx="3098">
                  <c:v>40976</c:v>
                </c:pt>
                <c:pt idx="3099">
                  <c:v>40977</c:v>
                </c:pt>
                <c:pt idx="3100">
                  <c:v>40980</c:v>
                </c:pt>
                <c:pt idx="3101">
                  <c:v>40981</c:v>
                </c:pt>
                <c:pt idx="3102">
                  <c:v>40982</c:v>
                </c:pt>
                <c:pt idx="3103">
                  <c:v>40983</c:v>
                </c:pt>
                <c:pt idx="3104">
                  <c:v>40984</c:v>
                </c:pt>
                <c:pt idx="3105">
                  <c:v>40987</c:v>
                </c:pt>
                <c:pt idx="3106">
                  <c:v>40988</c:v>
                </c:pt>
                <c:pt idx="3107">
                  <c:v>40989</c:v>
                </c:pt>
                <c:pt idx="3108">
                  <c:v>40990</c:v>
                </c:pt>
                <c:pt idx="3109">
                  <c:v>40991</c:v>
                </c:pt>
                <c:pt idx="3110">
                  <c:v>40994</c:v>
                </c:pt>
                <c:pt idx="3111">
                  <c:v>40995</c:v>
                </c:pt>
                <c:pt idx="3112">
                  <c:v>40996</c:v>
                </c:pt>
                <c:pt idx="3113">
                  <c:v>40997</c:v>
                </c:pt>
                <c:pt idx="3114">
                  <c:v>40998</c:v>
                </c:pt>
                <c:pt idx="3115">
                  <c:v>41001</c:v>
                </c:pt>
                <c:pt idx="3116">
                  <c:v>41002</c:v>
                </c:pt>
                <c:pt idx="3117">
                  <c:v>41003</c:v>
                </c:pt>
                <c:pt idx="3118">
                  <c:v>41004</c:v>
                </c:pt>
                <c:pt idx="3119">
                  <c:v>41009</c:v>
                </c:pt>
                <c:pt idx="3120">
                  <c:v>41010</c:v>
                </c:pt>
                <c:pt idx="3121">
                  <c:v>41011</c:v>
                </c:pt>
                <c:pt idx="3122">
                  <c:v>41012</c:v>
                </c:pt>
                <c:pt idx="3123">
                  <c:v>41015</c:v>
                </c:pt>
                <c:pt idx="3124">
                  <c:v>41016</c:v>
                </c:pt>
                <c:pt idx="3125">
                  <c:v>41017</c:v>
                </c:pt>
                <c:pt idx="3126">
                  <c:v>41018</c:v>
                </c:pt>
                <c:pt idx="3127">
                  <c:v>41019</c:v>
                </c:pt>
                <c:pt idx="3128">
                  <c:v>41022</c:v>
                </c:pt>
                <c:pt idx="3129">
                  <c:v>41023</c:v>
                </c:pt>
                <c:pt idx="3130">
                  <c:v>41024</c:v>
                </c:pt>
                <c:pt idx="3131">
                  <c:v>41025</c:v>
                </c:pt>
                <c:pt idx="3132">
                  <c:v>41026</c:v>
                </c:pt>
                <c:pt idx="3133">
                  <c:v>41029</c:v>
                </c:pt>
                <c:pt idx="3134">
                  <c:v>41030</c:v>
                </c:pt>
                <c:pt idx="3135">
                  <c:v>41031</c:v>
                </c:pt>
                <c:pt idx="3136">
                  <c:v>41032</c:v>
                </c:pt>
                <c:pt idx="3137">
                  <c:v>41033</c:v>
                </c:pt>
                <c:pt idx="3138">
                  <c:v>41036</c:v>
                </c:pt>
                <c:pt idx="3139">
                  <c:v>41037</c:v>
                </c:pt>
                <c:pt idx="3140">
                  <c:v>41038</c:v>
                </c:pt>
                <c:pt idx="3141">
                  <c:v>41039</c:v>
                </c:pt>
                <c:pt idx="3142">
                  <c:v>41040</c:v>
                </c:pt>
                <c:pt idx="3143">
                  <c:v>41043</c:v>
                </c:pt>
                <c:pt idx="3144">
                  <c:v>41044</c:v>
                </c:pt>
                <c:pt idx="3145">
                  <c:v>41045</c:v>
                </c:pt>
                <c:pt idx="3146">
                  <c:v>41046</c:v>
                </c:pt>
                <c:pt idx="3147">
                  <c:v>41047</c:v>
                </c:pt>
                <c:pt idx="3148">
                  <c:v>41050</c:v>
                </c:pt>
                <c:pt idx="3149">
                  <c:v>41051</c:v>
                </c:pt>
                <c:pt idx="3150">
                  <c:v>41052</c:v>
                </c:pt>
                <c:pt idx="3151">
                  <c:v>41053</c:v>
                </c:pt>
                <c:pt idx="3152">
                  <c:v>41054</c:v>
                </c:pt>
                <c:pt idx="3153">
                  <c:v>41057</c:v>
                </c:pt>
                <c:pt idx="3154">
                  <c:v>41058</c:v>
                </c:pt>
                <c:pt idx="3155">
                  <c:v>41059</c:v>
                </c:pt>
                <c:pt idx="3156">
                  <c:v>41060</c:v>
                </c:pt>
                <c:pt idx="3157">
                  <c:v>41061</c:v>
                </c:pt>
                <c:pt idx="3158">
                  <c:v>41064</c:v>
                </c:pt>
                <c:pt idx="3159">
                  <c:v>41065</c:v>
                </c:pt>
                <c:pt idx="3160">
                  <c:v>41066</c:v>
                </c:pt>
                <c:pt idx="3161">
                  <c:v>41067</c:v>
                </c:pt>
                <c:pt idx="3162">
                  <c:v>41068</c:v>
                </c:pt>
                <c:pt idx="3163">
                  <c:v>41071</c:v>
                </c:pt>
                <c:pt idx="3164">
                  <c:v>41072</c:v>
                </c:pt>
                <c:pt idx="3165">
                  <c:v>41073</c:v>
                </c:pt>
                <c:pt idx="3166">
                  <c:v>41074</c:v>
                </c:pt>
                <c:pt idx="3167">
                  <c:v>41075</c:v>
                </c:pt>
                <c:pt idx="3168">
                  <c:v>41078</c:v>
                </c:pt>
                <c:pt idx="3169">
                  <c:v>41079</c:v>
                </c:pt>
                <c:pt idx="3170">
                  <c:v>41080</c:v>
                </c:pt>
                <c:pt idx="3171">
                  <c:v>41081</c:v>
                </c:pt>
              </c:numCache>
            </c:numRef>
          </c:cat>
          <c:val>
            <c:numRef>
              <c:f>Histories!$B$3:$B$3174</c:f>
              <c:numCache>
                <c:formatCode>General</c:formatCode>
                <c:ptCount val="3172"/>
                <c:pt idx="0">
                  <c:v>100</c:v>
                </c:pt>
                <c:pt idx="1">
                  <c:v>101.28</c:v>
                </c:pt>
                <c:pt idx="2">
                  <c:v>102.06</c:v>
                </c:pt>
                <c:pt idx="3">
                  <c:v>101.74000000000001</c:v>
                </c:pt>
                <c:pt idx="4">
                  <c:v>103.66</c:v>
                </c:pt>
                <c:pt idx="5">
                  <c:v>103.16</c:v>
                </c:pt>
                <c:pt idx="6">
                  <c:v>104.27</c:v>
                </c:pt>
                <c:pt idx="7">
                  <c:v>104.74000000000001</c:v>
                </c:pt>
                <c:pt idx="8">
                  <c:v>103.64999999999999</c:v>
                </c:pt>
                <c:pt idx="9">
                  <c:v>105.09</c:v>
                </c:pt>
                <c:pt idx="10">
                  <c:v>106.24000000000001</c:v>
                </c:pt>
                <c:pt idx="11">
                  <c:v>109.22</c:v>
                </c:pt>
                <c:pt idx="12">
                  <c:v>107.55</c:v>
                </c:pt>
                <c:pt idx="13">
                  <c:v>106.58</c:v>
                </c:pt>
                <c:pt idx="14">
                  <c:v>105.97</c:v>
                </c:pt>
                <c:pt idx="15">
                  <c:v>106.36999999999999</c:v>
                </c:pt>
                <c:pt idx="16">
                  <c:v>107</c:v>
                </c:pt>
                <c:pt idx="17">
                  <c:v>108</c:v>
                </c:pt>
                <c:pt idx="18">
                  <c:v>108.6</c:v>
                </c:pt>
                <c:pt idx="19">
                  <c:v>107.48</c:v>
                </c:pt>
                <c:pt idx="20">
                  <c:v>105.86999999999999</c:v>
                </c:pt>
                <c:pt idx="21">
                  <c:v>106.16999999999999</c:v>
                </c:pt>
                <c:pt idx="22">
                  <c:v>106.61</c:v>
                </c:pt>
                <c:pt idx="23">
                  <c:v>106.29</c:v>
                </c:pt>
                <c:pt idx="24">
                  <c:v>106.33</c:v>
                </c:pt>
                <c:pt idx="25">
                  <c:v>106.29</c:v>
                </c:pt>
                <c:pt idx="26">
                  <c:v>108.07</c:v>
                </c:pt>
                <c:pt idx="27">
                  <c:v>108.82</c:v>
                </c:pt>
                <c:pt idx="28">
                  <c:v>108.66999999999999</c:v>
                </c:pt>
                <c:pt idx="29">
                  <c:v>108.64</c:v>
                </c:pt>
                <c:pt idx="30">
                  <c:v>108.66999999999999</c:v>
                </c:pt>
                <c:pt idx="31">
                  <c:v>109.89</c:v>
                </c:pt>
                <c:pt idx="32">
                  <c:v>110.54</c:v>
                </c:pt>
                <c:pt idx="33">
                  <c:v>109.89</c:v>
                </c:pt>
                <c:pt idx="34">
                  <c:v>108.75</c:v>
                </c:pt>
                <c:pt idx="35">
                  <c:v>109.4</c:v>
                </c:pt>
                <c:pt idx="36">
                  <c:v>109.08</c:v>
                </c:pt>
                <c:pt idx="37">
                  <c:v>109.4</c:v>
                </c:pt>
                <c:pt idx="38">
                  <c:v>110.44000000000001</c:v>
                </c:pt>
                <c:pt idx="39">
                  <c:v>111.13</c:v>
                </c:pt>
                <c:pt idx="40">
                  <c:v>110.14</c:v>
                </c:pt>
                <c:pt idx="41">
                  <c:v>111.73</c:v>
                </c:pt>
                <c:pt idx="42">
                  <c:v>111.99000000000001</c:v>
                </c:pt>
                <c:pt idx="43">
                  <c:v>112.03</c:v>
                </c:pt>
                <c:pt idx="44">
                  <c:v>112.07</c:v>
                </c:pt>
                <c:pt idx="45">
                  <c:v>111.36999999999999</c:v>
                </c:pt>
                <c:pt idx="46">
                  <c:v>111.66</c:v>
                </c:pt>
                <c:pt idx="47">
                  <c:v>111.24000000000001</c:v>
                </c:pt>
                <c:pt idx="48">
                  <c:v>111.14999999999999</c:v>
                </c:pt>
                <c:pt idx="49">
                  <c:v>109.64999999999999</c:v>
                </c:pt>
                <c:pt idx="50">
                  <c:v>110.07</c:v>
                </c:pt>
                <c:pt idx="51">
                  <c:v>110.09</c:v>
                </c:pt>
                <c:pt idx="52">
                  <c:v>109.13</c:v>
                </c:pt>
                <c:pt idx="53">
                  <c:v>108.67999999999999</c:v>
                </c:pt>
                <c:pt idx="54">
                  <c:v>108.9</c:v>
                </c:pt>
                <c:pt idx="55">
                  <c:v>109.53</c:v>
                </c:pt>
                <c:pt idx="56">
                  <c:v>109.3</c:v>
                </c:pt>
                <c:pt idx="57">
                  <c:v>109.45</c:v>
                </c:pt>
                <c:pt idx="58">
                  <c:v>108.32</c:v>
                </c:pt>
                <c:pt idx="59">
                  <c:v>109.17999999999999</c:v>
                </c:pt>
                <c:pt idx="60">
                  <c:v>109.48</c:v>
                </c:pt>
                <c:pt idx="61">
                  <c:v>109.05</c:v>
                </c:pt>
                <c:pt idx="62">
                  <c:v>108.91000000000001</c:v>
                </c:pt>
                <c:pt idx="63">
                  <c:v>109.43</c:v>
                </c:pt>
                <c:pt idx="64">
                  <c:v>108.82</c:v>
                </c:pt>
                <c:pt idx="65">
                  <c:v>108.72</c:v>
                </c:pt>
                <c:pt idx="66">
                  <c:v>109.17999999999999</c:v>
                </c:pt>
                <c:pt idx="67">
                  <c:v>108.11</c:v>
                </c:pt>
                <c:pt idx="68">
                  <c:v>108.61999999999999</c:v>
                </c:pt>
                <c:pt idx="69">
                  <c:v>108.71000000000001</c:v>
                </c:pt>
                <c:pt idx="70">
                  <c:v>108.95</c:v>
                </c:pt>
                <c:pt idx="71">
                  <c:v>109.2</c:v>
                </c:pt>
                <c:pt idx="72">
                  <c:v>109.39</c:v>
                </c:pt>
                <c:pt idx="73">
                  <c:v>109.32</c:v>
                </c:pt>
                <c:pt idx="74">
                  <c:v>110.88</c:v>
                </c:pt>
                <c:pt idx="75">
                  <c:v>111.21000000000001</c:v>
                </c:pt>
                <c:pt idx="76">
                  <c:v>111.03</c:v>
                </c:pt>
                <c:pt idx="77">
                  <c:v>109.64999999999999</c:v>
                </c:pt>
                <c:pt idx="78">
                  <c:v>110.29</c:v>
                </c:pt>
                <c:pt idx="79">
                  <c:v>111.38</c:v>
                </c:pt>
                <c:pt idx="80">
                  <c:v>111.13</c:v>
                </c:pt>
                <c:pt idx="81">
                  <c:v>111.8</c:v>
                </c:pt>
                <c:pt idx="82">
                  <c:v>112.67999999999999</c:v>
                </c:pt>
                <c:pt idx="83">
                  <c:v>112.6</c:v>
                </c:pt>
                <c:pt idx="84">
                  <c:v>112.43</c:v>
                </c:pt>
                <c:pt idx="85">
                  <c:v>111.9</c:v>
                </c:pt>
                <c:pt idx="86">
                  <c:v>111.19</c:v>
                </c:pt>
                <c:pt idx="87">
                  <c:v>111.99000000000001</c:v>
                </c:pt>
                <c:pt idx="88">
                  <c:v>112.75</c:v>
                </c:pt>
                <c:pt idx="89">
                  <c:v>112.1</c:v>
                </c:pt>
                <c:pt idx="90">
                  <c:v>111.61</c:v>
                </c:pt>
                <c:pt idx="91">
                  <c:v>111.56</c:v>
                </c:pt>
                <c:pt idx="92">
                  <c:v>110.69</c:v>
                </c:pt>
                <c:pt idx="93">
                  <c:v>110.29</c:v>
                </c:pt>
                <c:pt idx="94">
                  <c:v>110.84</c:v>
                </c:pt>
                <c:pt idx="95">
                  <c:v>110.34</c:v>
                </c:pt>
                <c:pt idx="96">
                  <c:v>111.76</c:v>
                </c:pt>
                <c:pt idx="97">
                  <c:v>112.73</c:v>
                </c:pt>
                <c:pt idx="98">
                  <c:v>113.05</c:v>
                </c:pt>
                <c:pt idx="99">
                  <c:v>113.59</c:v>
                </c:pt>
                <c:pt idx="100">
                  <c:v>114.9</c:v>
                </c:pt>
                <c:pt idx="101">
                  <c:v>116.25</c:v>
                </c:pt>
                <c:pt idx="102">
                  <c:v>117.21000000000001</c:v>
                </c:pt>
                <c:pt idx="103">
                  <c:v>116.11999999999999</c:v>
                </c:pt>
                <c:pt idx="104">
                  <c:v>117.84</c:v>
                </c:pt>
                <c:pt idx="105">
                  <c:v>118.71000000000001</c:v>
                </c:pt>
                <c:pt idx="106">
                  <c:v>118.25</c:v>
                </c:pt>
                <c:pt idx="107">
                  <c:v>118.77</c:v>
                </c:pt>
                <c:pt idx="108">
                  <c:v>118.36999999999999</c:v>
                </c:pt>
                <c:pt idx="109">
                  <c:v>118.77</c:v>
                </c:pt>
                <c:pt idx="110">
                  <c:v>119.36</c:v>
                </c:pt>
                <c:pt idx="111">
                  <c:v>119.78</c:v>
                </c:pt>
                <c:pt idx="112">
                  <c:v>120.24000000000001</c:v>
                </c:pt>
                <c:pt idx="113">
                  <c:v>119.71000000000001</c:v>
                </c:pt>
                <c:pt idx="114">
                  <c:v>119.36</c:v>
                </c:pt>
                <c:pt idx="115">
                  <c:v>119.63</c:v>
                </c:pt>
                <c:pt idx="116">
                  <c:v>118.77</c:v>
                </c:pt>
                <c:pt idx="117">
                  <c:v>117.89</c:v>
                </c:pt>
                <c:pt idx="118">
                  <c:v>117.75</c:v>
                </c:pt>
                <c:pt idx="119">
                  <c:v>116.57</c:v>
                </c:pt>
                <c:pt idx="120">
                  <c:v>116.7</c:v>
                </c:pt>
                <c:pt idx="121">
                  <c:v>116.64999999999999</c:v>
                </c:pt>
                <c:pt idx="122">
                  <c:v>118.5</c:v>
                </c:pt>
                <c:pt idx="123">
                  <c:v>116.98</c:v>
                </c:pt>
                <c:pt idx="124">
                  <c:v>114.82</c:v>
                </c:pt>
                <c:pt idx="125">
                  <c:v>114.23</c:v>
                </c:pt>
                <c:pt idx="126">
                  <c:v>112.64</c:v>
                </c:pt>
                <c:pt idx="127">
                  <c:v>112.31</c:v>
                </c:pt>
                <c:pt idx="128">
                  <c:v>112.35</c:v>
                </c:pt>
                <c:pt idx="129">
                  <c:v>111.58</c:v>
                </c:pt>
                <c:pt idx="130">
                  <c:v>112.03</c:v>
                </c:pt>
                <c:pt idx="131">
                  <c:v>112.14999999999999</c:v>
                </c:pt>
                <c:pt idx="132">
                  <c:v>111.31</c:v>
                </c:pt>
                <c:pt idx="133">
                  <c:v>110.89</c:v>
                </c:pt>
                <c:pt idx="134">
                  <c:v>110.67999999999999</c:v>
                </c:pt>
                <c:pt idx="135">
                  <c:v>111.89</c:v>
                </c:pt>
                <c:pt idx="136">
                  <c:v>111.5</c:v>
                </c:pt>
                <c:pt idx="137">
                  <c:v>112.05</c:v>
                </c:pt>
                <c:pt idx="138">
                  <c:v>112.16</c:v>
                </c:pt>
                <c:pt idx="139">
                  <c:v>112.61999999999999</c:v>
                </c:pt>
                <c:pt idx="140">
                  <c:v>113.06</c:v>
                </c:pt>
                <c:pt idx="141">
                  <c:v>112.9</c:v>
                </c:pt>
                <c:pt idx="142">
                  <c:v>113.32</c:v>
                </c:pt>
                <c:pt idx="143">
                  <c:v>113.46000000000001</c:v>
                </c:pt>
                <c:pt idx="144">
                  <c:v>114.8</c:v>
                </c:pt>
                <c:pt idx="145">
                  <c:v>113.93</c:v>
                </c:pt>
                <c:pt idx="146">
                  <c:v>113.41000000000001</c:v>
                </c:pt>
                <c:pt idx="147">
                  <c:v>112.75</c:v>
                </c:pt>
                <c:pt idx="148">
                  <c:v>112.93</c:v>
                </c:pt>
                <c:pt idx="149">
                  <c:v>113.08</c:v>
                </c:pt>
                <c:pt idx="150">
                  <c:v>113.89</c:v>
                </c:pt>
                <c:pt idx="151">
                  <c:v>112.75</c:v>
                </c:pt>
                <c:pt idx="152">
                  <c:v>114.24000000000001</c:v>
                </c:pt>
                <c:pt idx="153">
                  <c:v>113.86999999999999</c:v>
                </c:pt>
                <c:pt idx="154">
                  <c:v>114.54</c:v>
                </c:pt>
                <c:pt idx="155">
                  <c:v>119.11999999999999</c:v>
                </c:pt>
                <c:pt idx="156">
                  <c:v>119.14</c:v>
                </c:pt>
                <c:pt idx="157">
                  <c:v>120.45</c:v>
                </c:pt>
                <c:pt idx="158">
                  <c:v>120.84</c:v>
                </c:pt>
                <c:pt idx="159">
                  <c:v>121.6</c:v>
                </c:pt>
                <c:pt idx="160">
                  <c:v>122.22</c:v>
                </c:pt>
                <c:pt idx="161">
                  <c:v>122.43</c:v>
                </c:pt>
                <c:pt idx="162">
                  <c:v>121.98</c:v>
                </c:pt>
                <c:pt idx="163">
                  <c:v>123.11</c:v>
                </c:pt>
                <c:pt idx="164">
                  <c:v>123.39</c:v>
                </c:pt>
                <c:pt idx="165">
                  <c:v>122.76</c:v>
                </c:pt>
                <c:pt idx="166">
                  <c:v>123.19</c:v>
                </c:pt>
                <c:pt idx="167">
                  <c:v>122.94000000000001</c:v>
                </c:pt>
                <c:pt idx="168">
                  <c:v>122.54</c:v>
                </c:pt>
                <c:pt idx="169">
                  <c:v>123.86</c:v>
                </c:pt>
                <c:pt idx="170">
                  <c:v>124.57</c:v>
                </c:pt>
                <c:pt idx="171">
                  <c:v>125</c:v>
                </c:pt>
                <c:pt idx="172">
                  <c:v>125.36</c:v>
                </c:pt>
                <c:pt idx="173">
                  <c:v>126.7</c:v>
                </c:pt>
                <c:pt idx="174">
                  <c:v>127.79</c:v>
                </c:pt>
                <c:pt idx="175">
                  <c:v>127.4</c:v>
                </c:pt>
                <c:pt idx="176">
                  <c:v>129.36000000000001</c:v>
                </c:pt>
                <c:pt idx="177">
                  <c:v>127.41000000000001</c:v>
                </c:pt>
                <c:pt idx="178">
                  <c:v>128.26999999999998</c:v>
                </c:pt>
                <c:pt idx="179">
                  <c:v>130.07</c:v>
                </c:pt>
                <c:pt idx="180">
                  <c:v>130.53</c:v>
                </c:pt>
                <c:pt idx="181">
                  <c:v>129.85000000000002</c:v>
                </c:pt>
                <c:pt idx="182">
                  <c:v>130.23999999999998</c:v>
                </c:pt>
                <c:pt idx="183">
                  <c:v>129.07</c:v>
                </c:pt>
                <c:pt idx="184">
                  <c:v>128.78</c:v>
                </c:pt>
                <c:pt idx="185">
                  <c:v>127.67999999999999</c:v>
                </c:pt>
                <c:pt idx="186">
                  <c:v>128.13999999999999</c:v>
                </c:pt>
                <c:pt idx="187">
                  <c:v>125.22</c:v>
                </c:pt>
                <c:pt idx="188">
                  <c:v>125.2</c:v>
                </c:pt>
                <c:pt idx="189">
                  <c:v>126.51</c:v>
                </c:pt>
                <c:pt idx="190">
                  <c:v>127.13</c:v>
                </c:pt>
                <c:pt idx="191">
                  <c:v>126.1</c:v>
                </c:pt>
                <c:pt idx="192">
                  <c:v>126.35</c:v>
                </c:pt>
                <c:pt idx="193">
                  <c:v>125.23</c:v>
                </c:pt>
                <c:pt idx="194">
                  <c:v>124.49000000000001</c:v>
                </c:pt>
                <c:pt idx="195">
                  <c:v>126.53</c:v>
                </c:pt>
                <c:pt idx="196">
                  <c:v>127.39</c:v>
                </c:pt>
                <c:pt idx="197">
                  <c:v>125.67999999999999</c:v>
                </c:pt>
                <c:pt idx="198">
                  <c:v>124.88</c:v>
                </c:pt>
                <c:pt idx="199">
                  <c:v>123.96000000000001</c:v>
                </c:pt>
                <c:pt idx="200">
                  <c:v>123.96000000000001</c:v>
                </c:pt>
                <c:pt idx="201">
                  <c:v>123.96000000000001</c:v>
                </c:pt>
                <c:pt idx="202">
                  <c:v>126.33</c:v>
                </c:pt>
                <c:pt idx="203">
                  <c:v>126.02</c:v>
                </c:pt>
                <c:pt idx="204">
                  <c:v>125.14999999999999</c:v>
                </c:pt>
                <c:pt idx="205">
                  <c:v>125.14999999999999</c:v>
                </c:pt>
                <c:pt idx="206">
                  <c:v>124.77</c:v>
                </c:pt>
                <c:pt idx="207">
                  <c:v>125.81</c:v>
                </c:pt>
                <c:pt idx="208">
                  <c:v>125.13</c:v>
                </c:pt>
                <c:pt idx="209">
                  <c:v>125.43</c:v>
                </c:pt>
                <c:pt idx="210">
                  <c:v>126.02</c:v>
                </c:pt>
                <c:pt idx="211">
                  <c:v>126.11</c:v>
                </c:pt>
                <c:pt idx="212">
                  <c:v>125.02</c:v>
                </c:pt>
                <c:pt idx="213">
                  <c:v>125.16999999999999</c:v>
                </c:pt>
                <c:pt idx="214">
                  <c:v>122.88</c:v>
                </c:pt>
                <c:pt idx="215">
                  <c:v>124.03</c:v>
                </c:pt>
                <c:pt idx="216">
                  <c:v>122.9</c:v>
                </c:pt>
                <c:pt idx="217">
                  <c:v>125.06</c:v>
                </c:pt>
                <c:pt idx="218">
                  <c:v>124.04</c:v>
                </c:pt>
                <c:pt idx="219">
                  <c:v>123.36</c:v>
                </c:pt>
                <c:pt idx="220">
                  <c:v>123.4</c:v>
                </c:pt>
                <c:pt idx="221">
                  <c:v>124.38</c:v>
                </c:pt>
                <c:pt idx="222">
                  <c:v>125.16</c:v>
                </c:pt>
                <c:pt idx="223">
                  <c:v>125.41000000000001</c:v>
                </c:pt>
                <c:pt idx="224">
                  <c:v>126.27</c:v>
                </c:pt>
                <c:pt idx="225">
                  <c:v>127.17999999999999</c:v>
                </c:pt>
                <c:pt idx="226">
                  <c:v>127.86999999999999</c:v>
                </c:pt>
                <c:pt idx="227">
                  <c:v>126.89</c:v>
                </c:pt>
                <c:pt idx="228">
                  <c:v>127.66999999999999</c:v>
                </c:pt>
                <c:pt idx="229">
                  <c:v>127.35</c:v>
                </c:pt>
                <c:pt idx="230">
                  <c:v>127.56</c:v>
                </c:pt>
                <c:pt idx="231">
                  <c:v>128.58000000000001</c:v>
                </c:pt>
                <c:pt idx="232">
                  <c:v>127.86999999999999</c:v>
                </c:pt>
                <c:pt idx="233">
                  <c:v>129.22999999999999</c:v>
                </c:pt>
                <c:pt idx="234">
                  <c:v>128.36000000000001</c:v>
                </c:pt>
                <c:pt idx="235">
                  <c:v>128.72999999999999</c:v>
                </c:pt>
                <c:pt idx="236">
                  <c:v>130.53</c:v>
                </c:pt>
                <c:pt idx="237">
                  <c:v>131.28</c:v>
                </c:pt>
                <c:pt idx="238">
                  <c:v>132.22999999999999</c:v>
                </c:pt>
                <c:pt idx="239">
                  <c:v>130.36000000000001</c:v>
                </c:pt>
                <c:pt idx="240">
                  <c:v>129.6</c:v>
                </c:pt>
                <c:pt idx="241">
                  <c:v>129.78</c:v>
                </c:pt>
                <c:pt idx="242">
                  <c:v>130.79</c:v>
                </c:pt>
                <c:pt idx="243">
                  <c:v>131.02000000000001</c:v>
                </c:pt>
                <c:pt idx="244">
                  <c:v>129.18</c:v>
                </c:pt>
                <c:pt idx="245">
                  <c:v>128.66</c:v>
                </c:pt>
                <c:pt idx="246">
                  <c:v>128.80000000000001</c:v>
                </c:pt>
                <c:pt idx="247">
                  <c:v>129.16</c:v>
                </c:pt>
                <c:pt idx="248">
                  <c:v>128.76999999999998</c:v>
                </c:pt>
                <c:pt idx="249">
                  <c:v>129.87</c:v>
                </c:pt>
                <c:pt idx="250">
                  <c:v>130.23999999999998</c:v>
                </c:pt>
                <c:pt idx="251">
                  <c:v>129.28</c:v>
                </c:pt>
                <c:pt idx="252">
                  <c:v>129.37</c:v>
                </c:pt>
                <c:pt idx="253">
                  <c:v>128.57</c:v>
                </c:pt>
                <c:pt idx="254">
                  <c:v>128.5</c:v>
                </c:pt>
                <c:pt idx="255">
                  <c:v>127.3</c:v>
                </c:pt>
                <c:pt idx="256">
                  <c:v>125.66999999999999</c:v>
                </c:pt>
                <c:pt idx="257">
                  <c:v>124.17999999999999</c:v>
                </c:pt>
                <c:pt idx="258">
                  <c:v>126.16</c:v>
                </c:pt>
                <c:pt idx="259">
                  <c:v>123.66999999999999</c:v>
                </c:pt>
                <c:pt idx="260">
                  <c:v>124.41000000000001</c:v>
                </c:pt>
                <c:pt idx="261">
                  <c:v>125.08</c:v>
                </c:pt>
                <c:pt idx="262">
                  <c:v>124.02</c:v>
                </c:pt>
                <c:pt idx="263">
                  <c:v>120.61999999999999</c:v>
                </c:pt>
                <c:pt idx="264">
                  <c:v>122.6</c:v>
                </c:pt>
                <c:pt idx="265">
                  <c:v>124.81</c:v>
                </c:pt>
                <c:pt idx="266">
                  <c:v>126.97</c:v>
                </c:pt>
                <c:pt idx="267">
                  <c:v>126.09</c:v>
                </c:pt>
                <c:pt idx="268">
                  <c:v>126.76</c:v>
                </c:pt>
                <c:pt idx="269">
                  <c:v>126.54</c:v>
                </c:pt>
                <c:pt idx="270">
                  <c:v>126.49000000000001</c:v>
                </c:pt>
                <c:pt idx="271">
                  <c:v>124.99000000000001</c:v>
                </c:pt>
                <c:pt idx="272">
                  <c:v>124.85</c:v>
                </c:pt>
                <c:pt idx="273">
                  <c:v>126.35</c:v>
                </c:pt>
                <c:pt idx="274">
                  <c:v>125.51</c:v>
                </c:pt>
                <c:pt idx="275">
                  <c:v>127.77</c:v>
                </c:pt>
                <c:pt idx="276">
                  <c:v>130.04</c:v>
                </c:pt>
                <c:pt idx="277">
                  <c:v>130.52000000000001</c:v>
                </c:pt>
                <c:pt idx="278">
                  <c:v>130</c:v>
                </c:pt>
                <c:pt idx="279">
                  <c:v>130</c:v>
                </c:pt>
                <c:pt idx="280">
                  <c:v>130</c:v>
                </c:pt>
                <c:pt idx="281">
                  <c:v>130.53</c:v>
                </c:pt>
                <c:pt idx="282">
                  <c:v>131.53</c:v>
                </c:pt>
                <c:pt idx="283">
                  <c:v>132.52000000000001</c:v>
                </c:pt>
                <c:pt idx="284">
                  <c:v>131.96</c:v>
                </c:pt>
                <c:pt idx="285">
                  <c:v>131.34</c:v>
                </c:pt>
                <c:pt idx="286">
                  <c:v>131.56</c:v>
                </c:pt>
                <c:pt idx="287">
                  <c:v>131.32000000000002</c:v>
                </c:pt>
                <c:pt idx="288">
                  <c:v>129.87</c:v>
                </c:pt>
                <c:pt idx="289">
                  <c:v>132.37</c:v>
                </c:pt>
                <c:pt idx="290">
                  <c:v>133.09</c:v>
                </c:pt>
                <c:pt idx="291">
                  <c:v>132.87</c:v>
                </c:pt>
                <c:pt idx="292">
                  <c:v>132.69</c:v>
                </c:pt>
                <c:pt idx="293">
                  <c:v>131.41</c:v>
                </c:pt>
                <c:pt idx="294">
                  <c:v>132.72</c:v>
                </c:pt>
                <c:pt idx="295">
                  <c:v>133.47</c:v>
                </c:pt>
                <c:pt idx="296">
                  <c:v>133.80000000000001</c:v>
                </c:pt>
                <c:pt idx="297">
                  <c:v>133.12</c:v>
                </c:pt>
                <c:pt idx="298">
                  <c:v>135.57</c:v>
                </c:pt>
                <c:pt idx="299">
                  <c:v>135.78</c:v>
                </c:pt>
                <c:pt idx="300">
                  <c:v>134.76</c:v>
                </c:pt>
                <c:pt idx="301">
                  <c:v>135.15</c:v>
                </c:pt>
                <c:pt idx="302">
                  <c:v>136.01</c:v>
                </c:pt>
                <c:pt idx="303">
                  <c:v>138.30000000000001</c:v>
                </c:pt>
                <c:pt idx="304">
                  <c:v>139.66</c:v>
                </c:pt>
                <c:pt idx="305">
                  <c:v>140.62</c:v>
                </c:pt>
                <c:pt idx="306">
                  <c:v>141.47</c:v>
                </c:pt>
                <c:pt idx="307">
                  <c:v>141.13</c:v>
                </c:pt>
                <c:pt idx="308">
                  <c:v>140.66999999999999</c:v>
                </c:pt>
                <c:pt idx="309">
                  <c:v>140.60999999999999</c:v>
                </c:pt>
                <c:pt idx="310">
                  <c:v>140.5</c:v>
                </c:pt>
                <c:pt idx="311">
                  <c:v>140.19</c:v>
                </c:pt>
                <c:pt idx="312">
                  <c:v>142.69999999999999</c:v>
                </c:pt>
                <c:pt idx="313">
                  <c:v>143.83000000000001</c:v>
                </c:pt>
                <c:pt idx="314">
                  <c:v>143.70999999999998</c:v>
                </c:pt>
                <c:pt idx="315">
                  <c:v>144.55000000000001</c:v>
                </c:pt>
                <c:pt idx="316">
                  <c:v>145.03</c:v>
                </c:pt>
                <c:pt idx="317">
                  <c:v>144.66</c:v>
                </c:pt>
                <c:pt idx="318">
                  <c:v>144.13999999999999</c:v>
                </c:pt>
                <c:pt idx="319">
                  <c:v>143.58000000000001</c:v>
                </c:pt>
                <c:pt idx="320">
                  <c:v>142.78</c:v>
                </c:pt>
                <c:pt idx="321">
                  <c:v>140.94999999999999</c:v>
                </c:pt>
                <c:pt idx="322">
                  <c:v>141.28</c:v>
                </c:pt>
                <c:pt idx="323">
                  <c:v>138.87</c:v>
                </c:pt>
                <c:pt idx="324">
                  <c:v>138.75</c:v>
                </c:pt>
                <c:pt idx="325">
                  <c:v>137.79</c:v>
                </c:pt>
                <c:pt idx="326">
                  <c:v>138.30000000000001</c:v>
                </c:pt>
                <c:pt idx="327">
                  <c:v>138.13</c:v>
                </c:pt>
                <c:pt idx="328">
                  <c:v>138.76</c:v>
                </c:pt>
                <c:pt idx="329">
                  <c:v>138.43</c:v>
                </c:pt>
                <c:pt idx="330">
                  <c:v>138.30000000000001</c:v>
                </c:pt>
                <c:pt idx="331">
                  <c:v>136.63</c:v>
                </c:pt>
                <c:pt idx="332">
                  <c:v>137.23999999999998</c:v>
                </c:pt>
                <c:pt idx="333">
                  <c:v>139.49</c:v>
                </c:pt>
                <c:pt idx="334">
                  <c:v>139.70999999999998</c:v>
                </c:pt>
                <c:pt idx="335">
                  <c:v>141.10999999999999</c:v>
                </c:pt>
                <c:pt idx="336">
                  <c:v>139.54</c:v>
                </c:pt>
                <c:pt idx="337">
                  <c:v>139.37</c:v>
                </c:pt>
                <c:pt idx="338">
                  <c:v>139.73999999999998</c:v>
                </c:pt>
                <c:pt idx="339">
                  <c:v>138.30000000000001</c:v>
                </c:pt>
                <c:pt idx="340">
                  <c:v>137.91999999999999</c:v>
                </c:pt>
                <c:pt idx="341">
                  <c:v>137.07</c:v>
                </c:pt>
                <c:pt idx="342">
                  <c:v>135.78</c:v>
                </c:pt>
                <c:pt idx="343">
                  <c:v>136.85000000000002</c:v>
                </c:pt>
                <c:pt idx="344">
                  <c:v>137.07</c:v>
                </c:pt>
                <c:pt idx="345">
                  <c:v>136.02000000000001</c:v>
                </c:pt>
                <c:pt idx="346">
                  <c:v>134.44</c:v>
                </c:pt>
                <c:pt idx="347">
                  <c:v>133.5</c:v>
                </c:pt>
                <c:pt idx="348">
                  <c:v>134.66</c:v>
                </c:pt>
                <c:pt idx="349">
                  <c:v>134.41</c:v>
                </c:pt>
                <c:pt idx="350">
                  <c:v>133.99</c:v>
                </c:pt>
                <c:pt idx="351">
                  <c:v>131.86000000000001</c:v>
                </c:pt>
                <c:pt idx="352">
                  <c:v>129.96</c:v>
                </c:pt>
                <c:pt idx="353">
                  <c:v>130.35000000000002</c:v>
                </c:pt>
                <c:pt idx="354">
                  <c:v>131.58000000000001</c:v>
                </c:pt>
                <c:pt idx="355">
                  <c:v>132.55000000000001</c:v>
                </c:pt>
                <c:pt idx="356">
                  <c:v>134.02000000000001</c:v>
                </c:pt>
                <c:pt idx="357">
                  <c:v>134.26</c:v>
                </c:pt>
                <c:pt idx="358">
                  <c:v>133.97999999999999</c:v>
                </c:pt>
                <c:pt idx="359">
                  <c:v>133.59</c:v>
                </c:pt>
                <c:pt idx="360">
                  <c:v>133.52000000000001</c:v>
                </c:pt>
                <c:pt idx="361">
                  <c:v>133.29</c:v>
                </c:pt>
                <c:pt idx="362">
                  <c:v>132.37</c:v>
                </c:pt>
                <c:pt idx="363">
                  <c:v>131.41</c:v>
                </c:pt>
                <c:pt idx="364">
                  <c:v>130.82000000000002</c:v>
                </c:pt>
                <c:pt idx="365">
                  <c:v>130.51</c:v>
                </c:pt>
                <c:pt idx="366">
                  <c:v>131.47999999999999</c:v>
                </c:pt>
                <c:pt idx="367">
                  <c:v>130.81</c:v>
                </c:pt>
                <c:pt idx="368">
                  <c:v>130.26</c:v>
                </c:pt>
                <c:pt idx="369">
                  <c:v>129.4</c:v>
                </c:pt>
                <c:pt idx="370">
                  <c:v>129.70999999999998</c:v>
                </c:pt>
                <c:pt idx="371">
                  <c:v>130.46</c:v>
                </c:pt>
                <c:pt idx="372">
                  <c:v>130.65</c:v>
                </c:pt>
                <c:pt idx="373">
                  <c:v>131.06</c:v>
                </c:pt>
                <c:pt idx="374">
                  <c:v>132.16999999999999</c:v>
                </c:pt>
                <c:pt idx="375">
                  <c:v>132.38000000000002</c:v>
                </c:pt>
                <c:pt idx="376">
                  <c:v>132.38000000000002</c:v>
                </c:pt>
                <c:pt idx="377">
                  <c:v>132.83000000000001</c:v>
                </c:pt>
                <c:pt idx="378">
                  <c:v>131.60999999999999</c:v>
                </c:pt>
                <c:pt idx="379">
                  <c:v>132.30000000000001</c:v>
                </c:pt>
                <c:pt idx="380">
                  <c:v>131.82000000000002</c:v>
                </c:pt>
                <c:pt idx="381">
                  <c:v>133.97999999999999</c:v>
                </c:pt>
                <c:pt idx="382">
                  <c:v>133.94</c:v>
                </c:pt>
                <c:pt idx="383">
                  <c:v>131.94</c:v>
                </c:pt>
                <c:pt idx="384">
                  <c:v>129.41999999999999</c:v>
                </c:pt>
                <c:pt idx="385">
                  <c:v>127.9</c:v>
                </c:pt>
                <c:pt idx="386">
                  <c:v>121.75</c:v>
                </c:pt>
                <c:pt idx="387">
                  <c:v>122</c:v>
                </c:pt>
                <c:pt idx="388">
                  <c:v>123.22</c:v>
                </c:pt>
                <c:pt idx="389">
                  <c:v>118.42</c:v>
                </c:pt>
                <c:pt idx="390">
                  <c:v>117.4</c:v>
                </c:pt>
                <c:pt idx="391">
                  <c:v>116.04</c:v>
                </c:pt>
                <c:pt idx="392">
                  <c:v>113.67999999999999</c:v>
                </c:pt>
                <c:pt idx="393">
                  <c:v>110.17999999999999</c:v>
                </c:pt>
                <c:pt idx="394">
                  <c:v>105.74000000000001</c:v>
                </c:pt>
                <c:pt idx="395">
                  <c:v>108.39</c:v>
                </c:pt>
                <c:pt idx="396">
                  <c:v>110.43</c:v>
                </c:pt>
                <c:pt idx="397">
                  <c:v>112.17999999999999</c:v>
                </c:pt>
                <c:pt idx="398">
                  <c:v>113.35</c:v>
                </c:pt>
                <c:pt idx="399">
                  <c:v>116.17999999999999</c:v>
                </c:pt>
                <c:pt idx="400">
                  <c:v>115.34</c:v>
                </c:pt>
                <c:pt idx="401">
                  <c:v>114.99000000000001</c:v>
                </c:pt>
                <c:pt idx="402">
                  <c:v>116.53</c:v>
                </c:pt>
                <c:pt idx="403">
                  <c:v>118.72</c:v>
                </c:pt>
                <c:pt idx="404">
                  <c:v>118.14999999999999</c:v>
                </c:pt>
                <c:pt idx="405">
                  <c:v>116.46000000000001</c:v>
                </c:pt>
                <c:pt idx="406">
                  <c:v>116.25</c:v>
                </c:pt>
                <c:pt idx="407">
                  <c:v>118.33</c:v>
                </c:pt>
                <c:pt idx="408">
                  <c:v>121.25</c:v>
                </c:pt>
                <c:pt idx="409">
                  <c:v>121.52</c:v>
                </c:pt>
                <c:pt idx="410">
                  <c:v>121.11</c:v>
                </c:pt>
                <c:pt idx="411">
                  <c:v>121.67999999999999</c:v>
                </c:pt>
                <c:pt idx="412">
                  <c:v>123.36</c:v>
                </c:pt>
                <c:pt idx="413">
                  <c:v>121.49000000000001</c:v>
                </c:pt>
                <c:pt idx="414">
                  <c:v>119.88</c:v>
                </c:pt>
                <c:pt idx="415">
                  <c:v>119.82</c:v>
                </c:pt>
                <c:pt idx="416">
                  <c:v>121.06</c:v>
                </c:pt>
                <c:pt idx="417">
                  <c:v>121.35</c:v>
                </c:pt>
                <c:pt idx="418">
                  <c:v>120.82</c:v>
                </c:pt>
                <c:pt idx="419">
                  <c:v>122.73</c:v>
                </c:pt>
                <c:pt idx="420">
                  <c:v>121.28</c:v>
                </c:pt>
                <c:pt idx="421">
                  <c:v>119.32</c:v>
                </c:pt>
                <c:pt idx="422">
                  <c:v>120.51</c:v>
                </c:pt>
                <c:pt idx="423">
                  <c:v>119.84</c:v>
                </c:pt>
                <c:pt idx="424">
                  <c:v>120.72</c:v>
                </c:pt>
                <c:pt idx="425">
                  <c:v>122.3</c:v>
                </c:pt>
                <c:pt idx="426">
                  <c:v>122.57</c:v>
                </c:pt>
                <c:pt idx="427">
                  <c:v>123.14</c:v>
                </c:pt>
                <c:pt idx="428">
                  <c:v>124.93</c:v>
                </c:pt>
                <c:pt idx="429">
                  <c:v>124.75</c:v>
                </c:pt>
                <c:pt idx="430">
                  <c:v>122.98</c:v>
                </c:pt>
                <c:pt idx="431">
                  <c:v>126.06</c:v>
                </c:pt>
                <c:pt idx="432">
                  <c:v>127.38</c:v>
                </c:pt>
                <c:pt idx="433">
                  <c:v>127.34</c:v>
                </c:pt>
                <c:pt idx="434">
                  <c:v>127.63</c:v>
                </c:pt>
                <c:pt idx="435">
                  <c:v>127.7</c:v>
                </c:pt>
                <c:pt idx="436">
                  <c:v>127.06</c:v>
                </c:pt>
                <c:pt idx="437">
                  <c:v>127.02</c:v>
                </c:pt>
                <c:pt idx="438">
                  <c:v>127.14999999999999</c:v>
                </c:pt>
                <c:pt idx="439">
                  <c:v>127.16</c:v>
                </c:pt>
                <c:pt idx="440">
                  <c:v>127.95</c:v>
                </c:pt>
                <c:pt idx="441">
                  <c:v>127.44000000000001</c:v>
                </c:pt>
                <c:pt idx="442">
                  <c:v>127.03</c:v>
                </c:pt>
                <c:pt idx="443">
                  <c:v>126.04</c:v>
                </c:pt>
                <c:pt idx="444">
                  <c:v>125.23</c:v>
                </c:pt>
                <c:pt idx="445">
                  <c:v>125.36999999999999</c:v>
                </c:pt>
                <c:pt idx="446">
                  <c:v>126.05</c:v>
                </c:pt>
                <c:pt idx="447">
                  <c:v>127.73</c:v>
                </c:pt>
                <c:pt idx="448">
                  <c:v>128.46</c:v>
                </c:pt>
                <c:pt idx="449">
                  <c:v>128.59</c:v>
                </c:pt>
                <c:pt idx="450">
                  <c:v>127.47</c:v>
                </c:pt>
                <c:pt idx="451">
                  <c:v>127.11999999999999</c:v>
                </c:pt>
                <c:pt idx="452">
                  <c:v>125.92</c:v>
                </c:pt>
                <c:pt idx="453">
                  <c:v>124.57</c:v>
                </c:pt>
                <c:pt idx="454">
                  <c:v>124.07</c:v>
                </c:pt>
                <c:pt idx="455">
                  <c:v>125.93</c:v>
                </c:pt>
                <c:pt idx="456">
                  <c:v>125.94000000000001</c:v>
                </c:pt>
                <c:pt idx="457">
                  <c:v>125.54</c:v>
                </c:pt>
                <c:pt idx="458">
                  <c:v>125.29</c:v>
                </c:pt>
                <c:pt idx="459">
                  <c:v>126.43</c:v>
                </c:pt>
                <c:pt idx="460">
                  <c:v>129.08000000000001</c:v>
                </c:pt>
                <c:pt idx="461">
                  <c:v>129.60999999999999</c:v>
                </c:pt>
                <c:pt idx="462">
                  <c:v>129.18</c:v>
                </c:pt>
                <c:pt idx="463">
                  <c:v>129.18</c:v>
                </c:pt>
                <c:pt idx="464">
                  <c:v>126.79</c:v>
                </c:pt>
                <c:pt idx="465">
                  <c:v>129.15</c:v>
                </c:pt>
                <c:pt idx="466">
                  <c:v>131.04</c:v>
                </c:pt>
                <c:pt idx="467">
                  <c:v>130.53</c:v>
                </c:pt>
                <c:pt idx="468">
                  <c:v>130.22</c:v>
                </c:pt>
                <c:pt idx="469">
                  <c:v>130.20999999999998</c:v>
                </c:pt>
                <c:pt idx="470">
                  <c:v>129.5</c:v>
                </c:pt>
                <c:pt idx="471">
                  <c:v>129.93</c:v>
                </c:pt>
                <c:pt idx="472">
                  <c:v>128.57</c:v>
                </c:pt>
                <c:pt idx="473">
                  <c:v>129.43</c:v>
                </c:pt>
                <c:pt idx="474">
                  <c:v>128.76</c:v>
                </c:pt>
                <c:pt idx="475">
                  <c:v>129.20999999999998</c:v>
                </c:pt>
                <c:pt idx="476">
                  <c:v>129.47999999999999</c:v>
                </c:pt>
                <c:pt idx="477">
                  <c:v>129.32000000000002</c:v>
                </c:pt>
                <c:pt idx="478">
                  <c:v>128.5</c:v>
                </c:pt>
                <c:pt idx="479">
                  <c:v>129.58000000000001</c:v>
                </c:pt>
                <c:pt idx="480">
                  <c:v>130.43</c:v>
                </c:pt>
                <c:pt idx="481">
                  <c:v>130.13999999999999</c:v>
                </c:pt>
                <c:pt idx="482">
                  <c:v>131.54</c:v>
                </c:pt>
                <c:pt idx="483">
                  <c:v>129.76999999999998</c:v>
                </c:pt>
                <c:pt idx="484">
                  <c:v>129.37</c:v>
                </c:pt>
                <c:pt idx="485">
                  <c:v>130.94</c:v>
                </c:pt>
                <c:pt idx="486">
                  <c:v>131.9</c:v>
                </c:pt>
                <c:pt idx="487">
                  <c:v>130.9</c:v>
                </c:pt>
                <c:pt idx="488">
                  <c:v>129.79</c:v>
                </c:pt>
                <c:pt idx="489">
                  <c:v>128.63999999999999</c:v>
                </c:pt>
                <c:pt idx="490">
                  <c:v>129.05000000000001</c:v>
                </c:pt>
                <c:pt idx="491">
                  <c:v>129.52000000000001</c:v>
                </c:pt>
                <c:pt idx="492">
                  <c:v>130.26</c:v>
                </c:pt>
                <c:pt idx="493">
                  <c:v>131.69</c:v>
                </c:pt>
                <c:pt idx="494">
                  <c:v>132.55000000000001</c:v>
                </c:pt>
                <c:pt idx="495">
                  <c:v>132.63999999999999</c:v>
                </c:pt>
                <c:pt idx="496">
                  <c:v>132.82000000000002</c:v>
                </c:pt>
                <c:pt idx="497">
                  <c:v>131.79</c:v>
                </c:pt>
                <c:pt idx="498">
                  <c:v>130.20999999999998</c:v>
                </c:pt>
                <c:pt idx="499">
                  <c:v>129.59</c:v>
                </c:pt>
                <c:pt idx="500">
                  <c:v>130</c:v>
                </c:pt>
                <c:pt idx="501">
                  <c:v>129.47999999999999</c:v>
                </c:pt>
                <c:pt idx="502">
                  <c:v>131.63999999999999</c:v>
                </c:pt>
                <c:pt idx="503">
                  <c:v>133.55000000000001</c:v>
                </c:pt>
                <c:pt idx="504">
                  <c:v>135.15</c:v>
                </c:pt>
                <c:pt idx="505">
                  <c:v>133.35000000000002</c:v>
                </c:pt>
                <c:pt idx="506">
                  <c:v>135.18</c:v>
                </c:pt>
                <c:pt idx="507">
                  <c:v>137.63999999999999</c:v>
                </c:pt>
                <c:pt idx="508">
                  <c:v>137.80000000000001</c:v>
                </c:pt>
                <c:pt idx="509">
                  <c:v>136.85000000000002</c:v>
                </c:pt>
                <c:pt idx="510">
                  <c:v>138.75</c:v>
                </c:pt>
                <c:pt idx="511">
                  <c:v>139.94999999999999</c:v>
                </c:pt>
                <c:pt idx="512">
                  <c:v>139.63</c:v>
                </c:pt>
                <c:pt idx="513">
                  <c:v>138.78</c:v>
                </c:pt>
                <c:pt idx="514">
                  <c:v>139.22999999999999</c:v>
                </c:pt>
                <c:pt idx="515">
                  <c:v>138.87</c:v>
                </c:pt>
                <c:pt idx="516">
                  <c:v>139.47999999999999</c:v>
                </c:pt>
                <c:pt idx="517">
                  <c:v>140.23999999999998</c:v>
                </c:pt>
                <c:pt idx="518">
                  <c:v>140.36000000000001</c:v>
                </c:pt>
                <c:pt idx="519">
                  <c:v>139.78</c:v>
                </c:pt>
                <c:pt idx="520">
                  <c:v>139.93</c:v>
                </c:pt>
                <c:pt idx="521">
                  <c:v>140.69999999999999</c:v>
                </c:pt>
                <c:pt idx="522">
                  <c:v>140.10999999999999</c:v>
                </c:pt>
                <c:pt idx="523">
                  <c:v>140.34</c:v>
                </c:pt>
                <c:pt idx="524">
                  <c:v>140.69</c:v>
                </c:pt>
                <c:pt idx="525">
                  <c:v>142.10999999999999</c:v>
                </c:pt>
                <c:pt idx="526">
                  <c:v>142.10999999999999</c:v>
                </c:pt>
                <c:pt idx="527">
                  <c:v>142.10999999999999</c:v>
                </c:pt>
                <c:pt idx="528">
                  <c:v>142.41</c:v>
                </c:pt>
                <c:pt idx="529">
                  <c:v>142.51</c:v>
                </c:pt>
                <c:pt idx="530">
                  <c:v>142.06</c:v>
                </c:pt>
                <c:pt idx="531">
                  <c:v>142.62</c:v>
                </c:pt>
                <c:pt idx="532">
                  <c:v>141.5</c:v>
                </c:pt>
                <c:pt idx="533">
                  <c:v>141.84</c:v>
                </c:pt>
                <c:pt idx="534">
                  <c:v>143.56</c:v>
                </c:pt>
                <c:pt idx="535">
                  <c:v>142.35000000000002</c:v>
                </c:pt>
                <c:pt idx="536">
                  <c:v>143.34</c:v>
                </c:pt>
                <c:pt idx="537">
                  <c:v>143.76999999999998</c:v>
                </c:pt>
                <c:pt idx="538">
                  <c:v>145.57</c:v>
                </c:pt>
                <c:pt idx="539">
                  <c:v>145.68</c:v>
                </c:pt>
                <c:pt idx="540">
                  <c:v>144.94</c:v>
                </c:pt>
                <c:pt idx="541">
                  <c:v>145.31</c:v>
                </c:pt>
                <c:pt idx="542">
                  <c:v>145.53</c:v>
                </c:pt>
                <c:pt idx="543">
                  <c:v>145.31</c:v>
                </c:pt>
                <c:pt idx="544">
                  <c:v>144.99</c:v>
                </c:pt>
                <c:pt idx="545">
                  <c:v>142.63999999999999</c:v>
                </c:pt>
                <c:pt idx="546">
                  <c:v>142.93</c:v>
                </c:pt>
                <c:pt idx="547">
                  <c:v>142.59</c:v>
                </c:pt>
                <c:pt idx="548">
                  <c:v>143.47999999999999</c:v>
                </c:pt>
                <c:pt idx="549">
                  <c:v>142.97999999999999</c:v>
                </c:pt>
                <c:pt idx="550">
                  <c:v>143.57</c:v>
                </c:pt>
                <c:pt idx="551">
                  <c:v>143.22</c:v>
                </c:pt>
                <c:pt idx="552">
                  <c:v>142.87</c:v>
                </c:pt>
                <c:pt idx="553">
                  <c:v>142.52000000000001</c:v>
                </c:pt>
                <c:pt idx="554">
                  <c:v>144.57</c:v>
                </c:pt>
                <c:pt idx="555">
                  <c:v>143.46</c:v>
                </c:pt>
                <c:pt idx="556">
                  <c:v>142.85000000000002</c:v>
                </c:pt>
                <c:pt idx="557">
                  <c:v>144.07</c:v>
                </c:pt>
                <c:pt idx="558">
                  <c:v>144.72</c:v>
                </c:pt>
                <c:pt idx="559">
                  <c:v>144.16999999999999</c:v>
                </c:pt>
                <c:pt idx="560">
                  <c:v>143.6</c:v>
                </c:pt>
                <c:pt idx="561">
                  <c:v>142.44999999999999</c:v>
                </c:pt>
                <c:pt idx="562">
                  <c:v>141.80000000000001</c:v>
                </c:pt>
                <c:pt idx="563">
                  <c:v>141.66999999999999</c:v>
                </c:pt>
                <c:pt idx="564">
                  <c:v>140.13999999999999</c:v>
                </c:pt>
                <c:pt idx="565">
                  <c:v>140.84</c:v>
                </c:pt>
                <c:pt idx="566">
                  <c:v>141.13</c:v>
                </c:pt>
                <c:pt idx="567">
                  <c:v>140.84</c:v>
                </c:pt>
                <c:pt idx="568">
                  <c:v>139.72999999999999</c:v>
                </c:pt>
                <c:pt idx="569">
                  <c:v>139.1</c:v>
                </c:pt>
                <c:pt idx="570">
                  <c:v>138.05000000000001</c:v>
                </c:pt>
                <c:pt idx="571">
                  <c:v>138.51</c:v>
                </c:pt>
                <c:pt idx="572">
                  <c:v>138.03</c:v>
                </c:pt>
                <c:pt idx="573">
                  <c:v>136.25</c:v>
                </c:pt>
                <c:pt idx="574">
                  <c:v>135.58000000000001</c:v>
                </c:pt>
                <c:pt idx="575">
                  <c:v>135.19</c:v>
                </c:pt>
                <c:pt idx="576">
                  <c:v>134.31</c:v>
                </c:pt>
                <c:pt idx="577">
                  <c:v>134.49</c:v>
                </c:pt>
                <c:pt idx="578">
                  <c:v>135</c:v>
                </c:pt>
                <c:pt idx="579">
                  <c:v>133.60999999999999</c:v>
                </c:pt>
                <c:pt idx="580">
                  <c:v>132.26</c:v>
                </c:pt>
                <c:pt idx="581">
                  <c:v>128.16999999999999</c:v>
                </c:pt>
                <c:pt idx="582">
                  <c:v>131.55000000000001</c:v>
                </c:pt>
                <c:pt idx="583">
                  <c:v>131.01</c:v>
                </c:pt>
                <c:pt idx="584">
                  <c:v>128.73999999999998</c:v>
                </c:pt>
                <c:pt idx="585">
                  <c:v>125.92</c:v>
                </c:pt>
                <c:pt idx="586">
                  <c:v>125.93</c:v>
                </c:pt>
                <c:pt idx="587">
                  <c:v>124.17999999999999</c:v>
                </c:pt>
                <c:pt idx="588">
                  <c:v>125.57</c:v>
                </c:pt>
                <c:pt idx="589">
                  <c:v>123.49000000000001</c:v>
                </c:pt>
                <c:pt idx="590">
                  <c:v>123.23</c:v>
                </c:pt>
                <c:pt idx="591">
                  <c:v>125.25</c:v>
                </c:pt>
                <c:pt idx="592">
                  <c:v>125.92</c:v>
                </c:pt>
                <c:pt idx="593">
                  <c:v>124.29</c:v>
                </c:pt>
                <c:pt idx="594">
                  <c:v>122.03</c:v>
                </c:pt>
                <c:pt idx="595">
                  <c:v>122.9</c:v>
                </c:pt>
                <c:pt idx="596">
                  <c:v>125.99000000000001</c:v>
                </c:pt>
                <c:pt idx="597">
                  <c:v>126.27</c:v>
                </c:pt>
                <c:pt idx="598">
                  <c:v>125.06</c:v>
                </c:pt>
                <c:pt idx="599">
                  <c:v>123.35</c:v>
                </c:pt>
                <c:pt idx="600">
                  <c:v>119.95</c:v>
                </c:pt>
                <c:pt idx="601">
                  <c:v>118.98</c:v>
                </c:pt>
                <c:pt idx="602">
                  <c:v>113.59</c:v>
                </c:pt>
                <c:pt idx="603">
                  <c:v>112.93</c:v>
                </c:pt>
                <c:pt idx="604">
                  <c:v>114.76</c:v>
                </c:pt>
                <c:pt idx="605">
                  <c:v>117.03</c:v>
                </c:pt>
                <c:pt idx="606">
                  <c:v>113.55</c:v>
                </c:pt>
                <c:pt idx="607">
                  <c:v>110.81</c:v>
                </c:pt>
                <c:pt idx="608">
                  <c:v>110.1</c:v>
                </c:pt>
                <c:pt idx="609">
                  <c:v>107.91000000000001</c:v>
                </c:pt>
                <c:pt idx="610">
                  <c:v>111.03</c:v>
                </c:pt>
                <c:pt idx="611">
                  <c:v>109.94000000000001</c:v>
                </c:pt>
                <c:pt idx="612">
                  <c:v>113.61999999999999</c:v>
                </c:pt>
                <c:pt idx="613">
                  <c:v>114.02</c:v>
                </c:pt>
                <c:pt idx="614">
                  <c:v>114.95</c:v>
                </c:pt>
                <c:pt idx="615">
                  <c:v>110.77</c:v>
                </c:pt>
                <c:pt idx="616">
                  <c:v>111.93</c:v>
                </c:pt>
                <c:pt idx="617">
                  <c:v>109.81</c:v>
                </c:pt>
                <c:pt idx="618">
                  <c:v>112.79</c:v>
                </c:pt>
                <c:pt idx="619">
                  <c:v>111.92</c:v>
                </c:pt>
                <c:pt idx="620">
                  <c:v>115.1</c:v>
                </c:pt>
                <c:pt idx="621">
                  <c:v>115.61</c:v>
                </c:pt>
                <c:pt idx="622">
                  <c:v>114.27</c:v>
                </c:pt>
                <c:pt idx="623">
                  <c:v>115.26</c:v>
                </c:pt>
                <c:pt idx="624">
                  <c:v>114.16</c:v>
                </c:pt>
                <c:pt idx="625">
                  <c:v>115.59</c:v>
                </c:pt>
                <c:pt idx="626">
                  <c:v>115.71000000000001</c:v>
                </c:pt>
                <c:pt idx="627">
                  <c:v>118.39</c:v>
                </c:pt>
                <c:pt idx="628">
                  <c:v>116.78</c:v>
                </c:pt>
                <c:pt idx="629">
                  <c:v>117.83</c:v>
                </c:pt>
                <c:pt idx="630">
                  <c:v>119.75</c:v>
                </c:pt>
                <c:pt idx="631">
                  <c:v>118.64</c:v>
                </c:pt>
                <c:pt idx="632">
                  <c:v>118.7</c:v>
                </c:pt>
                <c:pt idx="633">
                  <c:v>120.16999999999999</c:v>
                </c:pt>
                <c:pt idx="634">
                  <c:v>117.66</c:v>
                </c:pt>
                <c:pt idx="635">
                  <c:v>116.44000000000001</c:v>
                </c:pt>
                <c:pt idx="636">
                  <c:v>117.54</c:v>
                </c:pt>
                <c:pt idx="637">
                  <c:v>116.31</c:v>
                </c:pt>
                <c:pt idx="638">
                  <c:v>113.61</c:v>
                </c:pt>
                <c:pt idx="639">
                  <c:v>114.95</c:v>
                </c:pt>
                <c:pt idx="640">
                  <c:v>114.33</c:v>
                </c:pt>
                <c:pt idx="641">
                  <c:v>116.44000000000001</c:v>
                </c:pt>
                <c:pt idx="642">
                  <c:v>115.95</c:v>
                </c:pt>
                <c:pt idx="643">
                  <c:v>118.93</c:v>
                </c:pt>
                <c:pt idx="644">
                  <c:v>119.88</c:v>
                </c:pt>
                <c:pt idx="645">
                  <c:v>116.9</c:v>
                </c:pt>
                <c:pt idx="646">
                  <c:v>115.27</c:v>
                </c:pt>
                <c:pt idx="647">
                  <c:v>115.1</c:v>
                </c:pt>
                <c:pt idx="648">
                  <c:v>114.51</c:v>
                </c:pt>
                <c:pt idx="649">
                  <c:v>111</c:v>
                </c:pt>
                <c:pt idx="650">
                  <c:v>109.52</c:v>
                </c:pt>
                <c:pt idx="651">
                  <c:v>110.11</c:v>
                </c:pt>
                <c:pt idx="652">
                  <c:v>107</c:v>
                </c:pt>
                <c:pt idx="653">
                  <c:v>104.36</c:v>
                </c:pt>
                <c:pt idx="654">
                  <c:v>106.61999999999999</c:v>
                </c:pt>
                <c:pt idx="655">
                  <c:v>109.82</c:v>
                </c:pt>
                <c:pt idx="656">
                  <c:v>110.53</c:v>
                </c:pt>
                <c:pt idx="657">
                  <c:v>106.75</c:v>
                </c:pt>
                <c:pt idx="658">
                  <c:v>107.38</c:v>
                </c:pt>
                <c:pt idx="659">
                  <c:v>109.2</c:v>
                </c:pt>
                <c:pt idx="660">
                  <c:v>109.07</c:v>
                </c:pt>
                <c:pt idx="661">
                  <c:v>107.77</c:v>
                </c:pt>
                <c:pt idx="662">
                  <c:v>106.45</c:v>
                </c:pt>
                <c:pt idx="663">
                  <c:v>105.39</c:v>
                </c:pt>
                <c:pt idx="664">
                  <c:v>104.49000000000001</c:v>
                </c:pt>
                <c:pt idx="665">
                  <c:v>104.75</c:v>
                </c:pt>
                <c:pt idx="666">
                  <c:v>109.61</c:v>
                </c:pt>
                <c:pt idx="667">
                  <c:v>107.95</c:v>
                </c:pt>
                <c:pt idx="668">
                  <c:v>113.36</c:v>
                </c:pt>
                <c:pt idx="669">
                  <c:v>112.41000000000001</c:v>
                </c:pt>
                <c:pt idx="670">
                  <c:v>115.55</c:v>
                </c:pt>
                <c:pt idx="671">
                  <c:v>115.35</c:v>
                </c:pt>
                <c:pt idx="672">
                  <c:v>116.25</c:v>
                </c:pt>
                <c:pt idx="673">
                  <c:v>115.72</c:v>
                </c:pt>
                <c:pt idx="674">
                  <c:v>113.52</c:v>
                </c:pt>
                <c:pt idx="675">
                  <c:v>116.57</c:v>
                </c:pt>
                <c:pt idx="676">
                  <c:v>115.64</c:v>
                </c:pt>
                <c:pt idx="677">
                  <c:v>116.58</c:v>
                </c:pt>
                <c:pt idx="678">
                  <c:v>113.04</c:v>
                </c:pt>
                <c:pt idx="679">
                  <c:v>114.05</c:v>
                </c:pt>
                <c:pt idx="680">
                  <c:v>114.8</c:v>
                </c:pt>
                <c:pt idx="681">
                  <c:v>112.73</c:v>
                </c:pt>
                <c:pt idx="682">
                  <c:v>116.44000000000001</c:v>
                </c:pt>
                <c:pt idx="683">
                  <c:v>117.16</c:v>
                </c:pt>
                <c:pt idx="684">
                  <c:v>116.54</c:v>
                </c:pt>
                <c:pt idx="685">
                  <c:v>115.94000000000001</c:v>
                </c:pt>
                <c:pt idx="686">
                  <c:v>114.79</c:v>
                </c:pt>
                <c:pt idx="687">
                  <c:v>113.97</c:v>
                </c:pt>
                <c:pt idx="688">
                  <c:v>115.24000000000001</c:v>
                </c:pt>
                <c:pt idx="689">
                  <c:v>113.76</c:v>
                </c:pt>
                <c:pt idx="690">
                  <c:v>114.24000000000001</c:v>
                </c:pt>
                <c:pt idx="691">
                  <c:v>114.92</c:v>
                </c:pt>
                <c:pt idx="692">
                  <c:v>116.03</c:v>
                </c:pt>
                <c:pt idx="693">
                  <c:v>115.7</c:v>
                </c:pt>
                <c:pt idx="694">
                  <c:v>115.1</c:v>
                </c:pt>
                <c:pt idx="695">
                  <c:v>118.02</c:v>
                </c:pt>
                <c:pt idx="696">
                  <c:v>118.92</c:v>
                </c:pt>
                <c:pt idx="697">
                  <c:v>117.43</c:v>
                </c:pt>
                <c:pt idx="698">
                  <c:v>115.06</c:v>
                </c:pt>
                <c:pt idx="699">
                  <c:v>117.57</c:v>
                </c:pt>
                <c:pt idx="700">
                  <c:v>118.9</c:v>
                </c:pt>
                <c:pt idx="701">
                  <c:v>119.38</c:v>
                </c:pt>
                <c:pt idx="702">
                  <c:v>119.16999999999999</c:v>
                </c:pt>
                <c:pt idx="703">
                  <c:v>117.88</c:v>
                </c:pt>
                <c:pt idx="704">
                  <c:v>116.7</c:v>
                </c:pt>
                <c:pt idx="705">
                  <c:v>116.22</c:v>
                </c:pt>
                <c:pt idx="706">
                  <c:v>115.26</c:v>
                </c:pt>
                <c:pt idx="707">
                  <c:v>113.45</c:v>
                </c:pt>
                <c:pt idx="708">
                  <c:v>112.27</c:v>
                </c:pt>
                <c:pt idx="709">
                  <c:v>114.14</c:v>
                </c:pt>
                <c:pt idx="710">
                  <c:v>112.11999999999999</c:v>
                </c:pt>
                <c:pt idx="711">
                  <c:v>111.51</c:v>
                </c:pt>
                <c:pt idx="712">
                  <c:v>113.51</c:v>
                </c:pt>
                <c:pt idx="713">
                  <c:v>112.24000000000001</c:v>
                </c:pt>
                <c:pt idx="714">
                  <c:v>110.67999999999999</c:v>
                </c:pt>
                <c:pt idx="715">
                  <c:v>110.41000000000001</c:v>
                </c:pt>
                <c:pt idx="716">
                  <c:v>111.36</c:v>
                </c:pt>
                <c:pt idx="717">
                  <c:v>111.11999999999999</c:v>
                </c:pt>
                <c:pt idx="718">
                  <c:v>110.81</c:v>
                </c:pt>
                <c:pt idx="719">
                  <c:v>110.81</c:v>
                </c:pt>
                <c:pt idx="720">
                  <c:v>110.81</c:v>
                </c:pt>
                <c:pt idx="721">
                  <c:v>107.95</c:v>
                </c:pt>
                <c:pt idx="722">
                  <c:v>109.47</c:v>
                </c:pt>
                <c:pt idx="723">
                  <c:v>110.42</c:v>
                </c:pt>
                <c:pt idx="724">
                  <c:v>110.42</c:v>
                </c:pt>
                <c:pt idx="725">
                  <c:v>113.49000000000001</c:v>
                </c:pt>
                <c:pt idx="726">
                  <c:v>113.4</c:v>
                </c:pt>
                <c:pt idx="727">
                  <c:v>112.72</c:v>
                </c:pt>
                <c:pt idx="728">
                  <c:v>111.98</c:v>
                </c:pt>
                <c:pt idx="729">
                  <c:v>110.41000000000001</c:v>
                </c:pt>
                <c:pt idx="730">
                  <c:v>110.73</c:v>
                </c:pt>
                <c:pt idx="731">
                  <c:v>111.01</c:v>
                </c:pt>
                <c:pt idx="732">
                  <c:v>110.4</c:v>
                </c:pt>
                <c:pt idx="733">
                  <c:v>110.66999999999999</c:v>
                </c:pt>
                <c:pt idx="734">
                  <c:v>109.33</c:v>
                </c:pt>
                <c:pt idx="735">
                  <c:v>109.36999999999999</c:v>
                </c:pt>
                <c:pt idx="736">
                  <c:v>107.72</c:v>
                </c:pt>
                <c:pt idx="737">
                  <c:v>106.89</c:v>
                </c:pt>
                <c:pt idx="738">
                  <c:v>105.88</c:v>
                </c:pt>
                <c:pt idx="739">
                  <c:v>104.16999999999999</c:v>
                </c:pt>
                <c:pt idx="740">
                  <c:v>103.44000000000001</c:v>
                </c:pt>
                <c:pt idx="741">
                  <c:v>103.05</c:v>
                </c:pt>
                <c:pt idx="742">
                  <c:v>99.490000000000009</c:v>
                </c:pt>
                <c:pt idx="743">
                  <c:v>99.58</c:v>
                </c:pt>
                <c:pt idx="744">
                  <c:v>98.59</c:v>
                </c:pt>
                <c:pt idx="745">
                  <c:v>101.39</c:v>
                </c:pt>
                <c:pt idx="746">
                  <c:v>101.25</c:v>
                </c:pt>
                <c:pt idx="747">
                  <c:v>103.46000000000001</c:v>
                </c:pt>
                <c:pt idx="748">
                  <c:v>100.59</c:v>
                </c:pt>
                <c:pt idx="749">
                  <c:v>103</c:v>
                </c:pt>
                <c:pt idx="750">
                  <c:v>100.86</c:v>
                </c:pt>
                <c:pt idx="751">
                  <c:v>100.22</c:v>
                </c:pt>
                <c:pt idx="752">
                  <c:v>100.22</c:v>
                </c:pt>
                <c:pt idx="753">
                  <c:v>101.2</c:v>
                </c:pt>
                <c:pt idx="754">
                  <c:v>99.93</c:v>
                </c:pt>
                <c:pt idx="755">
                  <c:v>99.16</c:v>
                </c:pt>
                <c:pt idx="756">
                  <c:v>99.23</c:v>
                </c:pt>
                <c:pt idx="757">
                  <c:v>100.81</c:v>
                </c:pt>
                <c:pt idx="758">
                  <c:v>101.95</c:v>
                </c:pt>
                <c:pt idx="759">
                  <c:v>100.71000000000001</c:v>
                </c:pt>
                <c:pt idx="760">
                  <c:v>99.23</c:v>
                </c:pt>
                <c:pt idx="761">
                  <c:v>99.79</c:v>
                </c:pt>
                <c:pt idx="762">
                  <c:v>99.56</c:v>
                </c:pt>
                <c:pt idx="763">
                  <c:v>95.72</c:v>
                </c:pt>
                <c:pt idx="764">
                  <c:v>95.240000000000009</c:v>
                </c:pt>
                <c:pt idx="765">
                  <c:v>95.14</c:v>
                </c:pt>
                <c:pt idx="766">
                  <c:v>96.940000000000012</c:v>
                </c:pt>
                <c:pt idx="767">
                  <c:v>97.210000000000008</c:v>
                </c:pt>
                <c:pt idx="768">
                  <c:v>95.58</c:v>
                </c:pt>
                <c:pt idx="769">
                  <c:v>94.26</c:v>
                </c:pt>
                <c:pt idx="770">
                  <c:v>93.86999999999999</c:v>
                </c:pt>
                <c:pt idx="771">
                  <c:v>92.04</c:v>
                </c:pt>
                <c:pt idx="772">
                  <c:v>90.8</c:v>
                </c:pt>
                <c:pt idx="773">
                  <c:v>91.26</c:v>
                </c:pt>
                <c:pt idx="774">
                  <c:v>88.8</c:v>
                </c:pt>
                <c:pt idx="775">
                  <c:v>94.2</c:v>
                </c:pt>
                <c:pt idx="776">
                  <c:v>96.55</c:v>
                </c:pt>
                <c:pt idx="777">
                  <c:v>99.32</c:v>
                </c:pt>
                <c:pt idx="778">
                  <c:v>100.54</c:v>
                </c:pt>
                <c:pt idx="779">
                  <c:v>101.95</c:v>
                </c:pt>
                <c:pt idx="780">
                  <c:v>101.26</c:v>
                </c:pt>
                <c:pt idx="781">
                  <c:v>104.28</c:v>
                </c:pt>
                <c:pt idx="782">
                  <c:v>99.83</c:v>
                </c:pt>
                <c:pt idx="783">
                  <c:v>100.66</c:v>
                </c:pt>
                <c:pt idx="784">
                  <c:v>100.29</c:v>
                </c:pt>
                <c:pt idx="785">
                  <c:v>98.85</c:v>
                </c:pt>
                <c:pt idx="786">
                  <c:v>98.19</c:v>
                </c:pt>
                <c:pt idx="787">
                  <c:v>95.149999999999991</c:v>
                </c:pt>
                <c:pt idx="788">
                  <c:v>96.11</c:v>
                </c:pt>
                <c:pt idx="789">
                  <c:v>100.02</c:v>
                </c:pt>
                <c:pt idx="790">
                  <c:v>100.77</c:v>
                </c:pt>
                <c:pt idx="791">
                  <c:v>102.59</c:v>
                </c:pt>
                <c:pt idx="792">
                  <c:v>106.92</c:v>
                </c:pt>
                <c:pt idx="793">
                  <c:v>105</c:v>
                </c:pt>
                <c:pt idx="794">
                  <c:v>104.78</c:v>
                </c:pt>
                <c:pt idx="795">
                  <c:v>103.16999999999999</c:v>
                </c:pt>
                <c:pt idx="796">
                  <c:v>104.8</c:v>
                </c:pt>
                <c:pt idx="797">
                  <c:v>105.76</c:v>
                </c:pt>
                <c:pt idx="798">
                  <c:v>107.92</c:v>
                </c:pt>
                <c:pt idx="799">
                  <c:v>107.01</c:v>
                </c:pt>
                <c:pt idx="800">
                  <c:v>107.67999999999999</c:v>
                </c:pt>
                <c:pt idx="801">
                  <c:v>107.67999999999999</c:v>
                </c:pt>
                <c:pt idx="802">
                  <c:v>107.67999999999999</c:v>
                </c:pt>
                <c:pt idx="803">
                  <c:v>108.78</c:v>
                </c:pt>
                <c:pt idx="804">
                  <c:v>110.24000000000001</c:v>
                </c:pt>
                <c:pt idx="805">
                  <c:v>108.6</c:v>
                </c:pt>
                <c:pt idx="806">
                  <c:v>107</c:v>
                </c:pt>
                <c:pt idx="807">
                  <c:v>109.98</c:v>
                </c:pt>
                <c:pt idx="808">
                  <c:v>110.07</c:v>
                </c:pt>
                <c:pt idx="809">
                  <c:v>110.19</c:v>
                </c:pt>
                <c:pt idx="810">
                  <c:v>109.83</c:v>
                </c:pt>
                <c:pt idx="811">
                  <c:v>110.38</c:v>
                </c:pt>
                <c:pt idx="812">
                  <c:v>111.61</c:v>
                </c:pt>
                <c:pt idx="813">
                  <c:v>113.74000000000001</c:v>
                </c:pt>
                <c:pt idx="814">
                  <c:v>112.14999999999999</c:v>
                </c:pt>
                <c:pt idx="815">
                  <c:v>109.14</c:v>
                </c:pt>
                <c:pt idx="816">
                  <c:v>110.48</c:v>
                </c:pt>
                <c:pt idx="817">
                  <c:v>110.4</c:v>
                </c:pt>
                <c:pt idx="818">
                  <c:v>110.44000000000001</c:v>
                </c:pt>
                <c:pt idx="819">
                  <c:v>111.1</c:v>
                </c:pt>
                <c:pt idx="820">
                  <c:v>112.82</c:v>
                </c:pt>
                <c:pt idx="821">
                  <c:v>113.11999999999999</c:v>
                </c:pt>
                <c:pt idx="822">
                  <c:v>109.08</c:v>
                </c:pt>
                <c:pt idx="823">
                  <c:v>109.58</c:v>
                </c:pt>
                <c:pt idx="824">
                  <c:v>107.96000000000001</c:v>
                </c:pt>
                <c:pt idx="825">
                  <c:v>109.3</c:v>
                </c:pt>
                <c:pt idx="826">
                  <c:v>109.06</c:v>
                </c:pt>
                <c:pt idx="827">
                  <c:v>108.86999999999999</c:v>
                </c:pt>
                <c:pt idx="828">
                  <c:v>109.38</c:v>
                </c:pt>
                <c:pt idx="829">
                  <c:v>111.73</c:v>
                </c:pt>
                <c:pt idx="830">
                  <c:v>112.16</c:v>
                </c:pt>
                <c:pt idx="831">
                  <c:v>114.13</c:v>
                </c:pt>
                <c:pt idx="832">
                  <c:v>115.92</c:v>
                </c:pt>
                <c:pt idx="833">
                  <c:v>114.56</c:v>
                </c:pt>
                <c:pt idx="834">
                  <c:v>115.61</c:v>
                </c:pt>
                <c:pt idx="835">
                  <c:v>115.54</c:v>
                </c:pt>
                <c:pt idx="836">
                  <c:v>118.28</c:v>
                </c:pt>
                <c:pt idx="837">
                  <c:v>117.3</c:v>
                </c:pt>
                <c:pt idx="838">
                  <c:v>117.19</c:v>
                </c:pt>
                <c:pt idx="839">
                  <c:v>118.75</c:v>
                </c:pt>
                <c:pt idx="840">
                  <c:v>119.47</c:v>
                </c:pt>
                <c:pt idx="841">
                  <c:v>117.86999999999999</c:v>
                </c:pt>
                <c:pt idx="842">
                  <c:v>120.14999999999999</c:v>
                </c:pt>
                <c:pt idx="843">
                  <c:v>121.45</c:v>
                </c:pt>
                <c:pt idx="844">
                  <c:v>122.09</c:v>
                </c:pt>
                <c:pt idx="845">
                  <c:v>120.13</c:v>
                </c:pt>
                <c:pt idx="846">
                  <c:v>120.45</c:v>
                </c:pt>
                <c:pt idx="847">
                  <c:v>118.84</c:v>
                </c:pt>
                <c:pt idx="848">
                  <c:v>118.14999999999999</c:v>
                </c:pt>
                <c:pt idx="849">
                  <c:v>120.02</c:v>
                </c:pt>
                <c:pt idx="850">
                  <c:v>119.63</c:v>
                </c:pt>
                <c:pt idx="851">
                  <c:v>119.36</c:v>
                </c:pt>
                <c:pt idx="852">
                  <c:v>118.44000000000001</c:v>
                </c:pt>
                <c:pt idx="853">
                  <c:v>115.81</c:v>
                </c:pt>
                <c:pt idx="854">
                  <c:v>117.74000000000001</c:v>
                </c:pt>
                <c:pt idx="855">
                  <c:v>118.29</c:v>
                </c:pt>
                <c:pt idx="856">
                  <c:v>118.08</c:v>
                </c:pt>
                <c:pt idx="857">
                  <c:v>121.25</c:v>
                </c:pt>
                <c:pt idx="858">
                  <c:v>120.92</c:v>
                </c:pt>
                <c:pt idx="859">
                  <c:v>120.63</c:v>
                </c:pt>
                <c:pt idx="860">
                  <c:v>119.77</c:v>
                </c:pt>
                <c:pt idx="861">
                  <c:v>121.43</c:v>
                </c:pt>
                <c:pt idx="862">
                  <c:v>122.89</c:v>
                </c:pt>
                <c:pt idx="863">
                  <c:v>122.53</c:v>
                </c:pt>
                <c:pt idx="864">
                  <c:v>121.61</c:v>
                </c:pt>
                <c:pt idx="865">
                  <c:v>120.61</c:v>
                </c:pt>
                <c:pt idx="866">
                  <c:v>120.48</c:v>
                </c:pt>
                <c:pt idx="867">
                  <c:v>120.13</c:v>
                </c:pt>
                <c:pt idx="868">
                  <c:v>120.31</c:v>
                </c:pt>
                <c:pt idx="869">
                  <c:v>119.85</c:v>
                </c:pt>
                <c:pt idx="870">
                  <c:v>121.45</c:v>
                </c:pt>
                <c:pt idx="871">
                  <c:v>121.31</c:v>
                </c:pt>
                <c:pt idx="872">
                  <c:v>121.72</c:v>
                </c:pt>
                <c:pt idx="873">
                  <c:v>122</c:v>
                </c:pt>
                <c:pt idx="874">
                  <c:v>123.01</c:v>
                </c:pt>
                <c:pt idx="875">
                  <c:v>124.03</c:v>
                </c:pt>
                <c:pt idx="876">
                  <c:v>123.11999999999999</c:v>
                </c:pt>
                <c:pt idx="877">
                  <c:v>122.06</c:v>
                </c:pt>
                <c:pt idx="878">
                  <c:v>122.59</c:v>
                </c:pt>
                <c:pt idx="879">
                  <c:v>121.22</c:v>
                </c:pt>
                <c:pt idx="880">
                  <c:v>122.03</c:v>
                </c:pt>
                <c:pt idx="881">
                  <c:v>122.95</c:v>
                </c:pt>
                <c:pt idx="882">
                  <c:v>123.1</c:v>
                </c:pt>
                <c:pt idx="883">
                  <c:v>123.6</c:v>
                </c:pt>
                <c:pt idx="884">
                  <c:v>124.22</c:v>
                </c:pt>
                <c:pt idx="885">
                  <c:v>125.76</c:v>
                </c:pt>
                <c:pt idx="886">
                  <c:v>126.05</c:v>
                </c:pt>
                <c:pt idx="887">
                  <c:v>127.44000000000001</c:v>
                </c:pt>
                <c:pt idx="888">
                  <c:v>127.95</c:v>
                </c:pt>
                <c:pt idx="889">
                  <c:v>128.16</c:v>
                </c:pt>
                <c:pt idx="890">
                  <c:v>129.22999999999999</c:v>
                </c:pt>
                <c:pt idx="891">
                  <c:v>129.85000000000002</c:v>
                </c:pt>
                <c:pt idx="892">
                  <c:v>129.1</c:v>
                </c:pt>
                <c:pt idx="893">
                  <c:v>127.75</c:v>
                </c:pt>
                <c:pt idx="894">
                  <c:v>128.53</c:v>
                </c:pt>
                <c:pt idx="895">
                  <c:v>128.5</c:v>
                </c:pt>
                <c:pt idx="896">
                  <c:v>126.04</c:v>
                </c:pt>
                <c:pt idx="897">
                  <c:v>127.11</c:v>
                </c:pt>
                <c:pt idx="898">
                  <c:v>128.34</c:v>
                </c:pt>
                <c:pt idx="899">
                  <c:v>129.22</c:v>
                </c:pt>
                <c:pt idx="900">
                  <c:v>128.59</c:v>
                </c:pt>
                <c:pt idx="901">
                  <c:v>127.35</c:v>
                </c:pt>
                <c:pt idx="902">
                  <c:v>127.07</c:v>
                </c:pt>
                <c:pt idx="903">
                  <c:v>125.39</c:v>
                </c:pt>
                <c:pt idx="904">
                  <c:v>124.97</c:v>
                </c:pt>
                <c:pt idx="905">
                  <c:v>125.34</c:v>
                </c:pt>
                <c:pt idx="906">
                  <c:v>124.7</c:v>
                </c:pt>
                <c:pt idx="907">
                  <c:v>125.01</c:v>
                </c:pt>
                <c:pt idx="908">
                  <c:v>125.89</c:v>
                </c:pt>
                <c:pt idx="909">
                  <c:v>126.19</c:v>
                </c:pt>
                <c:pt idx="910">
                  <c:v>127.45</c:v>
                </c:pt>
                <c:pt idx="911">
                  <c:v>126.84</c:v>
                </c:pt>
                <c:pt idx="912">
                  <c:v>126.08</c:v>
                </c:pt>
                <c:pt idx="913">
                  <c:v>125.73</c:v>
                </c:pt>
                <c:pt idx="914">
                  <c:v>126.06</c:v>
                </c:pt>
                <c:pt idx="915">
                  <c:v>124.53</c:v>
                </c:pt>
                <c:pt idx="916">
                  <c:v>123.52</c:v>
                </c:pt>
                <c:pt idx="917">
                  <c:v>122.96000000000001</c:v>
                </c:pt>
                <c:pt idx="918">
                  <c:v>120.66999999999999</c:v>
                </c:pt>
                <c:pt idx="919">
                  <c:v>121.56</c:v>
                </c:pt>
                <c:pt idx="920">
                  <c:v>122.84</c:v>
                </c:pt>
                <c:pt idx="921">
                  <c:v>125.19</c:v>
                </c:pt>
                <c:pt idx="922">
                  <c:v>125.59</c:v>
                </c:pt>
                <c:pt idx="923">
                  <c:v>124.63</c:v>
                </c:pt>
                <c:pt idx="924">
                  <c:v>124.66</c:v>
                </c:pt>
                <c:pt idx="925">
                  <c:v>126.33</c:v>
                </c:pt>
                <c:pt idx="926">
                  <c:v>125.24000000000001</c:v>
                </c:pt>
                <c:pt idx="927">
                  <c:v>127.86999999999999</c:v>
                </c:pt>
                <c:pt idx="928">
                  <c:v>127.33</c:v>
                </c:pt>
                <c:pt idx="929">
                  <c:v>129.54</c:v>
                </c:pt>
                <c:pt idx="930">
                  <c:v>129.91999999999999</c:v>
                </c:pt>
                <c:pt idx="931">
                  <c:v>129.70999999999998</c:v>
                </c:pt>
                <c:pt idx="932">
                  <c:v>129.38000000000002</c:v>
                </c:pt>
                <c:pt idx="933">
                  <c:v>129.47</c:v>
                </c:pt>
                <c:pt idx="934">
                  <c:v>127.22</c:v>
                </c:pt>
                <c:pt idx="935">
                  <c:v>126.38</c:v>
                </c:pt>
                <c:pt idx="936">
                  <c:v>126.33</c:v>
                </c:pt>
                <c:pt idx="937">
                  <c:v>127.56</c:v>
                </c:pt>
                <c:pt idx="938">
                  <c:v>128.93</c:v>
                </c:pt>
                <c:pt idx="939">
                  <c:v>129.97999999999999</c:v>
                </c:pt>
                <c:pt idx="940">
                  <c:v>131.18</c:v>
                </c:pt>
                <c:pt idx="941">
                  <c:v>131.99</c:v>
                </c:pt>
                <c:pt idx="942">
                  <c:v>133.33000000000001</c:v>
                </c:pt>
                <c:pt idx="943">
                  <c:v>132.86000000000001</c:v>
                </c:pt>
                <c:pt idx="944">
                  <c:v>132.73999999999998</c:v>
                </c:pt>
                <c:pt idx="945">
                  <c:v>132.86000000000001</c:v>
                </c:pt>
                <c:pt idx="946">
                  <c:v>133.66</c:v>
                </c:pt>
                <c:pt idx="947">
                  <c:v>132.94999999999999</c:v>
                </c:pt>
                <c:pt idx="948">
                  <c:v>132.22999999999999</c:v>
                </c:pt>
                <c:pt idx="949">
                  <c:v>132.25</c:v>
                </c:pt>
                <c:pt idx="950">
                  <c:v>132.16999999999999</c:v>
                </c:pt>
                <c:pt idx="951">
                  <c:v>131.59</c:v>
                </c:pt>
                <c:pt idx="952">
                  <c:v>129.94999999999999</c:v>
                </c:pt>
                <c:pt idx="953">
                  <c:v>129.72</c:v>
                </c:pt>
                <c:pt idx="954">
                  <c:v>129.89000000000001</c:v>
                </c:pt>
                <c:pt idx="955">
                  <c:v>129.5</c:v>
                </c:pt>
                <c:pt idx="956">
                  <c:v>129.31</c:v>
                </c:pt>
                <c:pt idx="957">
                  <c:v>131.56</c:v>
                </c:pt>
                <c:pt idx="958">
                  <c:v>132</c:v>
                </c:pt>
                <c:pt idx="959">
                  <c:v>132.19999999999999</c:v>
                </c:pt>
                <c:pt idx="960">
                  <c:v>132.36000000000001</c:v>
                </c:pt>
                <c:pt idx="961">
                  <c:v>131.43</c:v>
                </c:pt>
                <c:pt idx="962">
                  <c:v>133.20999999999998</c:v>
                </c:pt>
                <c:pt idx="963">
                  <c:v>132.16</c:v>
                </c:pt>
                <c:pt idx="964">
                  <c:v>132.16</c:v>
                </c:pt>
                <c:pt idx="965">
                  <c:v>131.84</c:v>
                </c:pt>
                <c:pt idx="966">
                  <c:v>130.84</c:v>
                </c:pt>
                <c:pt idx="967">
                  <c:v>130.47999999999999</c:v>
                </c:pt>
                <c:pt idx="968">
                  <c:v>132.02000000000001</c:v>
                </c:pt>
                <c:pt idx="969">
                  <c:v>130.47</c:v>
                </c:pt>
                <c:pt idx="970">
                  <c:v>131.43</c:v>
                </c:pt>
                <c:pt idx="971">
                  <c:v>130.87</c:v>
                </c:pt>
                <c:pt idx="972">
                  <c:v>130.75</c:v>
                </c:pt>
                <c:pt idx="973">
                  <c:v>129.55000000000001</c:v>
                </c:pt>
                <c:pt idx="974">
                  <c:v>129.83000000000001</c:v>
                </c:pt>
                <c:pt idx="975">
                  <c:v>130.94</c:v>
                </c:pt>
                <c:pt idx="976">
                  <c:v>131.54</c:v>
                </c:pt>
                <c:pt idx="977">
                  <c:v>130.97999999999999</c:v>
                </c:pt>
                <c:pt idx="978">
                  <c:v>132.03</c:v>
                </c:pt>
                <c:pt idx="979">
                  <c:v>132.41999999999999</c:v>
                </c:pt>
                <c:pt idx="980">
                  <c:v>132.56</c:v>
                </c:pt>
                <c:pt idx="981">
                  <c:v>133.34</c:v>
                </c:pt>
                <c:pt idx="982">
                  <c:v>133.43</c:v>
                </c:pt>
                <c:pt idx="983">
                  <c:v>133.43</c:v>
                </c:pt>
                <c:pt idx="984">
                  <c:v>134.23999999999998</c:v>
                </c:pt>
                <c:pt idx="985">
                  <c:v>135.03</c:v>
                </c:pt>
                <c:pt idx="986">
                  <c:v>134.94</c:v>
                </c:pt>
                <c:pt idx="987">
                  <c:v>134.9</c:v>
                </c:pt>
                <c:pt idx="988">
                  <c:v>136.25</c:v>
                </c:pt>
                <c:pt idx="989">
                  <c:v>135.88000000000002</c:v>
                </c:pt>
                <c:pt idx="990">
                  <c:v>136.04</c:v>
                </c:pt>
                <c:pt idx="991">
                  <c:v>136.13</c:v>
                </c:pt>
                <c:pt idx="992">
                  <c:v>138.22</c:v>
                </c:pt>
                <c:pt idx="993">
                  <c:v>138.59</c:v>
                </c:pt>
                <c:pt idx="994">
                  <c:v>140.05000000000001</c:v>
                </c:pt>
                <c:pt idx="995">
                  <c:v>139.85000000000002</c:v>
                </c:pt>
                <c:pt idx="996">
                  <c:v>139.10999999999999</c:v>
                </c:pt>
                <c:pt idx="997">
                  <c:v>139.76</c:v>
                </c:pt>
                <c:pt idx="998">
                  <c:v>139.19</c:v>
                </c:pt>
                <c:pt idx="999">
                  <c:v>138.19</c:v>
                </c:pt>
                <c:pt idx="1000">
                  <c:v>137.9</c:v>
                </c:pt>
                <c:pt idx="1001">
                  <c:v>137.47999999999999</c:v>
                </c:pt>
                <c:pt idx="1002">
                  <c:v>139.19</c:v>
                </c:pt>
                <c:pt idx="1003">
                  <c:v>138.79</c:v>
                </c:pt>
                <c:pt idx="1004">
                  <c:v>138.52000000000001</c:v>
                </c:pt>
                <c:pt idx="1005">
                  <c:v>138.26</c:v>
                </c:pt>
                <c:pt idx="1006">
                  <c:v>138.29</c:v>
                </c:pt>
                <c:pt idx="1007">
                  <c:v>137.85000000000002</c:v>
                </c:pt>
                <c:pt idx="1008">
                  <c:v>137.49</c:v>
                </c:pt>
                <c:pt idx="1009">
                  <c:v>137.89000000000001</c:v>
                </c:pt>
                <c:pt idx="1010">
                  <c:v>140.04</c:v>
                </c:pt>
                <c:pt idx="1011">
                  <c:v>140.04</c:v>
                </c:pt>
                <c:pt idx="1012">
                  <c:v>140.72999999999999</c:v>
                </c:pt>
                <c:pt idx="1013">
                  <c:v>141.5</c:v>
                </c:pt>
                <c:pt idx="1014">
                  <c:v>141.81</c:v>
                </c:pt>
                <c:pt idx="1015">
                  <c:v>142.54</c:v>
                </c:pt>
                <c:pt idx="1016">
                  <c:v>144.46</c:v>
                </c:pt>
                <c:pt idx="1017">
                  <c:v>144.68</c:v>
                </c:pt>
                <c:pt idx="1018">
                  <c:v>147.04</c:v>
                </c:pt>
                <c:pt idx="1019">
                  <c:v>146.10999999999999</c:v>
                </c:pt>
                <c:pt idx="1020">
                  <c:v>145.9</c:v>
                </c:pt>
                <c:pt idx="1021">
                  <c:v>144.49</c:v>
                </c:pt>
                <c:pt idx="1022">
                  <c:v>146.12</c:v>
                </c:pt>
                <c:pt idx="1023">
                  <c:v>145.16</c:v>
                </c:pt>
                <c:pt idx="1024">
                  <c:v>144.63999999999999</c:v>
                </c:pt>
                <c:pt idx="1025">
                  <c:v>147.18</c:v>
                </c:pt>
                <c:pt idx="1026">
                  <c:v>148.09</c:v>
                </c:pt>
                <c:pt idx="1027">
                  <c:v>147.94999999999999</c:v>
                </c:pt>
                <c:pt idx="1028">
                  <c:v>148.47</c:v>
                </c:pt>
                <c:pt idx="1029">
                  <c:v>147.28</c:v>
                </c:pt>
                <c:pt idx="1030">
                  <c:v>148.29</c:v>
                </c:pt>
                <c:pt idx="1031">
                  <c:v>146.9</c:v>
                </c:pt>
                <c:pt idx="1032">
                  <c:v>145.33000000000001</c:v>
                </c:pt>
                <c:pt idx="1033">
                  <c:v>141.18</c:v>
                </c:pt>
                <c:pt idx="1034">
                  <c:v>142.16</c:v>
                </c:pt>
                <c:pt idx="1035">
                  <c:v>140.16999999999999</c:v>
                </c:pt>
                <c:pt idx="1036">
                  <c:v>140.34</c:v>
                </c:pt>
                <c:pt idx="1037">
                  <c:v>143.83000000000001</c:v>
                </c:pt>
                <c:pt idx="1038">
                  <c:v>142.1</c:v>
                </c:pt>
                <c:pt idx="1039">
                  <c:v>143.18</c:v>
                </c:pt>
                <c:pt idx="1040">
                  <c:v>140.82000000000002</c:v>
                </c:pt>
                <c:pt idx="1041">
                  <c:v>141.96</c:v>
                </c:pt>
                <c:pt idx="1042">
                  <c:v>141.57</c:v>
                </c:pt>
                <c:pt idx="1043">
                  <c:v>142.69999999999999</c:v>
                </c:pt>
                <c:pt idx="1044">
                  <c:v>142.65</c:v>
                </c:pt>
                <c:pt idx="1045">
                  <c:v>144.41</c:v>
                </c:pt>
                <c:pt idx="1046">
                  <c:v>144.16</c:v>
                </c:pt>
                <c:pt idx="1047">
                  <c:v>144.16</c:v>
                </c:pt>
                <c:pt idx="1048">
                  <c:v>145.53</c:v>
                </c:pt>
                <c:pt idx="1049">
                  <c:v>147.93</c:v>
                </c:pt>
                <c:pt idx="1050">
                  <c:v>148.96</c:v>
                </c:pt>
                <c:pt idx="1051">
                  <c:v>148.76</c:v>
                </c:pt>
                <c:pt idx="1052">
                  <c:v>148.69</c:v>
                </c:pt>
                <c:pt idx="1053">
                  <c:v>149.13999999999999</c:v>
                </c:pt>
                <c:pt idx="1054">
                  <c:v>150.72999999999999</c:v>
                </c:pt>
                <c:pt idx="1055">
                  <c:v>148.44</c:v>
                </c:pt>
                <c:pt idx="1056">
                  <c:v>147.91999999999999</c:v>
                </c:pt>
                <c:pt idx="1057">
                  <c:v>149.28</c:v>
                </c:pt>
                <c:pt idx="1058">
                  <c:v>149.96</c:v>
                </c:pt>
                <c:pt idx="1059">
                  <c:v>151.15</c:v>
                </c:pt>
                <c:pt idx="1060">
                  <c:v>150.07</c:v>
                </c:pt>
                <c:pt idx="1061">
                  <c:v>150.96</c:v>
                </c:pt>
                <c:pt idx="1062">
                  <c:v>151.44999999999999</c:v>
                </c:pt>
                <c:pt idx="1063">
                  <c:v>152.29</c:v>
                </c:pt>
                <c:pt idx="1064">
                  <c:v>151.87</c:v>
                </c:pt>
                <c:pt idx="1065">
                  <c:v>150.59</c:v>
                </c:pt>
                <c:pt idx="1066">
                  <c:v>149.22</c:v>
                </c:pt>
                <c:pt idx="1067">
                  <c:v>148.19</c:v>
                </c:pt>
                <c:pt idx="1068">
                  <c:v>149.05000000000001</c:v>
                </c:pt>
                <c:pt idx="1069">
                  <c:v>149.44999999999999</c:v>
                </c:pt>
                <c:pt idx="1070">
                  <c:v>150</c:v>
                </c:pt>
                <c:pt idx="1071">
                  <c:v>147.87</c:v>
                </c:pt>
                <c:pt idx="1072">
                  <c:v>147.85000000000002</c:v>
                </c:pt>
                <c:pt idx="1073">
                  <c:v>144.01</c:v>
                </c:pt>
                <c:pt idx="1074">
                  <c:v>145.72</c:v>
                </c:pt>
                <c:pt idx="1075">
                  <c:v>144.69999999999999</c:v>
                </c:pt>
                <c:pt idx="1076">
                  <c:v>146.56</c:v>
                </c:pt>
                <c:pt idx="1077">
                  <c:v>145.69999999999999</c:v>
                </c:pt>
                <c:pt idx="1078">
                  <c:v>143.97999999999999</c:v>
                </c:pt>
                <c:pt idx="1079">
                  <c:v>144.72999999999999</c:v>
                </c:pt>
                <c:pt idx="1080">
                  <c:v>146.56</c:v>
                </c:pt>
                <c:pt idx="1081">
                  <c:v>145.81</c:v>
                </c:pt>
                <c:pt idx="1082">
                  <c:v>145.9</c:v>
                </c:pt>
                <c:pt idx="1083">
                  <c:v>146.81</c:v>
                </c:pt>
                <c:pt idx="1084">
                  <c:v>146.07</c:v>
                </c:pt>
                <c:pt idx="1085">
                  <c:v>147.81</c:v>
                </c:pt>
                <c:pt idx="1086">
                  <c:v>149.23999999999998</c:v>
                </c:pt>
                <c:pt idx="1087">
                  <c:v>149.38000000000002</c:v>
                </c:pt>
                <c:pt idx="1088">
                  <c:v>149.44999999999999</c:v>
                </c:pt>
                <c:pt idx="1089">
                  <c:v>148.97</c:v>
                </c:pt>
                <c:pt idx="1090">
                  <c:v>149.55000000000001</c:v>
                </c:pt>
                <c:pt idx="1091">
                  <c:v>150.32000000000002</c:v>
                </c:pt>
                <c:pt idx="1092">
                  <c:v>151.16</c:v>
                </c:pt>
                <c:pt idx="1093">
                  <c:v>152.09</c:v>
                </c:pt>
                <c:pt idx="1094">
                  <c:v>152.25</c:v>
                </c:pt>
                <c:pt idx="1095">
                  <c:v>152.41</c:v>
                </c:pt>
                <c:pt idx="1096">
                  <c:v>153.18</c:v>
                </c:pt>
                <c:pt idx="1097">
                  <c:v>153.19999999999999</c:v>
                </c:pt>
                <c:pt idx="1098">
                  <c:v>150.93</c:v>
                </c:pt>
                <c:pt idx="1099">
                  <c:v>152.15</c:v>
                </c:pt>
                <c:pt idx="1100">
                  <c:v>153.57</c:v>
                </c:pt>
                <c:pt idx="1101">
                  <c:v>153.78</c:v>
                </c:pt>
                <c:pt idx="1102">
                  <c:v>154.06</c:v>
                </c:pt>
                <c:pt idx="1103">
                  <c:v>154.47999999999999</c:v>
                </c:pt>
                <c:pt idx="1104">
                  <c:v>153.13</c:v>
                </c:pt>
                <c:pt idx="1105">
                  <c:v>153.91</c:v>
                </c:pt>
                <c:pt idx="1106">
                  <c:v>153.22999999999999</c:v>
                </c:pt>
                <c:pt idx="1107">
                  <c:v>153.66</c:v>
                </c:pt>
                <c:pt idx="1108">
                  <c:v>154.49</c:v>
                </c:pt>
                <c:pt idx="1109">
                  <c:v>153.63999999999999</c:v>
                </c:pt>
                <c:pt idx="1110">
                  <c:v>153.05000000000001</c:v>
                </c:pt>
                <c:pt idx="1111">
                  <c:v>151.93</c:v>
                </c:pt>
                <c:pt idx="1112">
                  <c:v>150.76999999999998</c:v>
                </c:pt>
                <c:pt idx="1113">
                  <c:v>150.84</c:v>
                </c:pt>
                <c:pt idx="1114">
                  <c:v>150.60999999999999</c:v>
                </c:pt>
                <c:pt idx="1115">
                  <c:v>150.25</c:v>
                </c:pt>
                <c:pt idx="1116">
                  <c:v>150.44</c:v>
                </c:pt>
                <c:pt idx="1117">
                  <c:v>150.46</c:v>
                </c:pt>
                <c:pt idx="1118">
                  <c:v>150.18</c:v>
                </c:pt>
                <c:pt idx="1119">
                  <c:v>150.73999999999998</c:v>
                </c:pt>
                <c:pt idx="1120">
                  <c:v>150.02000000000001</c:v>
                </c:pt>
                <c:pt idx="1121">
                  <c:v>149.02000000000001</c:v>
                </c:pt>
                <c:pt idx="1122">
                  <c:v>149.76999999999998</c:v>
                </c:pt>
                <c:pt idx="1123">
                  <c:v>149.57</c:v>
                </c:pt>
                <c:pt idx="1124">
                  <c:v>148.88000000000002</c:v>
                </c:pt>
                <c:pt idx="1125">
                  <c:v>149.72999999999999</c:v>
                </c:pt>
                <c:pt idx="1126">
                  <c:v>148.15</c:v>
                </c:pt>
                <c:pt idx="1127">
                  <c:v>149.52000000000001</c:v>
                </c:pt>
                <c:pt idx="1128">
                  <c:v>148.13</c:v>
                </c:pt>
                <c:pt idx="1129">
                  <c:v>149.26</c:v>
                </c:pt>
                <c:pt idx="1130">
                  <c:v>150.19</c:v>
                </c:pt>
                <c:pt idx="1131">
                  <c:v>150.89000000000001</c:v>
                </c:pt>
                <c:pt idx="1132">
                  <c:v>151.52000000000001</c:v>
                </c:pt>
                <c:pt idx="1133">
                  <c:v>151.41</c:v>
                </c:pt>
                <c:pt idx="1134">
                  <c:v>151.73999999999998</c:v>
                </c:pt>
                <c:pt idx="1135">
                  <c:v>150.78</c:v>
                </c:pt>
                <c:pt idx="1136">
                  <c:v>151.31</c:v>
                </c:pt>
                <c:pt idx="1137">
                  <c:v>148.66</c:v>
                </c:pt>
                <c:pt idx="1138">
                  <c:v>147.09</c:v>
                </c:pt>
                <c:pt idx="1139">
                  <c:v>148.07</c:v>
                </c:pt>
                <c:pt idx="1140">
                  <c:v>147.68</c:v>
                </c:pt>
                <c:pt idx="1141">
                  <c:v>147.66999999999999</c:v>
                </c:pt>
                <c:pt idx="1142">
                  <c:v>147.52000000000001</c:v>
                </c:pt>
                <c:pt idx="1143">
                  <c:v>148.41999999999999</c:v>
                </c:pt>
                <c:pt idx="1144">
                  <c:v>148.47999999999999</c:v>
                </c:pt>
                <c:pt idx="1145">
                  <c:v>148.91</c:v>
                </c:pt>
                <c:pt idx="1146">
                  <c:v>149.07</c:v>
                </c:pt>
                <c:pt idx="1147">
                  <c:v>148.6</c:v>
                </c:pt>
                <c:pt idx="1148">
                  <c:v>150.65</c:v>
                </c:pt>
                <c:pt idx="1149">
                  <c:v>150.33000000000001</c:v>
                </c:pt>
                <c:pt idx="1150">
                  <c:v>151.15</c:v>
                </c:pt>
                <c:pt idx="1151">
                  <c:v>151.87</c:v>
                </c:pt>
                <c:pt idx="1152">
                  <c:v>153.37</c:v>
                </c:pt>
                <c:pt idx="1153">
                  <c:v>153.26999999999998</c:v>
                </c:pt>
                <c:pt idx="1154">
                  <c:v>152.22</c:v>
                </c:pt>
                <c:pt idx="1155">
                  <c:v>153.06</c:v>
                </c:pt>
                <c:pt idx="1156">
                  <c:v>153.37</c:v>
                </c:pt>
                <c:pt idx="1157">
                  <c:v>154.5</c:v>
                </c:pt>
                <c:pt idx="1158">
                  <c:v>154.82000000000002</c:v>
                </c:pt>
                <c:pt idx="1159">
                  <c:v>154.54</c:v>
                </c:pt>
                <c:pt idx="1160">
                  <c:v>154.44</c:v>
                </c:pt>
                <c:pt idx="1161">
                  <c:v>153.78</c:v>
                </c:pt>
                <c:pt idx="1162">
                  <c:v>153.85000000000002</c:v>
                </c:pt>
                <c:pt idx="1163">
                  <c:v>154.82000000000002</c:v>
                </c:pt>
                <c:pt idx="1164">
                  <c:v>154.47</c:v>
                </c:pt>
                <c:pt idx="1165">
                  <c:v>153.69</c:v>
                </c:pt>
                <c:pt idx="1166">
                  <c:v>154.6</c:v>
                </c:pt>
                <c:pt idx="1167">
                  <c:v>155.22</c:v>
                </c:pt>
                <c:pt idx="1168">
                  <c:v>154.26</c:v>
                </c:pt>
                <c:pt idx="1169">
                  <c:v>154.09</c:v>
                </c:pt>
                <c:pt idx="1170">
                  <c:v>154.18</c:v>
                </c:pt>
                <c:pt idx="1171">
                  <c:v>152.60999999999999</c:v>
                </c:pt>
                <c:pt idx="1172">
                  <c:v>153.55000000000001</c:v>
                </c:pt>
                <c:pt idx="1173">
                  <c:v>153.07</c:v>
                </c:pt>
                <c:pt idx="1174">
                  <c:v>153.79</c:v>
                </c:pt>
                <c:pt idx="1175">
                  <c:v>154.46</c:v>
                </c:pt>
                <c:pt idx="1176">
                  <c:v>153.47999999999999</c:v>
                </c:pt>
                <c:pt idx="1177">
                  <c:v>154.93</c:v>
                </c:pt>
                <c:pt idx="1178">
                  <c:v>157.08000000000001</c:v>
                </c:pt>
                <c:pt idx="1179">
                  <c:v>155.97999999999999</c:v>
                </c:pt>
                <c:pt idx="1180">
                  <c:v>155.13</c:v>
                </c:pt>
                <c:pt idx="1181">
                  <c:v>155.72</c:v>
                </c:pt>
                <c:pt idx="1182">
                  <c:v>155.18</c:v>
                </c:pt>
                <c:pt idx="1183">
                  <c:v>155.86000000000001</c:v>
                </c:pt>
                <c:pt idx="1184">
                  <c:v>154.81</c:v>
                </c:pt>
                <c:pt idx="1185">
                  <c:v>155.30000000000001</c:v>
                </c:pt>
                <c:pt idx="1186">
                  <c:v>154.03</c:v>
                </c:pt>
                <c:pt idx="1187">
                  <c:v>154.41</c:v>
                </c:pt>
                <c:pt idx="1188">
                  <c:v>153.60999999999999</c:v>
                </c:pt>
                <c:pt idx="1189">
                  <c:v>154.86000000000001</c:v>
                </c:pt>
                <c:pt idx="1190">
                  <c:v>153.28</c:v>
                </c:pt>
                <c:pt idx="1191">
                  <c:v>154.18</c:v>
                </c:pt>
                <c:pt idx="1192">
                  <c:v>154.20999999999998</c:v>
                </c:pt>
                <c:pt idx="1193">
                  <c:v>152.01</c:v>
                </c:pt>
                <c:pt idx="1194">
                  <c:v>152.97</c:v>
                </c:pt>
                <c:pt idx="1195">
                  <c:v>154.28</c:v>
                </c:pt>
                <c:pt idx="1196">
                  <c:v>154.91999999999999</c:v>
                </c:pt>
                <c:pt idx="1197">
                  <c:v>154.43</c:v>
                </c:pt>
                <c:pt idx="1198">
                  <c:v>155.44999999999999</c:v>
                </c:pt>
                <c:pt idx="1199">
                  <c:v>157.44</c:v>
                </c:pt>
                <c:pt idx="1200">
                  <c:v>157.81</c:v>
                </c:pt>
                <c:pt idx="1201">
                  <c:v>156.88000000000002</c:v>
                </c:pt>
                <c:pt idx="1202">
                  <c:v>157.89000000000001</c:v>
                </c:pt>
                <c:pt idx="1203">
                  <c:v>157.41999999999999</c:v>
                </c:pt>
                <c:pt idx="1204">
                  <c:v>157.79</c:v>
                </c:pt>
                <c:pt idx="1205">
                  <c:v>157.49</c:v>
                </c:pt>
                <c:pt idx="1206">
                  <c:v>158.75</c:v>
                </c:pt>
                <c:pt idx="1207">
                  <c:v>159.30000000000001</c:v>
                </c:pt>
                <c:pt idx="1208">
                  <c:v>159.08000000000001</c:v>
                </c:pt>
                <c:pt idx="1209">
                  <c:v>158.34</c:v>
                </c:pt>
                <c:pt idx="1210">
                  <c:v>159.37</c:v>
                </c:pt>
                <c:pt idx="1211">
                  <c:v>159.80000000000001</c:v>
                </c:pt>
                <c:pt idx="1212">
                  <c:v>159.04</c:v>
                </c:pt>
                <c:pt idx="1213">
                  <c:v>158.96</c:v>
                </c:pt>
                <c:pt idx="1214">
                  <c:v>159.54</c:v>
                </c:pt>
                <c:pt idx="1215">
                  <c:v>159.34</c:v>
                </c:pt>
                <c:pt idx="1216">
                  <c:v>159.86000000000001</c:v>
                </c:pt>
                <c:pt idx="1217">
                  <c:v>160.13999999999999</c:v>
                </c:pt>
                <c:pt idx="1218">
                  <c:v>160.04</c:v>
                </c:pt>
                <c:pt idx="1219">
                  <c:v>160.09</c:v>
                </c:pt>
                <c:pt idx="1220">
                  <c:v>161.54</c:v>
                </c:pt>
                <c:pt idx="1221">
                  <c:v>162.94</c:v>
                </c:pt>
                <c:pt idx="1222">
                  <c:v>162.91</c:v>
                </c:pt>
                <c:pt idx="1223">
                  <c:v>162.16999999999999</c:v>
                </c:pt>
                <c:pt idx="1224">
                  <c:v>163.06</c:v>
                </c:pt>
                <c:pt idx="1225">
                  <c:v>163.10999999999999</c:v>
                </c:pt>
                <c:pt idx="1226">
                  <c:v>161.53</c:v>
                </c:pt>
                <c:pt idx="1227">
                  <c:v>162.13999999999999</c:v>
                </c:pt>
                <c:pt idx="1228">
                  <c:v>163.19</c:v>
                </c:pt>
                <c:pt idx="1229">
                  <c:v>163.6</c:v>
                </c:pt>
                <c:pt idx="1230">
                  <c:v>164.43</c:v>
                </c:pt>
                <c:pt idx="1231">
                  <c:v>166.09</c:v>
                </c:pt>
                <c:pt idx="1232">
                  <c:v>165.85000000000002</c:v>
                </c:pt>
                <c:pt idx="1233">
                  <c:v>166.79</c:v>
                </c:pt>
                <c:pt idx="1234">
                  <c:v>165.84</c:v>
                </c:pt>
                <c:pt idx="1235">
                  <c:v>165.95000000000002</c:v>
                </c:pt>
                <c:pt idx="1236">
                  <c:v>165.70999999999998</c:v>
                </c:pt>
                <c:pt idx="1237">
                  <c:v>166.03</c:v>
                </c:pt>
                <c:pt idx="1238">
                  <c:v>165.7</c:v>
                </c:pt>
                <c:pt idx="1239">
                  <c:v>165.49</c:v>
                </c:pt>
                <c:pt idx="1240">
                  <c:v>165.26</c:v>
                </c:pt>
                <c:pt idx="1241">
                  <c:v>165.68</c:v>
                </c:pt>
                <c:pt idx="1242">
                  <c:v>165.83</c:v>
                </c:pt>
                <c:pt idx="1243">
                  <c:v>166.37</c:v>
                </c:pt>
                <c:pt idx="1244">
                  <c:v>167.84</c:v>
                </c:pt>
                <c:pt idx="1245">
                  <c:v>166.97</c:v>
                </c:pt>
                <c:pt idx="1246">
                  <c:v>167.66</c:v>
                </c:pt>
                <c:pt idx="1247">
                  <c:v>168.97</c:v>
                </c:pt>
                <c:pt idx="1248">
                  <c:v>168.86</c:v>
                </c:pt>
                <c:pt idx="1249">
                  <c:v>167.76</c:v>
                </c:pt>
                <c:pt idx="1250">
                  <c:v>166.69</c:v>
                </c:pt>
                <c:pt idx="1251">
                  <c:v>167.37</c:v>
                </c:pt>
                <c:pt idx="1252">
                  <c:v>168.46</c:v>
                </c:pt>
                <c:pt idx="1253">
                  <c:v>169.1</c:v>
                </c:pt>
                <c:pt idx="1254">
                  <c:v>169.78</c:v>
                </c:pt>
                <c:pt idx="1255">
                  <c:v>170.62</c:v>
                </c:pt>
                <c:pt idx="1256">
                  <c:v>170.36</c:v>
                </c:pt>
                <c:pt idx="1257">
                  <c:v>169.91</c:v>
                </c:pt>
                <c:pt idx="1258">
                  <c:v>170.22</c:v>
                </c:pt>
                <c:pt idx="1259">
                  <c:v>171.33</c:v>
                </c:pt>
                <c:pt idx="1260">
                  <c:v>170.99</c:v>
                </c:pt>
                <c:pt idx="1261">
                  <c:v>172.04</c:v>
                </c:pt>
                <c:pt idx="1262">
                  <c:v>171.78</c:v>
                </c:pt>
                <c:pt idx="1263">
                  <c:v>173.18</c:v>
                </c:pt>
                <c:pt idx="1264">
                  <c:v>175.10999999999999</c:v>
                </c:pt>
                <c:pt idx="1265">
                  <c:v>175.66</c:v>
                </c:pt>
                <c:pt idx="1266">
                  <c:v>175.79</c:v>
                </c:pt>
                <c:pt idx="1267">
                  <c:v>178.31</c:v>
                </c:pt>
                <c:pt idx="1268">
                  <c:v>179.81</c:v>
                </c:pt>
                <c:pt idx="1269">
                  <c:v>180.86</c:v>
                </c:pt>
                <c:pt idx="1270">
                  <c:v>179.62</c:v>
                </c:pt>
                <c:pt idx="1271">
                  <c:v>179.64</c:v>
                </c:pt>
                <c:pt idx="1272">
                  <c:v>181.48000000000002</c:v>
                </c:pt>
                <c:pt idx="1273">
                  <c:v>182</c:v>
                </c:pt>
                <c:pt idx="1274">
                  <c:v>182.28</c:v>
                </c:pt>
                <c:pt idx="1275">
                  <c:v>180.70999999999998</c:v>
                </c:pt>
                <c:pt idx="1276">
                  <c:v>181.02</c:v>
                </c:pt>
                <c:pt idx="1277">
                  <c:v>181.42000000000002</c:v>
                </c:pt>
                <c:pt idx="1278">
                  <c:v>180.75</c:v>
                </c:pt>
                <c:pt idx="1279">
                  <c:v>179.23999999999998</c:v>
                </c:pt>
                <c:pt idx="1280">
                  <c:v>178.33</c:v>
                </c:pt>
                <c:pt idx="1281">
                  <c:v>177.64</c:v>
                </c:pt>
                <c:pt idx="1282">
                  <c:v>180.6</c:v>
                </c:pt>
                <c:pt idx="1283">
                  <c:v>179.95000000000002</c:v>
                </c:pt>
                <c:pt idx="1284">
                  <c:v>182.04</c:v>
                </c:pt>
                <c:pt idx="1285">
                  <c:v>181.07</c:v>
                </c:pt>
                <c:pt idx="1286">
                  <c:v>181.01</c:v>
                </c:pt>
                <c:pt idx="1287">
                  <c:v>182.07</c:v>
                </c:pt>
                <c:pt idx="1288">
                  <c:v>181.87</c:v>
                </c:pt>
                <c:pt idx="1289">
                  <c:v>180.69</c:v>
                </c:pt>
                <c:pt idx="1290">
                  <c:v>179.66</c:v>
                </c:pt>
                <c:pt idx="1291">
                  <c:v>177.94</c:v>
                </c:pt>
                <c:pt idx="1292">
                  <c:v>178.58</c:v>
                </c:pt>
                <c:pt idx="1293">
                  <c:v>178.6</c:v>
                </c:pt>
                <c:pt idx="1294">
                  <c:v>180.19</c:v>
                </c:pt>
                <c:pt idx="1295">
                  <c:v>178.6</c:v>
                </c:pt>
                <c:pt idx="1296">
                  <c:v>178.58</c:v>
                </c:pt>
                <c:pt idx="1297">
                  <c:v>178.75</c:v>
                </c:pt>
                <c:pt idx="1298">
                  <c:v>178.67</c:v>
                </c:pt>
                <c:pt idx="1299">
                  <c:v>178.99</c:v>
                </c:pt>
                <c:pt idx="1300">
                  <c:v>178.28</c:v>
                </c:pt>
                <c:pt idx="1301">
                  <c:v>179.49</c:v>
                </c:pt>
                <c:pt idx="1302">
                  <c:v>179.49</c:v>
                </c:pt>
                <c:pt idx="1303">
                  <c:v>179.49</c:v>
                </c:pt>
                <c:pt idx="1304">
                  <c:v>179.89000000000001</c:v>
                </c:pt>
                <c:pt idx="1305">
                  <c:v>179.28</c:v>
                </c:pt>
                <c:pt idx="1306">
                  <c:v>179.82000000000002</c:v>
                </c:pt>
                <c:pt idx="1307">
                  <c:v>180.83</c:v>
                </c:pt>
                <c:pt idx="1308">
                  <c:v>180.32000000000002</c:v>
                </c:pt>
                <c:pt idx="1309">
                  <c:v>182.34</c:v>
                </c:pt>
                <c:pt idx="1310">
                  <c:v>182.76999999999998</c:v>
                </c:pt>
                <c:pt idx="1311">
                  <c:v>183.19</c:v>
                </c:pt>
                <c:pt idx="1312">
                  <c:v>183.23999999999998</c:v>
                </c:pt>
                <c:pt idx="1313">
                  <c:v>183.17</c:v>
                </c:pt>
                <c:pt idx="1314">
                  <c:v>183.17</c:v>
                </c:pt>
                <c:pt idx="1315">
                  <c:v>183.76</c:v>
                </c:pt>
                <c:pt idx="1316">
                  <c:v>183.03</c:v>
                </c:pt>
                <c:pt idx="1317">
                  <c:v>180.07</c:v>
                </c:pt>
                <c:pt idx="1318">
                  <c:v>176.63</c:v>
                </c:pt>
                <c:pt idx="1319">
                  <c:v>177.53</c:v>
                </c:pt>
                <c:pt idx="1320">
                  <c:v>177.13</c:v>
                </c:pt>
                <c:pt idx="1321">
                  <c:v>176.78</c:v>
                </c:pt>
                <c:pt idx="1322">
                  <c:v>178.45000000000002</c:v>
                </c:pt>
                <c:pt idx="1323">
                  <c:v>179.32000000000002</c:v>
                </c:pt>
                <c:pt idx="1324">
                  <c:v>177.91</c:v>
                </c:pt>
                <c:pt idx="1325">
                  <c:v>175.67</c:v>
                </c:pt>
                <c:pt idx="1326">
                  <c:v>174.56</c:v>
                </c:pt>
                <c:pt idx="1327">
                  <c:v>174.92000000000002</c:v>
                </c:pt>
                <c:pt idx="1328">
                  <c:v>175.56</c:v>
                </c:pt>
                <c:pt idx="1329">
                  <c:v>176.12</c:v>
                </c:pt>
                <c:pt idx="1330">
                  <c:v>176.20999999999998</c:v>
                </c:pt>
                <c:pt idx="1331">
                  <c:v>177.34</c:v>
                </c:pt>
                <c:pt idx="1332">
                  <c:v>177.93</c:v>
                </c:pt>
                <c:pt idx="1333">
                  <c:v>177.54</c:v>
                </c:pt>
                <c:pt idx="1334">
                  <c:v>176.41</c:v>
                </c:pt>
                <c:pt idx="1335">
                  <c:v>176.08</c:v>
                </c:pt>
                <c:pt idx="1336">
                  <c:v>177.35000000000002</c:v>
                </c:pt>
                <c:pt idx="1337">
                  <c:v>177.20999999999998</c:v>
                </c:pt>
                <c:pt idx="1338">
                  <c:v>176.45000000000002</c:v>
                </c:pt>
                <c:pt idx="1339">
                  <c:v>176.68</c:v>
                </c:pt>
                <c:pt idx="1340">
                  <c:v>178.76</c:v>
                </c:pt>
                <c:pt idx="1341">
                  <c:v>179.67</c:v>
                </c:pt>
                <c:pt idx="1342">
                  <c:v>179.8</c:v>
                </c:pt>
                <c:pt idx="1343">
                  <c:v>180.60999999999999</c:v>
                </c:pt>
                <c:pt idx="1344">
                  <c:v>180.73999999999998</c:v>
                </c:pt>
                <c:pt idx="1345">
                  <c:v>180.54</c:v>
                </c:pt>
                <c:pt idx="1346">
                  <c:v>181.29</c:v>
                </c:pt>
                <c:pt idx="1347">
                  <c:v>181.32000000000002</c:v>
                </c:pt>
                <c:pt idx="1348">
                  <c:v>182.25</c:v>
                </c:pt>
                <c:pt idx="1349">
                  <c:v>182</c:v>
                </c:pt>
                <c:pt idx="1350">
                  <c:v>183.95000000000002</c:v>
                </c:pt>
                <c:pt idx="1351">
                  <c:v>183.47</c:v>
                </c:pt>
                <c:pt idx="1352">
                  <c:v>183.38000000000002</c:v>
                </c:pt>
                <c:pt idx="1353">
                  <c:v>182.91</c:v>
                </c:pt>
                <c:pt idx="1354">
                  <c:v>185.01</c:v>
                </c:pt>
                <c:pt idx="1355">
                  <c:v>184.48000000000002</c:v>
                </c:pt>
                <c:pt idx="1356">
                  <c:v>184.02</c:v>
                </c:pt>
                <c:pt idx="1357">
                  <c:v>185.42000000000002</c:v>
                </c:pt>
                <c:pt idx="1358">
                  <c:v>186.01</c:v>
                </c:pt>
                <c:pt idx="1359">
                  <c:v>187.25</c:v>
                </c:pt>
                <c:pt idx="1360">
                  <c:v>186.55</c:v>
                </c:pt>
                <c:pt idx="1361">
                  <c:v>188.12</c:v>
                </c:pt>
                <c:pt idx="1362">
                  <c:v>187.8</c:v>
                </c:pt>
                <c:pt idx="1363">
                  <c:v>188.54</c:v>
                </c:pt>
                <c:pt idx="1364">
                  <c:v>189.12</c:v>
                </c:pt>
                <c:pt idx="1365">
                  <c:v>189.97</c:v>
                </c:pt>
                <c:pt idx="1366">
                  <c:v>191.70999999999998</c:v>
                </c:pt>
                <c:pt idx="1367">
                  <c:v>189.32000000000002</c:v>
                </c:pt>
                <c:pt idx="1368">
                  <c:v>187.03</c:v>
                </c:pt>
                <c:pt idx="1369">
                  <c:v>189.03</c:v>
                </c:pt>
                <c:pt idx="1370">
                  <c:v>188.94</c:v>
                </c:pt>
                <c:pt idx="1371">
                  <c:v>188.79</c:v>
                </c:pt>
                <c:pt idx="1372">
                  <c:v>190.52</c:v>
                </c:pt>
                <c:pt idx="1373">
                  <c:v>190.28</c:v>
                </c:pt>
                <c:pt idx="1374">
                  <c:v>189.05</c:v>
                </c:pt>
                <c:pt idx="1375">
                  <c:v>190.31</c:v>
                </c:pt>
                <c:pt idx="1376">
                  <c:v>185.69</c:v>
                </c:pt>
                <c:pt idx="1377">
                  <c:v>187.8</c:v>
                </c:pt>
                <c:pt idx="1378">
                  <c:v>189.10999999999999</c:v>
                </c:pt>
                <c:pt idx="1379">
                  <c:v>188.85000000000002</c:v>
                </c:pt>
                <c:pt idx="1380">
                  <c:v>189.47</c:v>
                </c:pt>
                <c:pt idx="1381">
                  <c:v>189.93</c:v>
                </c:pt>
                <c:pt idx="1382">
                  <c:v>189.95000000000002</c:v>
                </c:pt>
                <c:pt idx="1383">
                  <c:v>188.97</c:v>
                </c:pt>
                <c:pt idx="1384">
                  <c:v>188.9</c:v>
                </c:pt>
                <c:pt idx="1385">
                  <c:v>188.76999999999998</c:v>
                </c:pt>
                <c:pt idx="1386">
                  <c:v>190.48000000000002</c:v>
                </c:pt>
                <c:pt idx="1387">
                  <c:v>190.94</c:v>
                </c:pt>
                <c:pt idx="1388">
                  <c:v>191.59</c:v>
                </c:pt>
                <c:pt idx="1389">
                  <c:v>192.09</c:v>
                </c:pt>
                <c:pt idx="1390">
                  <c:v>192.48000000000002</c:v>
                </c:pt>
                <c:pt idx="1391">
                  <c:v>193.09</c:v>
                </c:pt>
                <c:pt idx="1392">
                  <c:v>193.2</c:v>
                </c:pt>
                <c:pt idx="1393">
                  <c:v>193.12</c:v>
                </c:pt>
                <c:pt idx="1394">
                  <c:v>193.89000000000001</c:v>
                </c:pt>
                <c:pt idx="1395">
                  <c:v>193.62</c:v>
                </c:pt>
                <c:pt idx="1396">
                  <c:v>192.58</c:v>
                </c:pt>
                <c:pt idx="1397">
                  <c:v>192.15</c:v>
                </c:pt>
                <c:pt idx="1398">
                  <c:v>193.20999999999998</c:v>
                </c:pt>
                <c:pt idx="1399">
                  <c:v>193.23999999999998</c:v>
                </c:pt>
                <c:pt idx="1400">
                  <c:v>195.70999999999998</c:v>
                </c:pt>
                <c:pt idx="1401">
                  <c:v>194.8</c:v>
                </c:pt>
                <c:pt idx="1402">
                  <c:v>194.67</c:v>
                </c:pt>
                <c:pt idx="1403">
                  <c:v>194.72</c:v>
                </c:pt>
                <c:pt idx="1404">
                  <c:v>194.98000000000002</c:v>
                </c:pt>
                <c:pt idx="1405">
                  <c:v>194.97</c:v>
                </c:pt>
                <c:pt idx="1406">
                  <c:v>194.96</c:v>
                </c:pt>
                <c:pt idx="1407">
                  <c:v>196.43</c:v>
                </c:pt>
                <c:pt idx="1408">
                  <c:v>196.53</c:v>
                </c:pt>
                <c:pt idx="1409">
                  <c:v>196.3</c:v>
                </c:pt>
                <c:pt idx="1410">
                  <c:v>195.6</c:v>
                </c:pt>
                <c:pt idx="1411">
                  <c:v>194.58</c:v>
                </c:pt>
                <c:pt idx="1412">
                  <c:v>194</c:v>
                </c:pt>
                <c:pt idx="1413">
                  <c:v>194.25</c:v>
                </c:pt>
                <c:pt idx="1414">
                  <c:v>193.49</c:v>
                </c:pt>
                <c:pt idx="1415">
                  <c:v>195.04</c:v>
                </c:pt>
                <c:pt idx="1416">
                  <c:v>196.46</c:v>
                </c:pt>
                <c:pt idx="1417">
                  <c:v>197.46</c:v>
                </c:pt>
                <c:pt idx="1418">
                  <c:v>198.68</c:v>
                </c:pt>
                <c:pt idx="1419">
                  <c:v>200.49</c:v>
                </c:pt>
                <c:pt idx="1420">
                  <c:v>201.46</c:v>
                </c:pt>
                <c:pt idx="1421">
                  <c:v>201.03</c:v>
                </c:pt>
                <c:pt idx="1422">
                  <c:v>201.42000000000002</c:v>
                </c:pt>
                <c:pt idx="1423">
                  <c:v>201.49</c:v>
                </c:pt>
                <c:pt idx="1424">
                  <c:v>200.53</c:v>
                </c:pt>
                <c:pt idx="1425">
                  <c:v>201</c:v>
                </c:pt>
                <c:pt idx="1426">
                  <c:v>200.29</c:v>
                </c:pt>
                <c:pt idx="1427">
                  <c:v>201.26</c:v>
                </c:pt>
                <c:pt idx="1428">
                  <c:v>202.26999999999998</c:v>
                </c:pt>
                <c:pt idx="1429">
                  <c:v>201.69</c:v>
                </c:pt>
                <c:pt idx="1430">
                  <c:v>200.08</c:v>
                </c:pt>
                <c:pt idx="1431">
                  <c:v>198.91</c:v>
                </c:pt>
                <c:pt idx="1432">
                  <c:v>199.22</c:v>
                </c:pt>
                <c:pt idx="1433">
                  <c:v>200.46</c:v>
                </c:pt>
                <c:pt idx="1434">
                  <c:v>199.92000000000002</c:v>
                </c:pt>
                <c:pt idx="1435">
                  <c:v>200.73999999999998</c:v>
                </c:pt>
                <c:pt idx="1436">
                  <c:v>199.96</c:v>
                </c:pt>
                <c:pt idx="1437">
                  <c:v>200.29</c:v>
                </c:pt>
                <c:pt idx="1438">
                  <c:v>202.23999999999998</c:v>
                </c:pt>
                <c:pt idx="1439">
                  <c:v>202.7</c:v>
                </c:pt>
                <c:pt idx="1440">
                  <c:v>200.92000000000002</c:v>
                </c:pt>
                <c:pt idx="1441">
                  <c:v>197.23999999999998</c:v>
                </c:pt>
                <c:pt idx="1442">
                  <c:v>195.76</c:v>
                </c:pt>
                <c:pt idx="1443">
                  <c:v>196.49</c:v>
                </c:pt>
                <c:pt idx="1444">
                  <c:v>197.45000000000002</c:v>
                </c:pt>
                <c:pt idx="1445">
                  <c:v>195.8</c:v>
                </c:pt>
                <c:pt idx="1446">
                  <c:v>194.12</c:v>
                </c:pt>
                <c:pt idx="1447">
                  <c:v>193.87</c:v>
                </c:pt>
                <c:pt idx="1448">
                  <c:v>193.88000000000002</c:v>
                </c:pt>
                <c:pt idx="1449">
                  <c:v>193.57</c:v>
                </c:pt>
                <c:pt idx="1450">
                  <c:v>190.55</c:v>
                </c:pt>
                <c:pt idx="1451">
                  <c:v>191.7</c:v>
                </c:pt>
                <c:pt idx="1452">
                  <c:v>190.66</c:v>
                </c:pt>
                <c:pt idx="1453">
                  <c:v>192.54</c:v>
                </c:pt>
                <c:pt idx="1454">
                  <c:v>192.20999999999998</c:v>
                </c:pt>
                <c:pt idx="1455">
                  <c:v>192.63</c:v>
                </c:pt>
                <c:pt idx="1456">
                  <c:v>190.01</c:v>
                </c:pt>
                <c:pt idx="1457">
                  <c:v>190.07</c:v>
                </c:pt>
                <c:pt idx="1458">
                  <c:v>194.54</c:v>
                </c:pt>
                <c:pt idx="1459">
                  <c:v>195.07</c:v>
                </c:pt>
                <c:pt idx="1460">
                  <c:v>197.26999999999998</c:v>
                </c:pt>
                <c:pt idx="1461">
                  <c:v>200.62</c:v>
                </c:pt>
                <c:pt idx="1462">
                  <c:v>200.46</c:v>
                </c:pt>
                <c:pt idx="1463">
                  <c:v>201.78</c:v>
                </c:pt>
                <c:pt idx="1464">
                  <c:v>201.47</c:v>
                </c:pt>
                <c:pt idx="1465">
                  <c:v>201.7</c:v>
                </c:pt>
                <c:pt idx="1466">
                  <c:v>202.01</c:v>
                </c:pt>
                <c:pt idx="1467">
                  <c:v>203.44</c:v>
                </c:pt>
                <c:pt idx="1468">
                  <c:v>203.54</c:v>
                </c:pt>
                <c:pt idx="1469">
                  <c:v>202.93</c:v>
                </c:pt>
                <c:pt idx="1470">
                  <c:v>201.26999999999998</c:v>
                </c:pt>
                <c:pt idx="1471">
                  <c:v>202.05</c:v>
                </c:pt>
                <c:pt idx="1472">
                  <c:v>202.88000000000002</c:v>
                </c:pt>
                <c:pt idx="1473">
                  <c:v>203.94</c:v>
                </c:pt>
                <c:pt idx="1474">
                  <c:v>204.04</c:v>
                </c:pt>
                <c:pt idx="1475">
                  <c:v>205.29</c:v>
                </c:pt>
                <c:pt idx="1476">
                  <c:v>205.44</c:v>
                </c:pt>
                <c:pt idx="1477">
                  <c:v>206.13</c:v>
                </c:pt>
                <c:pt idx="1478">
                  <c:v>204.70999999999998</c:v>
                </c:pt>
                <c:pt idx="1479">
                  <c:v>205.6</c:v>
                </c:pt>
                <c:pt idx="1480">
                  <c:v>205.03</c:v>
                </c:pt>
                <c:pt idx="1481">
                  <c:v>207.72</c:v>
                </c:pt>
                <c:pt idx="1482">
                  <c:v>209.39000000000001</c:v>
                </c:pt>
                <c:pt idx="1483">
                  <c:v>209.18</c:v>
                </c:pt>
                <c:pt idx="1484">
                  <c:v>209.86</c:v>
                </c:pt>
                <c:pt idx="1485">
                  <c:v>210.45000000000002</c:v>
                </c:pt>
                <c:pt idx="1486">
                  <c:v>210.4</c:v>
                </c:pt>
                <c:pt idx="1487">
                  <c:v>211.08</c:v>
                </c:pt>
                <c:pt idx="1488">
                  <c:v>211.54</c:v>
                </c:pt>
                <c:pt idx="1489">
                  <c:v>211.70999999999998</c:v>
                </c:pt>
                <c:pt idx="1490">
                  <c:v>210.73</c:v>
                </c:pt>
                <c:pt idx="1491">
                  <c:v>211.3</c:v>
                </c:pt>
                <c:pt idx="1492">
                  <c:v>213.07</c:v>
                </c:pt>
                <c:pt idx="1493">
                  <c:v>212.76</c:v>
                </c:pt>
                <c:pt idx="1494">
                  <c:v>214.45000000000002</c:v>
                </c:pt>
                <c:pt idx="1495">
                  <c:v>215.37</c:v>
                </c:pt>
                <c:pt idx="1496">
                  <c:v>214.76999999999998</c:v>
                </c:pt>
                <c:pt idx="1497">
                  <c:v>215.3</c:v>
                </c:pt>
                <c:pt idx="1498">
                  <c:v>215.3</c:v>
                </c:pt>
                <c:pt idx="1499">
                  <c:v>215.59</c:v>
                </c:pt>
                <c:pt idx="1500">
                  <c:v>215.26</c:v>
                </c:pt>
                <c:pt idx="1501">
                  <c:v>217.2</c:v>
                </c:pt>
                <c:pt idx="1502">
                  <c:v>216.31</c:v>
                </c:pt>
                <c:pt idx="1503">
                  <c:v>216.73999999999998</c:v>
                </c:pt>
                <c:pt idx="1504">
                  <c:v>218.17</c:v>
                </c:pt>
                <c:pt idx="1505">
                  <c:v>220.31</c:v>
                </c:pt>
                <c:pt idx="1506">
                  <c:v>217.98000000000002</c:v>
                </c:pt>
                <c:pt idx="1507">
                  <c:v>219.57</c:v>
                </c:pt>
                <c:pt idx="1508">
                  <c:v>219.9</c:v>
                </c:pt>
                <c:pt idx="1509">
                  <c:v>218.34</c:v>
                </c:pt>
                <c:pt idx="1510">
                  <c:v>219.5</c:v>
                </c:pt>
                <c:pt idx="1511">
                  <c:v>220.57</c:v>
                </c:pt>
                <c:pt idx="1512">
                  <c:v>220.07</c:v>
                </c:pt>
                <c:pt idx="1513">
                  <c:v>219.84</c:v>
                </c:pt>
                <c:pt idx="1514">
                  <c:v>218.28</c:v>
                </c:pt>
                <c:pt idx="1515">
                  <c:v>217.15</c:v>
                </c:pt>
                <c:pt idx="1516">
                  <c:v>219.88000000000002</c:v>
                </c:pt>
                <c:pt idx="1517">
                  <c:v>220.33</c:v>
                </c:pt>
                <c:pt idx="1518">
                  <c:v>219.15</c:v>
                </c:pt>
                <c:pt idx="1519">
                  <c:v>218.93</c:v>
                </c:pt>
                <c:pt idx="1520">
                  <c:v>222.88000000000002</c:v>
                </c:pt>
                <c:pt idx="1521">
                  <c:v>224.67</c:v>
                </c:pt>
                <c:pt idx="1522">
                  <c:v>227.34</c:v>
                </c:pt>
                <c:pt idx="1523">
                  <c:v>226.92000000000002</c:v>
                </c:pt>
                <c:pt idx="1524">
                  <c:v>225.98000000000002</c:v>
                </c:pt>
                <c:pt idx="1525">
                  <c:v>229.69</c:v>
                </c:pt>
                <c:pt idx="1526">
                  <c:v>228.19</c:v>
                </c:pt>
                <c:pt idx="1527">
                  <c:v>228.73999999999998</c:v>
                </c:pt>
                <c:pt idx="1528">
                  <c:v>228.89000000000001</c:v>
                </c:pt>
                <c:pt idx="1529">
                  <c:v>228.10999999999999</c:v>
                </c:pt>
                <c:pt idx="1530">
                  <c:v>227.46</c:v>
                </c:pt>
                <c:pt idx="1531">
                  <c:v>230.08</c:v>
                </c:pt>
                <c:pt idx="1532">
                  <c:v>230.14</c:v>
                </c:pt>
                <c:pt idx="1533">
                  <c:v>231.23</c:v>
                </c:pt>
                <c:pt idx="1534">
                  <c:v>230.05</c:v>
                </c:pt>
                <c:pt idx="1535">
                  <c:v>231.39000000000001</c:v>
                </c:pt>
                <c:pt idx="1536">
                  <c:v>231.53</c:v>
                </c:pt>
                <c:pt idx="1537">
                  <c:v>234.34</c:v>
                </c:pt>
                <c:pt idx="1538">
                  <c:v>234.8</c:v>
                </c:pt>
                <c:pt idx="1539">
                  <c:v>236.5</c:v>
                </c:pt>
                <c:pt idx="1540">
                  <c:v>238.56</c:v>
                </c:pt>
                <c:pt idx="1541">
                  <c:v>238.4</c:v>
                </c:pt>
                <c:pt idx="1542">
                  <c:v>239.22</c:v>
                </c:pt>
                <c:pt idx="1543">
                  <c:v>239.97</c:v>
                </c:pt>
                <c:pt idx="1544">
                  <c:v>237.37</c:v>
                </c:pt>
                <c:pt idx="1545">
                  <c:v>239.12</c:v>
                </c:pt>
                <c:pt idx="1546">
                  <c:v>237.42000000000002</c:v>
                </c:pt>
                <c:pt idx="1547">
                  <c:v>236.84</c:v>
                </c:pt>
                <c:pt idx="1548">
                  <c:v>239.04</c:v>
                </c:pt>
                <c:pt idx="1549">
                  <c:v>237.38000000000002</c:v>
                </c:pt>
                <c:pt idx="1550">
                  <c:v>234.9</c:v>
                </c:pt>
                <c:pt idx="1551">
                  <c:v>236.69</c:v>
                </c:pt>
                <c:pt idx="1552">
                  <c:v>238.52</c:v>
                </c:pt>
                <c:pt idx="1553">
                  <c:v>240.63</c:v>
                </c:pt>
                <c:pt idx="1554">
                  <c:v>241.7</c:v>
                </c:pt>
                <c:pt idx="1555">
                  <c:v>242.86</c:v>
                </c:pt>
                <c:pt idx="1556">
                  <c:v>244.63</c:v>
                </c:pt>
                <c:pt idx="1557">
                  <c:v>244.42000000000002</c:v>
                </c:pt>
                <c:pt idx="1558">
                  <c:v>244.92000000000002</c:v>
                </c:pt>
                <c:pt idx="1559">
                  <c:v>246.46</c:v>
                </c:pt>
                <c:pt idx="1560">
                  <c:v>245.84</c:v>
                </c:pt>
                <c:pt idx="1561">
                  <c:v>246.02</c:v>
                </c:pt>
                <c:pt idx="1562">
                  <c:v>246.82000000000002</c:v>
                </c:pt>
                <c:pt idx="1563">
                  <c:v>245.37</c:v>
                </c:pt>
                <c:pt idx="1564">
                  <c:v>242.79</c:v>
                </c:pt>
                <c:pt idx="1565">
                  <c:v>243.48000000000002</c:v>
                </c:pt>
                <c:pt idx="1566">
                  <c:v>244.88000000000002</c:v>
                </c:pt>
                <c:pt idx="1567">
                  <c:v>243.67</c:v>
                </c:pt>
                <c:pt idx="1568">
                  <c:v>245.25</c:v>
                </c:pt>
                <c:pt idx="1569">
                  <c:v>244.46</c:v>
                </c:pt>
                <c:pt idx="1570">
                  <c:v>246.07</c:v>
                </c:pt>
                <c:pt idx="1571">
                  <c:v>245.75</c:v>
                </c:pt>
                <c:pt idx="1572">
                  <c:v>244.6</c:v>
                </c:pt>
                <c:pt idx="1573">
                  <c:v>245.62</c:v>
                </c:pt>
                <c:pt idx="1574">
                  <c:v>241.94</c:v>
                </c:pt>
                <c:pt idx="1575">
                  <c:v>241.96</c:v>
                </c:pt>
                <c:pt idx="1576">
                  <c:v>242.6</c:v>
                </c:pt>
                <c:pt idx="1577">
                  <c:v>242.6</c:v>
                </c:pt>
                <c:pt idx="1578">
                  <c:v>242.6</c:v>
                </c:pt>
                <c:pt idx="1579">
                  <c:v>241.91</c:v>
                </c:pt>
                <c:pt idx="1580">
                  <c:v>244.78</c:v>
                </c:pt>
                <c:pt idx="1581">
                  <c:v>246.06</c:v>
                </c:pt>
                <c:pt idx="1582">
                  <c:v>246.88000000000002</c:v>
                </c:pt>
                <c:pt idx="1583">
                  <c:v>246.9</c:v>
                </c:pt>
                <c:pt idx="1584">
                  <c:v>246.53</c:v>
                </c:pt>
                <c:pt idx="1585">
                  <c:v>247.91</c:v>
                </c:pt>
                <c:pt idx="1586">
                  <c:v>247.4</c:v>
                </c:pt>
                <c:pt idx="1587">
                  <c:v>245.66</c:v>
                </c:pt>
                <c:pt idx="1588">
                  <c:v>246.18</c:v>
                </c:pt>
                <c:pt idx="1589">
                  <c:v>247.7</c:v>
                </c:pt>
                <c:pt idx="1590">
                  <c:v>246.16</c:v>
                </c:pt>
                <c:pt idx="1591">
                  <c:v>247.13</c:v>
                </c:pt>
                <c:pt idx="1592">
                  <c:v>249.47</c:v>
                </c:pt>
                <c:pt idx="1593">
                  <c:v>250.22</c:v>
                </c:pt>
                <c:pt idx="1594">
                  <c:v>251.4</c:v>
                </c:pt>
                <c:pt idx="1595">
                  <c:v>251.07</c:v>
                </c:pt>
                <c:pt idx="1596">
                  <c:v>249.43</c:v>
                </c:pt>
                <c:pt idx="1597">
                  <c:v>244.76</c:v>
                </c:pt>
                <c:pt idx="1598">
                  <c:v>242.10999999999999</c:v>
                </c:pt>
                <c:pt idx="1599">
                  <c:v>242.3</c:v>
                </c:pt>
                <c:pt idx="1600">
                  <c:v>236.91</c:v>
                </c:pt>
                <c:pt idx="1601">
                  <c:v>234.70999999999998</c:v>
                </c:pt>
                <c:pt idx="1602">
                  <c:v>235.06</c:v>
                </c:pt>
                <c:pt idx="1603">
                  <c:v>229.17</c:v>
                </c:pt>
                <c:pt idx="1604">
                  <c:v>234.22</c:v>
                </c:pt>
                <c:pt idx="1605">
                  <c:v>231.43</c:v>
                </c:pt>
                <c:pt idx="1606">
                  <c:v>233.36</c:v>
                </c:pt>
                <c:pt idx="1607">
                  <c:v>237.96</c:v>
                </c:pt>
                <c:pt idx="1608">
                  <c:v>237.63</c:v>
                </c:pt>
                <c:pt idx="1609">
                  <c:v>233.15</c:v>
                </c:pt>
                <c:pt idx="1610">
                  <c:v>235.56</c:v>
                </c:pt>
                <c:pt idx="1611">
                  <c:v>237.32000000000002</c:v>
                </c:pt>
                <c:pt idx="1612">
                  <c:v>238.68</c:v>
                </c:pt>
                <c:pt idx="1613">
                  <c:v>237.35000000000002</c:v>
                </c:pt>
                <c:pt idx="1614">
                  <c:v>234.05</c:v>
                </c:pt>
                <c:pt idx="1615">
                  <c:v>235.7</c:v>
                </c:pt>
                <c:pt idx="1616">
                  <c:v>230.8</c:v>
                </c:pt>
                <c:pt idx="1617">
                  <c:v>234.53</c:v>
                </c:pt>
                <c:pt idx="1618">
                  <c:v>232.12</c:v>
                </c:pt>
                <c:pt idx="1619">
                  <c:v>226.76</c:v>
                </c:pt>
                <c:pt idx="1620">
                  <c:v>227.62</c:v>
                </c:pt>
                <c:pt idx="1621">
                  <c:v>231.36</c:v>
                </c:pt>
                <c:pt idx="1622">
                  <c:v>229.32000000000002</c:v>
                </c:pt>
                <c:pt idx="1623">
                  <c:v>230.67</c:v>
                </c:pt>
                <c:pt idx="1624">
                  <c:v>231.07</c:v>
                </c:pt>
                <c:pt idx="1625">
                  <c:v>231.07</c:v>
                </c:pt>
                <c:pt idx="1626">
                  <c:v>232.16</c:v>
                </c:pt>
                <c:pt idx="1627">
                  <c:v>232</c:v>
                </c:pt>
                <c:pt idx="1628">
                  <c:v>231.3</c:v>
                </c:pt>
                <c:pt idx="1629">
                  <c:v>229.95000000000002</c:v>
                </c:pt>
                <c:pt idx="1630">
                  <c:v>231.02</c:v>
                </c:pt>
                <c:pt idx="1631">
                  <c:v>234.96</c:v>
                </c:pt>
                <c:pt idx="1632">
                  <c:v>237.42000000000002</c:v>
                </c:pt>
                <c:pt idx="1633">
                  <c:v>238.42000000000002</c:v>
                </c:pt>
                <c:pt idx="1634">
                  <c:v>239.07</c:v>
                </c:pt>
                <c:pt idx="1635">
                  <c:v>236.46</c:v>
                </c:pt>
                <c:pt idx="1636">
                  <c:v>237.59</c:v>
                </c:pt>
                <c:pt idx="1637">
                  <c:v>237.51</c:v>
                </c:pt>
                <c:pt idx="1638">
                  <c:v>238.16</c:v>
                </c:pt>
                <c:pt idx="1639">
                  <c:v>236.58</c:v>
                </c:pt>
                <c:pt idx="1640">
                  <c:v>236.86</c:v>
                </c:pt>
                <c:pt idx="1641">
                  <c:v>233.94</c:v>
                </c:pt>
                <c:pt idx="1642">
                  <c:v>231.08</c:v>
                </c:pt>
                <c:pt idx="1643">
                  <c:v>230.6</c:v>
                </c:pt>
                <c:pt idx="1644">
                  <c:v>231.38000000000002</c:v>
                </c:pt>
                <c:pt idx="1645">
                  <c:v>236.39000000000001</c:v>
                </c:pt>
                <c:pt idx="1646">
                  <c:v>237.13</c:v>
                </c:pt>
                <c:pt idx="1647">
                  <c:v>235.38000000000002</c:v>
                </c:pt>
                <c:pt idx="1648">
                  <c:v>239.38000000000002</c:v>
                </c:pt>
                <c:pt idx="1649">
                  <c:v>240.05</c:v>
                </c:pt>
                <c:pt idx="1650">
                  <c:v>241.36</c:v>
                </c:pt>
                <c:pt idx="1651">
                  <c:v>244.15</c:v>
                </c:pt>
                <c:pt idx="1652">
                  <c:v>245.60999999999999</c:v>
                </c:pt>
                <c:pt idx="1653">
                  <c:v>244.76</c:v>
                </c:pt>
                <c:pt idx="1654">
                  <c:v>243.73999999999998</c:v>
                </c:pt>
                <c:pt idx="1655">
                  <c:v>245.68</c:v>
                </c:pt>
                <c:pt idx="1656">
                  <c:v>243.56</c:v>
                </c:pt>
                <c:pt idx="1657">
                  <c:v>246.64</c:v>
                </c:pt>
                <c:pt idx="1658">
                  <c:v>244.7</c:v>
                </c:pt>
                <c:pt idx="1659">
                  <c:v>245.06</c:v>
                </c:pt>
                <c:pt idx="1660">
                  <c:v>246.04</c:v>
                </c:pt>
                <c:pt idx="1661">
                  <c:v>244.99</c:v>
                </c:pt>
                <c:pt idx="1662">
                  <c:v>246.20999999999998</c:v>
                </c:pt>
                <c:pt idx="1663">
                  <c:v>247.92000000000002</c:v>
                </c:pt>
                <c:pt idx="1664">
                  <c:v>249.41</c:v>
                </c:pt>
                <c:pt idx="1665">
                  <c:v>249.93</c:v>
                </c:pt>
                <c:pt idx="1666">
                  <c:v>249.67</c:v>
                </c:pt>
                <c:pt idx="1667">
                  <c:v>248.9</c:v>
                </c:pt>
                <c:pt idx="1668">
                  <c:v>249.19</c:v>
                </c:pt>
                <c:pt idx="1669">
                  <c:v>249.96</c:v>
                </c:pt>
                <c:pt idx="1670">
                  <c:v>249.52</c:v>
                </c:pt>
                <c:pt idx="1671">
                  <c:v>250.41</c:v>
                </c:pt>
                <c:pt idx="1672">
                  <c:v>250.82000000000002</c:v>
                </c:pt>
                <c:pt idx="1673">
                  <c:v>251.7</c:v>
                </c:pt>
                <c:pt idx="1674">
                  <c:v>253</c:v>
                </c:pt>
                <c:pt idx="1675">
                  <c:v>254.58</c:v>
                </c:pt>
                <c:pt idx="1676">
                  <c:v>253.76999999999998</c:v>
                </c:pt>
                <c:pt idx="1677">
                  <c:v>255.64</c:v>
                </c:pt>
                <c:pt idx="1678">
                  <c:v>256.38</c:v>
                </c:pt>
                <c:pt idx="1679">
                  <c:v>255.39000000000001</c:v>
                </c:pt>
                <c:pt idx="1680">
                  <c:v>252.39000000000001</c:v>
                </c:pt>
                <c:pt idx="1681">
                  <c:v>251.37</c:v>
                </c:pt>
                <c:pt idx="1682">
                  <c:v>252.70999999999998</c:v>
                </c:pt>
                <c:pt idx="1683">
                  <c:v>252.10999999999999</c:v>
                </c:pt>
                <c:pt idx="1684">
                  <c:v>255.9</c:v>
                </c:pt>
                <c:pt idx="1685">
                  <c:v>256.86</c:v>
                </c:pt>
                <c:pt idx="1686">
                  <c:v>257.72000000000003</c:v>
                </c:pt>
                <c:pt idx="1687">
                  <c:v>259.18</c:v>
                </c:pt>
                <c:pt idx="1688">
                  <c:v>258.36</c:v>
                </c:pt>
                <c:pt idx="1689">
                  <c:v>257.10000000000002</c:v>
                </c:pt>
                <c:pt idx="1690">
                  <c:v>258.89</c:v>
                </c:pt>
                <c:pt idx="1691">
                  <c:v>261.12</c:v>
                </c:pt>
                <c:pt idx="1692">
                  <c:v>258.42999999999995</c:v>
                </c:pt>
                <c:pt idx="1693">
                  <c:v>258.83</c:v>
                </c:pt>
                <c:pt idx="1694">
                  <c:v>262.44</c:v>
                </c:pt>
                <c:pt idx="1695">
                  <c:v>263.31</c:v>
                </c:pt>
                <c:pt idx="1696">
                  <c:v>262.78999999999996</c:v>
                </c:pt>
                <c:pt idx="1697">
                  <c:v>262.41999999999996</c:v>
                </c:pt>
                <c:pt idx="1698">
                  <c:v>263.26</c:v>
                </c:pt>
                <c:pt idx="1699">
                  <c:v>262.83999999999992</c:v>
                </c:pt>
                <c:pt idx="1700">
                  <c:v>266.31</c:v>
                </c:pt>
                <c:pt idx="1701">
                  <c:v>267.5</c:v>
                </c:pt>
                <c:pt idx="1702">
                  <c:v>269.74</c:v>
                </c:pt>
                <c:pt idx="1703">
                  <c:v>268.52999999999992</c:v>
                </c:pt>
                <c:pt idx="1704">
                  <c:v>270.45999999999992</c:v>
                </c:pt>
                <c:pt idx="1705">
                  <c:v>271.14999999999998</c:v>
                </c:pt>
                <c:pt idx="1706">
                  <c:v>273.33</c:v>
                </c:pt>
                <c:pt idx="1707">
                  <c:v>274.61</c:v>
                </c:pt>
                <c:pt idx="1708">
                  <c:v>274.5</c:v>
                </c:pt>
                <c:pt idx="1709">
                  <c:v>270.72999999999996</c:v>
                </c:pt>
                <c:pt idx="1710">
                  <c:v>273.77</c:v>
                </c:pt>
                <c:pt idx="1711">
                  <c:v>272.78999999999996</c:v>
                </c:pt>
                <c:pt idx="1712">
                  <c:v>274.32</c:v>
                </c:pt>
                <c:pt idx="1713">
                  <c:v>274.20999999999992</c:v>
                </c:pt>
                <c:pt idx="1714">
                  <c:v>274.95999999999992</c:v>
                </c:pt>
                <c:pt idx="1715">
                  <c:v>276.10000000000002</c:v>
                </c:pt>
                <c:pt idx="1716">
                  <c:v>276.39</c:v>
                </c:pt>
                <c:pt idx="1717">
                  <c:v>276.05</c:v>
                </c:pt>
                <c:pt idx="1718">
                  <c:v>275.02999999999992</c:v>
                </c:pt>
                <c:pt idx="1719">
                  <c:v>275.81</c:v>
                </c:pt>
                <c:pt idx="1720">
                  <c:v>275.52</c:v>
                </c:pt>
                <c:pt idx="1721">
                  <c:v>275.63</c:v>
                </c:pt>
                <c:pt idx="1722">
                  <c:v>275.54000000000002</c:v>
                </c:pt>
                <c:pt idx="1723">
                  <c:v>278.41000000000003</c:v>
                </c:pt>
                <c:pt idx="1724">
                  <c:v>278.72999999999996</c:v>
                </c:pt>
                <c:pt idx="1725">
                  <c:v>280.22999999999996</c:v>
                </c:pt>
                <c:pt idx="1726">
                  <c:v>280.39999999999992</c:v>
                </c:pt>
                <c:pt idx="1727">
                  <c:v>282.33</c:v>
                </c:pt>
                <c:pt idx="1728">
                  <c:v>283.48999999999995</c:v>
                </c:pt>
                <c:pt idx="1729">
                  <c:v>282.19</c:v>
                </c:pt>
                <c:pt idx="1730">
                  <c:v>284.86</c:v>
                </c:pt>
                <c:pt idx="1731">
                  <c:v>286.83999999999992</c:v>
                </c:pt>
                <c:pt idx="1732">
                  <c:v>284.58999999999992</c:v>
                </c:pt>
                <c:pt idx="1733">
                  <c:v>285.48999999999995</c:v>
                </c:pt>
                <c:pt idx="1734">
                  <c:v>285.91999999999996</c:v>
                </c:pt>
                <c:pt idx="1735">
                  <c:v>284.20999999999992</c:v>
                </c:pt>
                <c:pt idx="1736">
                  <c:v>283.87</c:v>
                </c:pt>
                <c:pt idx="1737">
                  <c:v>282.63</c:v>
                </c:pt>
                <c:pt idx="1738">
                  <c:v>279.47000000000003</c:v>
                </c:pt>
                <c:pt idx="1739">
                  <c:v>278.75</c:v>
                </c:pt>
                <c:pt idx="1740">
                  <c:v>283.18</c:v>
                </c:pt>
                <c:pt idx="1741">
                  <c:v>283.02</c:v>
                </c:pt>
                <c:pt idx="1742">
                  <c:v>282.58</c:v>
                </c:pt>
                <c:pt idx="1743">
                  <c:v>284.41000000000003</c:v>
                </c:pt>
                <c:pt idx="1744">
                  <c:v>285.7</c:v>
                </c:pt>
                <c:pt idx="1745">
                  <c:v>284.82</c:v>
                </c:pt>
                <c:pt idx="1746">
                  <c:v>287.76</c:v>
                </c:pt>
                <c:pt idx="1747">
                  <c:v>287.94</c:v>
                </c:pt>
                <c:pt idx="1748">
                  <c:v>289.87</c:v>
                </c:pt>
                <c:pt idx="1749">
                  <c:v>290.48999999999995</c:v>
                </c:pt>
                <c:pt idx="1750">
                  <c:v>293.25</c:v>
                </c:pt>
                <c:pt idx="1751">
                  <c:v>294.27</c:v>
                </c:pt>
                <c:pt idx="1752">
                  <c:v>295.56</c:v>
                </c:pt>
                <c:pt idx="1753">
                  <c:v>294.63</c:v>
                </c:pt>
                <c:pt idx="1754">
                  <c:v>293.04000000000002</c:v>
                </c:pt>
                <c:pt idx="1755">
                  <c:v>293.72000000000003</c:v>
                </c:pt>
                <c:pt idx="1756">
                  <c:v>293.14000000000004</c:v>
                </c:pt>
                <c:pt idx="1757">
                  <c:v>292.44</c:v>
                </c:pt>
                <c:pt idx="1758">
                  <c:v>292.44</c:v>
                </c:pt>
                <c:pt idx="1759">
                  <c:v>292.44</c:v>
                </c:pt>
                <c:pt idx="1760">
                  <c:v>295.56</c:v>
                </c:pt>
                <c:pt idx="1761">
                  <c:v>295.88</c:v>
                </c:pt>
                <c:pt idx="1762">
                  <c:v>294.08999999999992</c:v>
                </c:pt>
                <c:pt idx="1763">
                  <c:v>294.08999999999992</c:v>
                </c:pt>
                <c:pt idx="1764">
                  <c:v>299.2</c:v>
                </c:pt>
                <c:pt idx="1765">
                  <c:v>298.12</c:v>
                </c:pt>
                <c:pt idx="1766">
                  <c:v>296.97999999999996</c:v>
                </c:pt>
                <c:pt idx="1767">
                  <c:v>294.7</c:v>
                </c:pt>
                <c:pt idx="1768">
                  <c:v>294.5</c:v>
                </c:pt>
                <c:pt idx="1769">
                  <c:v>296.39</c:v>
                </c:pt>
                <c:pt idx="1770">
                  <c:v>295.11</c:v>
                </c:pt>
                <c:pt idx="1771">
                  <c:v>301</c:v>
                </c:pt>
                <c:pt idx="1772">
                  <c:v>303.2</c:v>
                </c:pt>
                <c:pt idx="1773">
                  <c:v>305.39</c:v>
                </c:pt>
                <c:pt idx="1774">
                  <c:v>302.66000000000008</c:v>
                </c:pt>
                <c:pt idx="1775">
                  <c:v>303.39999999999992</c:v>
                </c:pt>
                <c:pt idx="1776">
                  <c:v>303.82</c:v>
                </c:pt>
                <c:pt idx="1777">
                  <c:v>305.08</c:v>
                </c:pt>
                <c:pt idx="1778">
                  <c:v>303.86</c:v>
                </c:pt>
                <c:pt idx="1779">
                  <c:v>303.77999999999992</c:v>
                </c:pt>
                <c:pt idx="1780">
                  <c:v>306.67</c:v>
                </c:pt>
                <c:pt idx="1781">
                  <c:v>305.98999999999995</c:v>
                </c:pt>
                <c:pt idx="1782">
                  <c:v>304.01</c:v>
                </c:pt>
                <c:pt idx="1783">
                  <c:v>304.35000000000002</c:v>
                </c:pt>
                <c:pt idx="1784">
                  <c:v>304.58</c:v>
                </c:pt>
                <c:pt idx="1785">
                  <c:v>302.24</c:v>
                </c:pt>
                <c:pt idx="1786">
                  <c:v>306.91999999999996</c:v>
                </c:pt>
                <c:pt idx="1787">
                  <c:v>309.57</c:v>
                </c:pt>
                <c:pt idx="1788">
                  <c:v>309.76</c:v>
                </c:pt>
                <c:pt idx="1789">
                  <c:v>312.37</c:v>
                </c:pt>
                <c:pt idx="1790">
                  <c:v>313.26</c:v>
                </c:pt>
                <c:pt idx="1791">
                  <c:v>309.86</c:v>
                </c:pt>
                <c:pt idx="1792">
                  <c:v>311.27</c:v>
                </c:pt>
                <c:pt idx="1793">
                  <c:v>310.25</c:v>
                </c:pt>
                <c:pt idx="1794">
                  <c:v>309.72000000000003</c:v>
                </c:pt>
                <c:pt idx="1795">
                  <c:v>312.89</c:v>
                </c:pt>
                <c:pt idx="1796">
                  <c:v>312.11</c:v>
                </c:pt>
                <c:pt idx="1797">
                  <c:v>312.19</c:v>
                </c:pt>
                <c:pt idx="1798">
                  <c:v>312.47999999999996</c:v>
                </c:pt>
                <c:pt idx="1799">
                  <c:v>311.95</c:v>
                </c:pt>
                <c:pt idx="1800">
                  <c:v>309.75</c:v>
                </c:pt>
                <c:pt idx="1801">
                  <c:v>310.58</c:v>
                </c:pt>
                <c:pt idx="1802">
                  <c:v>311.26</c:v>
                </c:pt>
                <c:pt idx="1803">
                  <c:v>312.27999999999992</c:v>
                </c:pt>
                <c:pt idx="1804">
                  <c:v>302.5</c:v>
                </c:pt>
                <c:pt idx="1805">
                  <c:v>297.70999999999992</c:v>
                </c:pt>
                <c:pt idx="1806">
                  <c:v>295.66000000000008</c:v>
                </c:pt>
                <c:pt idx="1807">
                  <c:v>294.31</c:v>
                </c:pt>
                <c:pt idx="1808">
                  <c:v>290.26</c:v>
                </c:pt>
                <c:pt idx="1809">
                  <c:v>294.26</c:v>
                </c:pt>
                <c:pt idx="1810">
                  <c:v>296.89999999999992</c:v>
                </c:pt>
                <c:pt idx="1811">
                  <c:v>300.83</c:v>
                </c:pt>
                <c:pt idx="1812">
                  <c:v>302.66000000000008</c:v>
                </c:pt>
                <c:pt idx="1813">
                  <c:v>300.69</c:v>
                </c:pt>
                <c:pt idx="1814">
                  <c:v>296.86</c:v>
                </c:pt>
                <c:pt idx="1815">
                  <c:v>288.54000000000002</c:v>
                </c:pt>
                <c:pt idx="1816">
                  <c:v>294.8</c:v>
                </c:pt>
                <c:pt idx="1817">
                  <c:v>295.22999999999996</c:v>
                </c:pt>
                <c:pt idx="1818">
                  <c:v>299.67</c:v>
                </c:pt>
                <c:pt idx="1819">
                  <c:v>301.85000000000002</c:v>
                </c:pt>
                <c:pt idx="1820">
                  <c:v>303.07</c:v>
                </c:pt>
                <c:pt idx="1821">
                  <c:v>308.11</c:v>
                </c:pt>
                <c:pt idx="1822">
                  <c:v>309.56</c:v>
                </c:pt>
                <c:pt idx="1823">
                  <c:v>306.78999999999996</c:v>
                </c:pt>
                <c:pt idx="1824">
                  <c:v>306.39999999999992</c:v>
                </c:pt>
                <c:pt idx="1825">
                  <c:v>305.26</c:v>
                </c:pt>
                <c:pt idx="1826">
                  <c:v>308.83</c:v>
                </c:pt>
                <c:pt idx="1827">
                  <c:v>309.20999999999992</c:v>
                </c:pt>
                <c:pt idx="1828">
                  <c:v>311.18</c:v>
                </c:pt>
                <c:pt idx="1829">
                  <c:v>314.39999999999992</c:v>
                </c:pt>
                <c:pt idx="1830">
                  <c:v>315.14999999999998</c:v>
                </c:pt>
                <c:pt idx="1831">
                  <c:v>315.07</c:v>
                </c:pt>
                <c:pt idx="1832">
                  <c:v>315.07</c:v>
                </c:pt>
                <c:pt idx="1833">
                  <c:v>315.07</c:v>
                </c:pt>
                <c:pt idx="1834">
                  <c:v>317.52999999999992</c:v>
                </c:pt>
                <c:pt idx="1835">
                  <c:v>317.61</c:v>
                </c:pt>
                <c:pt idx="1836">
                  <c:v>316.3</c:v>
                </c:pt>
                <c:pt idx="1837">
                  <c:v>318.3</c:v>
                </c:pt>
                <c:pt idx="1838">
                  <c:v>322.12</c:v>
                </c:pt>
                <c:pt idx="1839">
                  <c:v>322.61</c:v>
                </c:pt>
                <c:pt idx="1840">
                  <c:v>320.33</c:v>
                </c:pt>
                <c:pt idx="1841">
                  <c:v>319.51</c:v>
                </c:pt>
                <c:pt idx="1842">
                  <c:v>324.41999999999996</c:v>
                </c:pt>
                <c:pt idx="1843">
                  <c:v>324.60000000000002</c:v>
                </c:pt>
                <c:pt idx="1844">
                  <c:v>322.27999999999992</c:v>
                </c:pt>
                <c:pt idx="1845">
                  <c:v>324.89</c:v>
                </c:pt>
                <c:pt idx="1846">
                  <c:v>326.24</c:v>
                </c:pt>
                <c:pt idx="1847">
                  <c:v>325.51</c:v>
                </c:pt>
                <c:pt idx="1848">
                  <c:v>326.06</c:v>
                </c:pt>
                <c:pt idx="1849">
                  <c:v>325.91000000000003</c:v>
                </c:pt>
                <c:pt idx="1850">
                  <c:v>326.68</c:v>
                </c:pt>
                <c:pt idx="1851">
                  <c:v>325.91999999999996</c:v>
                </c:pt>
                <c:pt idx="1852">
                  <c:v>328.94</c:v>
                </c:pt>
                <c:pt idx="1853">
                  <c:v>330.17</c:v>
                </c:pt>
                <c:pt idx="1854">
                  <c:v>326.18</c:v>
                </c:pt>
                <c:pt idx="1855">
                  <c:v>325.83999999999992</c:v>
                </c:pt>
                <c:pt idx="1856">
                  <c:v>323.07</c:v>
                </c:pt>
                <c:pt idx="1857">
                  <c:v>325.83999999999992</c:v>
                </c:pt>
                <c:pt idx="1858">
                  <c:v>325.28999999999996</c:v>
                </c:pt>
                <c:pt idx="1859">
                  <c:v>326.7</c:v>
                </c:pt>
                <c:pt idx="1860">
                  <c:v>326.11</c:v>
                </c:pt>
                <c:pt idx="1861">
                  <c:v>325.89</c:v>
                </c:pt>
                <c:pt idx="1862">
                  <c:v>328.67</c:v>
                </c:pt>
                <c:pt idx="1863">
                  <c:v>328.75</c:v>
                </c:pt>
                <c:pt idx="1864">
                  <c:v>329.67</c:v>
                </c:pt>
                <c:pt idx="1865">
                  <c:v>333.27</c:v>
                </c:pt>
                <c:pt idx="1866">
                  <c:v>330.69</c:v>
                </c:pt>
                <c:pt idx="1867">
                  <c:v>330.41999999999996</c:v>
                </c:pt>
                <c:pt idx="1868">
                  <c:v>331.28999999999996</c:v>
                </c:pt>
                <c:pt idx="1869">
                  <c:v>331.56</c:v>
                </c:pt>
                <c:pt idx="1870">
                  <c:v>330.40999999999997</c:v>
                </c:pt>
                <c:pt idx="1871">
                  <c:v>332.59</c:v>
                </c:pt>
                <c:pt idx="1872">
                  <c:v>335.35</c:v>
                </c:pt>
                <c:pt idx="1873">
                  <c:v>333.67</c:v>
                </c:pt>
                <c:pt idx="1874">
                  <c:v>332.16</c:v>
                </c:pt>
                <c:pt idx="1875">
                  <c:v>326.28999999999996</c:v>
                </c:pt>
                <c:pt idx="1876">
                  <c:v>321.22999999999996</c:v>
                </c:pt>
                <c:pt idx="1877">
                  <c:v>320.92999999999995</c:v>
                </c:pt>
                <c:pt idx="1878">
                  <c:v>322.68</c:v>
                </c:pt>
                <c:pt idx="1879">
                  <c:v>320.95999999999992</c:v>
                </c:pt>
                <c:pt idx="1880">
                  <c:v>322.2</c:v>
                </c:pt>
                <c:pt idx="1881">
                  <c:v>327.58</c:v>
                </c:pt>
                <c:pt idx="1882">
                  <c:v>331.08</c:v>
                </c:pt>
                <c:pt idx="1883">
                  <c:v>329.11</c:v>
                </c:pt>
                <c:pt idx="1884">
                  <c:v>328.5</c:v>
                </c:pt>
                <c:pt idx="1885">
                  <c:v>328.46</c:v>
                </c:pt>
                <c:pt idx="1886">
                  <c:v>324.58</c:v>
                </c:pt>
                <c:pt idx="1887">
                  <c:v>323.38</c:v>
                </c:pt>
                <c:pt idx="1888">
                  <c:v>322.86</c:v>
                </c:pt>
                <c:pt idx="1889">
                  <c:v>321.56</c:v>
                </c:pt>
                <c:pt idx="1890">
                  <c:v>318.86</c:v>
                </c:pt>
                <c:pt idx="1891">
                  <c:v>321.98999999999995</c:v>
                </c:pt>
                <c:pt idx="1892">
                  <c:v>322.33</c:v>
                </c:pt>
                <c:pt idx="1893">
                  <c:v>320.04000000000002</c:v>
                </c:pt>
                <c:pt idx="1894">
                  <c:v>323.02999999999992</c:v>
                </c:pt>
                <c:pt idx="1895">
                  <c:v>325</c:v>
                </c:pt>
                <c:pt idx="1896">
                  <c:v>323.45</c:v>
                </c:pt>
                <c:pt idx="1897">
                  <c:v>324.41000000000003</c:v>
                </c:pt>
                <c:pt idx="1898">
                  <c:v>325.72000000000003</c:v>
                </c:pt>
                <c:pt idx="1899">
                  <c:v>321.62</c:v>
                </c:pt>
                <c:pt idx="1900">
                  <c:v>321.56</c:v>
                </c:pt>
                <c:pt idx="1901">
                  <c:v>325.48999999999995</c:v>
                </c:pt>
                <c:pt idx="1902">
                  <c:v>327.01</c:v>
                </c:pt>
                <c:pt idx="1903">
                  <c:v>328.02</c:v>
                </c:pt>
                <c:pt idx="1904">
                  <c:v>327.33999999999992</c:v>
                </c:pt>
                <c:pt idx="1905">
                  <c:v>325.66000000000008</c:v>
                </c:pt>
                <c:pt idx="1906">
                  <c:v>327.97999999999996</c:v>
                </c:pt>
                <c:pt idx="1907">
                  <c:v>325.01</c:v>
                </c:pt>
                <c:pt idx="1908">
                  <c:v>326.51</c:v>
                </c:pt>
                <c:pt idx="1909">
                  <c:v>320.87</c:v>
                </c:pt>
                <c:pt idx="1910">
                  <c:v>319.22000000000003</c:v>
                </c:pt>
                <c:pt idx="1911">
                  <c:v>309.3</c:v>
                </c:pt>
                <c:pt idx="1912">
                  <c:v>307.35000000000002</c:v>
                </c:pt>
                <c:pt idx="1913">
                  <c:v>305.82</c:v>
                </c:pt>
                <c:pt idx="1914">
                  <c:v>312.7</c:v>
                </c:pt>
                <c:pt idx="1915">
                  <c:v>307.02</c:v>
                </c:pt>
                <c:pt idx="1916">
                  <c:v>310.91000000000003</c:v>
                </c:pt>
                <c:pt idx="1917">
                  <c:v>307.61</c:v>
                </c:pt>
                <c:pt idx="1918">
                  <c:v>305.04000000000002</c:v>
                </c:pt>
                <c:pt idx="1919">
                  <c:v>310.33999999999992</c:v>
                </c:pt>
                <c:pt idx="1920">
                  <c:v>317.19</c:v>
                </c:pt>
                <c:pt idx="1921">
                  <c:v>313.88</c:v>
                </c:pt>
                <c:pt idx="1922">
                  <c:v>303.95</c:v>
                </c:pt>
                <c:pt idx="1923">
                  <c:v>310.02999999999992</c:v>
                </c:pt>
                <c:pt idx="1924">
                  <c:v>306.01</c:v>
                </c:pt>
                <c:pt idx="1925">
                  <c:v>305.66000000000008</c:v>
                </c:pt>
                <c:pt idx="1926">
                  <c:v>295.19</c:v>
                </c:pt>
                <c:pt idx="1927">
                  <c:v>302.97999999999996</c:v>
                </c:pt>
                <c:pt idx="1928">
                  <c:v>304.5</c:v>
                </c:pt>
                <c:pt idx="1929">
                  <c:v>303.58</c:v>
                </c:pt>
                <c:pt idx="1930">
                  <c:v>310.12</c:v>
                </c:pt>
                <c:pt idx="1931">
                  <c:v>310.64000000000004</c:v>
                </c:pt>
                <c:pt idx="1932">
                  <c:v>311.22000000000003</c:v>
                </c:pt>
                <c:pt idx="1933">
                  <c:v>311.44</c:v>
                </c:pt>
                <c:pt idx="1934">
                  <c:v>305.92999999999995</c:v>
                </c:pt>
                <c:pt idx="1935">
                  <c:v>308.33999999999992</c:v>
                </c:pt>
                <c:pt idx="1936">
                  <c:v>311.35000000000002</c:v>
                </c:pt>
                <c:pt idx="1937">
                  <c:v>315.37</c:v>
                </c:pt>
                <c:pt idx="1938">
                  <c:v>317</c:v>
                </c:pt>
                <c:pt idx="1939">
                  <c:v>317.54000000000002</c:v>
                </c:pt>
                <c:pt idx="1940">
                  <c:v>311.41000000000003</c:v>
                </c:pt>
                <c:pt idx="1941">
                  <c:v>310.92999999999995</c:v>
                </c:pt>
                <c:pt idx="1942">
                  <c:v>302.98999999999995</c:v>
                </c:pt>
                <c:pt idx="1943">
                  <c:v>300.39</c:v>
                </c:pt>
                <c:pt idx="1944">
                  <c:v>305.72000000000003</c:v>
                </c:pt>
                <c:pt idx="1945">
                  <c:v>305.82</c:v>
                </c:pt>
                <c:pt idx="1946">
                  <c:v>307.74</c:v>
                </c:pt>
                <c:pt idx="1947">
                  <c:v>302.02</c:v>
                </c:pt>
                <c:pt idx="1948">
                  <c:v>294.87</c:v>
                </c:pt>
                <c:pt idx="1949">
                  <c:v>300.62</c:v>
                </c:pt>
                <c:pt idx="1950">
                  <c:v>308.98999999999995</c:v>
                </c:pt>
                <c:pt idx="1951">
                  <c:v>306.05</c:v>
                </c:pt>
                <c:pt idx="1952">
                  <c:v>307.62</c:v>
                </c:pt>
                <c:pt idx="1953">
                  <c:v>305.72000000000003</c:v>
                </c:pt>
                <c:pt idx="1954">
                  <c:v>301.08999999999992</c:v>
                </c:pt>
                <c:pt idx="1955">
                  <c:v>304.39999999999992</c:v>
                </c:pt>
                <c:pt idx="1956">
                  <c:v>308.51</c:v>
                </c:pt>
                <c:pt idx="1957">
                  <c:v>308.78999999999996</c:v>
                </c:pt>
                <c:pt idx="1958">
                  <c:v>310.2</c:v>
                </c:pt>
                <c:pt idx="1959">
                  <c:v>316.08999999999992</c:v>
                </c:pt>
                <c:pt idx="1960">
                  <c:v>318.78999999999996</c:v>
                </c:pt>
                <c:pt idx="1961">
                  <c:v>318.22999999999996</c:v>
                </c:pt>
                <c:pt idx="1962">
                  <c:v>319.58999999999992</c:v>
                </c:pt>
                <c:pt idx="1963">
                  <c:v>318.52</c:v>
                </c:pt>
                <c:pt idx="1964">
                  <c:v>320.06</c:v>
                </c:pt>
                <c:pt idx="1965">
                  <c:v>321.02999999999992</c:v>
                </c:pt>
                <c:pt idx="1966">
                  <c:v>319.81</c:v>
                </c:pt>
                <c:pt idx="1967">
                  <c:v>319.47000000000003</c:v>
                </c:pt>
                <c:pt idx="1968">
                  <c:v>314.37</c:v>
                </c:pt>
                <c:pt idx="1969">
                  <c:v>311.5</c:v>
                </c:pt>
                <c:pt idx="1970">
                  <c:v>315.83999999999992</c:v>
                </c:pt>
                <c:pt idx="1971">
                  <c:v>311.3</c:v>
                </c:pt>
                <c:pt idx="1972">
                  <c:v>310.61</c:v>
                </c:pt>
                <c:pt idx="1973">
                  <c:v>306.81</c:v>
                </c:pt>
                <c:pt idx="1974">
                  <c:v>310.02</c:v>
                </c:pt>
                <c:pt idx="1975">
                  <c:v>309.33</c:v>
                </c:pt>
                <c:pt idx="1976">
                  <c:v>314.77</c:v>
                </c:pt>
                <c:pt idx="1977">
                  <c:v>316.27999999999992</c:v>
                </c:pt>
                <c:pt idx="1978">
                  <c:v>316.97999999999996</c:v>
                </c:pt>
                <c:pt idx="1979">
                  <c:v>317.76</c:v>
                </c:pt>
                <c:pt idx="1980">
                  <c:v>322.25</c:v>
                </c:pt>
                <c:pt idx="1981">
                  <c:v>317.27999999999992</c:v>
                </c:pt>
                <c:pt idx="1982">
                  <c:v>315.47000000000003</c:v>
                </c:pt>
                <c:pt idx="1983">
                  <c:v>312.78999999999996</c:v>
                </c:pt>
                <c:pt idx="1984">
                  <c:v>312.05</c:v>
                </c:pt>
                <c:pt idx="1985">
                  <c:v>307.58</c:v>
                </c:pt>
                <c:pt idx="1986">
                  <c:v>303.86</c:v>
                </c:pt>
                <c:pt idx="1987">
                  <c:v>298.33999999999992</c:v>
                </c:pt>
                <c:pt idx="1988">
                  <c:v>298.56</c:v>
                </c:pt>
                <c:pt idx="1989">
                  <c:v>300.82</c:v>
                </c:pt>
                <c:pt idx="1990">
                  <c:v>300.41999999999996</c:v>
                </c:pt>
                <c:pt idx="1991">
                  <c:v>297.58</c:v>
                </c:pt>
                <c:pt idx="1992">
                  <c:v>295.87</c:v>
                </c:pt>
                <c:pt idx="1993">
                  <c:v>287.51</c:v>
                </c:pt>
                <c:pt idx="1994">
                  <c:v>292.13</c:v>
                </c:pt>
                <c:pt idx="1995">
                  <c:v>282.64999999999998</c:v>
                </c:pt>
                <c:pt idx="1996">
                  <c:v>284.67</c:v>
                </c:pt>
                <c:pt idx="1997">
                  <c:v>290.39999999999992</c:v>
                </c:pt>
                <c:pt idx="1998">
                  <c:v>288.51</c:v>
                </c:pt>
                <c:pt idx="1999">
                  <c:v>286.17</c:v>
                </c:pt>
                <c:pt idx="2000">
                  <c:v>294.06</c:v>
                </c:pt>
                <c:pt idx="2001">
                  <c:v>293.33999999999992</c:v>
                </c:pt>
                <c:pt idx="2002">
                  <c:v>296.75</c:v>
                </c:pt>
                <c:pt idx="2003">
                  <c:v>296.47000000000003</c:v>
                </c:pt>
                <c:pt idx="2004">
                  <c:v>288.87</c:v>
                </c:pt>
                <c:pt idx="2005">
                  <c:v>293.10000000000002</c:v>
                </c:pt>
                <c:pt idx="2006">
                  <c:v>291.02</c:v>
                </c:pt>
                <c:pt idx="2007">
                  <c:v>294.89</c:v>
                </c:pt>
                <c:pt idx="2008">
                  <c:v>297.47999999999996</c:v>
                </c:pt>
                <c:pt idx="2009">
                  <c:v>296.64000000000004</c:v>
                </c:pt>
                <c:pt idx="2010">
                  <c:v>299.39999999999992</c:v>
                </c:pt>
                <c:pt idx="2011">
                  <c:v>291.06</c:v>
                </c:pt>
                <c:pt idx="2012">
                  <c:v>291.7</c:v>
                </c:pt>
                <c:pt idx="2013">
                  <c:v>285.69</c:v>
                </c:pt>
                <c:pt idx="2014">
                  <c:v>286.07</c:v>
                </c:pt>
                <c:pt idx="2015">
                  <c:v>284.42999999999995</c:v>
                </c:pt>
                <c:pt idx="2016">
                  <c:v>284.17</c:v>
                </c:pt>
                <c:pt idx="2017">
                  <c:v>287.02</c:v>
                </c:pt>
                <c:pt idx="2018">
                  <c:v>285.56</c:v>
                </c:pt>
                <c:pt idx="2019">
                  <c:v>284.42999999999995</c:v>
                </c:pt>
                <c:pt idx="2020">
                  <c:v>285.44</c:v>
                </c:pt>
                <c:pt idx="2021">
                  <c:v>282.60000000000002</c:v>
                </c:pt>
                <c:pt idx="2022">
                  <c:v>280.08</c:v>
                </c:pt>
                <c:pt idx="2023">
                  <c:v>271.91999999999996</c:v>
                </c:pt>
                <c:pt idx="2024">
                  <c:v>267.42999999999995</c:v>
                </c:pt>
                <c:pt idx="2025">
                  <c:v>268.88</c:v>
                </c:pt>
                <c:pt idx="2026">
                  <c:v>263.78999999999996</c:v>
                </c:pt>
                <c:pt idx="2027">
                  <c:v>259.27999999999992</c:v>
                </c:pt>
                <c:pt idx="2028">
                  <c:v>260.83999999999992</c:v>
                </c:pt>
                <c:pt idx="2029">
                  <c:v>263.48999999999995</c:v>
                </c:pt>
                <c:pt idx="2030">
                  <c:v>255.41</c:v>
                </c:pt>
                <c:pt idx="2031">
                  <c:v>254.17</c:v>
                </c:pt>
                <c:pt idx="2032">
                  <c:v>255.19</c:v>
                </c:pt>
                <c:pt idx="2033">
                  <c:v>252.97</c:v>
                </c:pt>
                <c:pt idx="2034">
                  <c:v>240.64</c:v>
                </c:pt>
                <c:pt idx="2035">
                  <c:v>250.48000000000002</c:v>
                </c:pt>
                <c:pt idx="2036">
                  <c:v>246.53</c:v>
                </c:pt>
                <c:pt idx="2037">
                  <c:v>260.44</c:v>
                </c:pt>
                <c:pt idx="2038">
                  <c:v>260.37</c:v>
                </c:pt>
                <c:pt idx="2039">
                  <c:v>255.34</c:v>
                </c:pt>
                <c:pt idx="2040">
                  <c:v>261.95999999999992</c:v>
                </c:pt>
                <c:pt idx="2041">
                  <c:v>258.91000000000003</c:v>
                </c:pt>
                <c:pt idx="2042">
                  <c:v>256.70999999999992</c:v>
                </c:pt>
                <c:pt idx="2043">
                  <c:v>261.08999999999992</c:v>
                </c:pt>
                <c:pt idx="2044">
                  <c:v>264.39</c:v>
                </c:pt>
                <c:pt idx="2045">
                  <c:v>253.76999999999998</c:v>
                </c:pt>
                <c:pt idx="2046">
                  <c:v>253.57</c:v>
                </c:pt>
                <c:pt idx="2047">
                  <c:v>247.88000000000002</c:v>
                </c:pt>
                <c:pt idx="2048">
                  <c:v>249.51</c:v>
                </c:pt>
                <c:pt idx="2049">
                  <c:v>246.34</c:v>
                </c:pt>
                <c:pt idx="2050">
                  <c:v>254.03</c:v>
                </c:pt>
                <c:pt idx="2051">
                  <c:v>252.37</c:v>
                </c:pt>
                <c:pt idx="2052">
                  <c:v>253.28</c:v>
                </c:pt>
                <c:pt idx="2053">
                  <c:v>247.57</c:v>
                </c:pt>
                <c:pt idx="2054">
                  <c:v>253.17</c:v>
                </c:pt>
                <c:pt idx="2055">
                  <c:v>253.60999999999999</c:v>
                </c:pt>
                <c:pt idx="2056">
                  <c:v>252.31</c:v>
                </c:pt>
                <c:pt idx="2057">
                  <c:v>255.26999999999998</c:v>
                </c:pt>
                <c:pt idx="2058">
                  <c:v>253.23</c:v>
                </c:pt>
                <c:pt idx="2059">
                  <c:v>259.66000000000008</c:v>
                </c:pt>
                <c:pt idx="2060">
                  <c:v>265.13</c:v>
                </c:pt>
                <c:pt idx="2061">
                  <c:v>264.20999999999992</c:v>
                </c:pt>
                <c:pt idx="2062">
                  <c:v>259.42999999999995</c:v>
                </c:pt>
                <c:pt idx="2063">
                  <c:v>255.49</c:v>
                </c:pt>
                <c:pt idx="2064">
                  <c:v>250.53</c:v>
                </c:pt>
                <c:pt idx="2065">
                  <c:v>248.23</c:v>
                </c:pt>
                <c:pt idx="2066">
                  <c:v>254.20999999999998</c:v>
                </c:pt>
                <c:pt idx="2067">
                  <c:v>249.54</c:v>
                </c:pt>
                <c:pt idx="2068">
                  <c:v>247.64</c:v>
                </c:pt>
                <c:pt idx="2069">
                  <c:v>244.20999999999998</c:v>
                </c:pt>
                <c:pt idx="2070">
                  <c:v>248.41</c:v>
                </c:pt>
                <c:pt idx="2071">
                  <c:v>253.48000000000002</c:v>
                </c:pt>
                <c:pt idx="2072">
                  <c:v>248.32000000000002</c:v>
                </c:pt>
                <c:pt idx="2073">
                  <c:v>245.65</c:v>
                </c:pt>
                <c:pt idx="2074">
                  <c:v>231.94</c:v>
                </c:pt>
                <c:pt idx="2075">
                  <c:v>242.36</c:v>
                </c:pt>
                <c:pt idx="2076">
                  <c:v>241.04</c:v>
                </c:pt>
                <c:pt idx="2077">
                  <c:v>241.96</c:v>
                </c:pt>
                <c:pt idx="2078">
                  <c:v>253.16</c:v>
                </c:pt>
                <c:pt idx="2079">
                  <c:v>252.42000000000002</c:v>
                </c:pt>
                <c:pt idx="2080">
                  <c:v>257.05</c:v>
                </c:pt>
                <c:pt idx="2081">
                  <c:v>257.13</c:v>
                </c:pt>
                <c:pt idx="2082">
                  <c:v>256.98999999999995</c:v>
                </c:pt>
                <c:pt idx="2083">
                  <c:v>265.82</c:v>
                </c:pt>
                <c:pt idx="2084">
                  <c:v>270.39</c:v>
                </c:pt>
                <c:pt idx="2085">
                  <c:v>266.10000000000002</c:v>
                </c:pt>
                <c:pt idx="2086">
                  <c:v>265.92999999999995</c:v>
                </c:pt>
                <c:pt idx="2087">
                  <c:v>269.69</c:v>
                </c:pt>
                <c:pt idx="2088">
                  <c:v>266.10000000000002</c:v>
                </c:pt>
                <c:pt idx="2089">
                  <c:v>264.92999999999995</c:v>
                </c:pt>
                <c:pt idx="2090">
                  <c:v>262.61</c:v>
                </c:pt>
                <c:pt idx="2091">
                  <c:v>260.57</c:v>
                </c:pt>
                <c:pt idx="2092">
                  <c:v>257.58</c:v>
                </c:pt>
                <c:pt idx="2093">
                  <c:v>257.32</c:v>
                </c:pt>
                <c:pt idx="2094">
                  <c:v>263.52</c:v>
                </c:pt>
                <c:pt idx="2095">
                  <c:v>262.08</c:v>
                </c:pt>
                <c:pt idx="2096">
                  <c:v>268.16000000000008</c:v>
                </c:pt>
                <c:pt idx="2097">
                  <c:v>265.62</c:v>
                </c:pt>
                <c:pt idx="2098">
                  <c:v>264.57</c:v>
                </c:pt>
                <c:pt idx="2099">
                  <c:v>264.77</c:v>
                </c:pt>
                <c:pt idx="2100">
                  <c:v>261.91999999999996</c:v>
                </c:pt>
                <c:pt idx="2101">
                  <c:v>266.02</c:v>
                </c:pt>
                <c:pt idx="2102">
                  <c:v>268.37</c:v>
                </c:pt>
                <c:pt idx="2103">
                  <c:v>265.74</c:v>
                </c:pt>
                <c:pt idx="2104">
                  <c:v>267.22999999999996</c:v>
                </c:pt>
                <c:pt idx="2105">
                  <c:v>266.94</c:v>
                </c:pt>
                <c:pt idx="2106">
                  <c:v>274.57</c:v>
                </c:pt>
                <c:pt idx="2107">
                  <c:v>274.44</c:v>
                </c:pt>
                <c:pt idx="2108">
                  <c:v>273.01</c:v>
                </c:pt>
                <c:pt idx="2109">
                  <c:v>276.2</c:v>
                </c:pt>
                <c:pt idx="2110">
                  <c:v>276.39</c:v>
                </c:pt>
                <c:pt idx="2111">
                  <c:v>272.25</c:v>
                </c:pt>
                <c:pt idx="2112">
                  <c:v>273.41999999999996</c:v>
                </c:pt>
                <c:pt idx="2113">
                  <c:v>273.67</c:v>
                </c:pt>
                <c:pt idx="2114">
                  <c:v>275.17</c:v>
                </c:pt>
                <c:pt idx="2115">
                  <c:v>276.38</c:v>
                </c:pt>
                <c:pt idx="2116">
                  <c:v>276.45</c:v>
                </c:pt>
                <c:pt idx="2117">
                  <c:v>277.47999999999996</c:v>
                </c:pt>
                <c:pt idx="2118">
                  <c:v>271.47000000000003</c:v>
                </c:pt>
                <c:pt idx="2119">
                  <c:v>268.45</c:v>
                </c:pt>
                <c:pt idx="2120">
                  <c:v>270.17</c:v>
                </c:pt>
                <c:pt idx="2121">
                  <c:v>265.86</c:v>
                </c:pt>
                <c:pt idx="2122">
                  <c:v>264.91999999999996</c:v>
                </c:pt>
                <c:pt idx="2123">
                  <c:v>263.61</c:v>
                </c:pt>
                <c:pt idx="2124">
                  <c:v>265.86</c:v>
                </c:pt>
                <c:pt idx="2125">
                  <c:v>264.76</c:v>
                </c:pt>
                <c:pt idx="2126">
                  <c:v>266.72000000000003</c:v>
                </c:pt>
                <c:pt idx="2127">
                  <c:v>263.56</c:v>
                </c:pt>
                <c:pt idx="2128">
                  <c:v>264.33999999999992</c:v>
                </c:pt>
                <c:pt idx="2129">
                  <c:v>261.28999999999996</c:v>
                </c:pt>
                <c:pt idx="2130">
                  <c:v>259.95</c:v>
                </c:pt>
                <c:pt idx="2131">
                  <c:v>255.48000000000002</c:v>
                </c:pt>
                <c:pt idx="2132">
                  <c:v>251.49</c:v>
                </c:pt>
                <c:pt idx="2133">
                  <c:v>248.35000000000002</c:v>
                </c:pt>
                <c:pt idx="2134">
                  <c:v>242.85000000000002</c:v>
                </c:pt>
                <c:pt idx="2135">
                  <c:v>245.64</c:v>
                </c:pt>
                <c:pt idx="2136">
                  <c:v>248.46</c:v>
                </c:pt>
                <c:pt idx="2137">
                  <c:v>248.26999999999998</c:v>
                </c:pt>
                <c:pt idx="2138">
                  <c:v>248.96</c:v>
                </c:pt>
                <c:pt idx="2139">
                  <c:v>243.48000000000002</c:v>
                </c:pt>
                <c:pt idx="2140">
                  <c:v>240.46</c:v>
                </c:pt>
                <c:pt idx="2141">
                  <c:v>237.1</c:v>
                </c:pt>
                <c:pt idx="2142">
                  <c:v>235.86</c:v>
                </c:pt>
                <c:pt idx="2143">
                  <c:v>233.44</c:v>
                </c:pt>
                <c:pt idx="2144">
                  <c:v>238.3</c:v>
                </c:pt>
                <c:pt idx="2145">
                  <c:v>231.03</c:v>
                </c:pt>
                <c:pt idx="2146">
                  <c:v>231.2</c:v>
                </c:pt>
                <c:pt idx="2147">
                  <c:v>231.94</c:v>
                </c:pt>
                <c:pt idx="2148">
                  <c:v>226.75</c:v>
                </c:pt>
                <c:pt idx="2149">
                  <c:v>224.38000000000002</c:v>
                </c:pt>
                <c:pt idx="2150">
                  <c:v>225.76999999999998</c:v>
                </c:pt>
                <c:pt idx="2151">
                  <c:v>221.41</c:v>
                </c:pt>
                <c:pt idx="2152">
                  <c:v>223.28</c:v>
                </c:pt>
                <c:pt idx="2153">
                  <c:v>221.87</c:v>
                </c:pt>
                <c:pt idx="2154">
                  <c:v>227.44</c:v>
                </c:pt>
                <c:pt idx="2155">
                  <c:v>222.5</c:v>
                </c:pt>
                <c:pt idx="2156">
                  <c:v>214.76999999999998</c:v>
                </c:pt>
                <c:pt idx="2157">
                  <c:v>220.49</c:v>
                </c:pt>
                <c:pt idx="2158">
                  <c:v>213.05</c:v>
                </c:pt>
                <c:pt idx="2159">
                  <c:v>219.14</c:v>
                </c:pt>
                <c:pt idx="2160">
                  <c:v>226.57</c:v>
                </c:pt>
                <c:pt idx="2161">
                  <c:v>232.64</c:v>
                </c:pt>
                <c:pt idx="2162">
                  <c:v>234.20999999999998</c:v>
                </c:pt>
                <c:pt idx="2163">
                  <c:v>232.49</c:v>
                </c:pt>
                <c:pt idx="2164">
                  <c:v>240.53</c:v>
                </c:pt>
                <c:pt idx="2165">
                  <c:v>234.45000000000002</c:v>
                </c:pt>
                <c:pt idx="2166">
                  <c:v>234.17</c:v>
                </c:pt>
                <c:pt idx="2167">
                  <c:v>230.22</c:v>
                </c:pt>
                <c:pt idx="2168">
                  <c:v>233.32000000000002</c:v>
                </c:pt>
                <c:pt idx="2169">
                  <c:v>237.65</c:v>
                </c:pt>
                <c:pt idx="2170">
                  <c:v>234.58</c:v>
                </c:pt>
                <c:pt idx="2171">
                  <c:v>233.4</c:v>
                </c:pt>
                <c:pt idx="2172">
                  <c:v>231.4</c:v>
                </c:pt>
                <c:pt idx="2173">
                  <c:v>240.3</c:v>
                </c:pt>
                <c:pt idx="2174">
                  <c:v>242</c:v>
                </c:pt>
                <c:pt idx="2175">
                  <c:v>240.18</c:v>
                </c:pt>
                <c:pt idx="2176">
                  <c:v>245.89000000000001</c:v>
                </c:pt>
                <c:pt idx="2177">
                  <c:v>251.36</c:v>
                </c:pt>
                <c:pt idx="2178">
                  <c:v>251.15</c:v>
                </c:pt>
                <c:pt idx="2179">
                  <c:v>241.58</c:v>
                </c:pt>
                <c:pt idx="2180">
                  <c:v>241.03</c:v>
                </c:pt>
                <c:pt idx="2181">
                  <c:v>244.41</c:v>
                </c:pt>
                <c:pt idx="2182">
                  <c:v>243.22</c:v>
                </c:pt>
                <c:pt idx="2183">
                  <c:v>236.26</c:v>
                </c:pt>
                <c:pt idx="2184">
                  <c:v>237.01</c:v>
                </c:pt>
                <c:pt idx="2185">
                  <c:v>233.76999999999998</c:v>
                </c:pt>
                <c:pt idx="2186">
                  <c:v>239.36</c:v>
                </c:pt>
                <c:pt idx="2187">
                  <c:v>238.70999999999998</c:v>
                </c:pt>
                <c:pt idx="2188">
                  <c:v>238.34</c:v>
                </c:pt>
                <c:pt idx="2189">
                  <c:v>237.92000000000002</c:v>
                </c:pt>
                <c:pt idx="2190">
                  <c:v>242.65</c:v>
                </c:pt>
                <c:pt idx="2191">
                  <c:v>243.04</c:v>
                </c:pt>
                <c:pt idx="2192">
                  <c:v>243.12</c:v>
                </c:pt>
                <c:pt idx="2193">
                  <c:v>248.22</c:v>
                </c:pt>
                <c:pt idx="2194">
                  <c:v>245.4</c:v>
                </c:pt>
                <c:pt idx="2195">
                  <c:v>238.99</c:v>
                </c:pt>
                <c:pt idx="2196">
                  <c:v>234.57</c:v>
                </c:pt>
                <c:pt idx="2197">
                  <c:v>244.52</c:v>
                </c:pt>
                <c:pt idx="2198">
                  <c:v>244.83</c:v>
                </c:pt>
                <c:pt idx="2199">
                  <c:v>240.60999999999999</c:v>
                </c:pt>
                <c:pt idx="2200">
                  <c:v>237.88000000000002</c:v>
                </c:pt>
                <c:pt idx="2201">
                  <c:v>240.97</c:v>
                </c:pt>
                <c:pt idx="2202">
                  <c:v>233.94</c:v>
                </c:pt>
                <c:pt idx="2203">
                  <c:v>229.49</c:v>
                </c:pt>
                <c:pt idx="2204">
                  <c:v>225.35000000000002</c:v>
                </c:pt>
                <c:pt idx="2205">
                  <c:v>223.83</c:v>
                </c:pt>
                <c:pt idx="2206">
                  <c:v>243.41</c:v>
                </c:pt>
                <c:pt idx="2207">
                  <c:v>237.46</c:v>
                </c:pt>
                <c:pt idx="2208">
                  <c:v>232.31</c:v>
                </c:pt>
                <c:pt idx="2209">
                  <c:v>231.26999999999998</c:v>
                </c:pt>
                <c:pt idx="2210">
                  <c:v>235.72</c:v>
                </c:pt>
                <c:pt idx="2211">
                  <c:v>231.98000000000002</c:v>
                </c:pt>
                <c:pt idx="2212">
                  <c:v>221.48000000000002</c:v>
                </c:pt>
                <c:pt idx="2213">
                  <c:v>225.88000000000002</c:v>
                </c:pt>
                <c:pt idx="2214">
                  <c:v>226.02</c:v>
                </c:pt>
                <c:pt idx="2215">
                  <c:v>226.23</c:v>
                </c:pt>
                <c:pt idx="2216">
                  <c:v>231.15</c:v>
                </c:pt>
                <c:pt idx="2217">
                  <c:v>217.72</c:v>
                </c:pt>
                <c:pt idx="2218">
                  <c:v>220.22</c:v>
                </c:pt>
                <c:pt idx="2219">
                  <c:v>209.26999999999998</c:v>
                </c:pt>
                <c:pt idx="2220">
                  <c:v>204.81</c:v>
                </c:pt>
                <c:pt idx="2221">
                  <c:v>192.81</c:v>
                </c:pt>
                <c:pt idx="2222">
                  <c:v>209.3</c:v>
                </c:pt>
                <c:pt idx="2223">
                  <c:v>215.4</c:v>
                </c:pt>
                <c:pt idx="2224">
                  <c:v>204.1</c:v>
                </c:pt>
                <c:pt idx="2225">
                  <c:v>195.55</c:v>
                </c:pt>
                <c:pt idx="2226">
                  <c:v>199.89000000000001</c:v>
                </c:pt>
                <c:pt idx="2227">
                  <c:v>206.23</c:v>
                </c:pt>
                <c:pt idx="2228">
                  <c:v>203</c:v>
                </c:pt>
                <c:pt idx="2229">
                  <c:v>193.46</c:v>
                </c:pt>
                <c:pt idx="2230">
                  <c:v>194.17</c:v>
                </c:pt>
                <c:pt idx="2231">
                  <c:v>186.08</c:v>
                </c:pt>
                <c:pt idx="2232">
                  <c:v>184.23999999999998</c:v>
                </c:pt>
                <c:pt idx="2233">
                  <c:v>186.25</c:v>
                </c:pt>
                <c:pt idx="2234">
                  <c:v>199.44</c:v>
                </c:pt>
                <c:pt idx="2235">
                  <c:v>202.94</c:v>
                </c:pt>
                <c:pt idx="2236">
                  <c:v>204.73</c:v>
                </c:pt>
                <c:pt idx="2237">
                  <c:v>206.22</c:v>
                </c:pt>
                <c:pt idx="2238">
                  <c:v>214.5</c:v>
                </c:pt>
                <c:pt idx="2239">
                  <c:v>212.5</c:v>
                </c:pt>
                <c:pt idx="2240">
                  <c:v>204.62</c:v>
                </c:pt>
                <c:pt idx="2241">
                  <c:v>208.37</c:v>
                </c:pt>
                <c:pt idx="2242">
                  <c:v>208.69</c:v>
                </c:pt>
                <c:pt idx="2243">
                  <c:v>203.03</c:v>
                </c:pt>
                <c:pt idx="2244">
                  <c:v>197.18</c:v>
                </c:pt>
                <c:pt idx="2245">
                  <c:v>194.75</c:v>
                </c:pt>
                <c:pt idx="2246">
                  <c:v>194.85000000000002</c:v>
                </c:pt>
                <c:pt idx="2247">
                  <c:v>190.73</c:v>
                </c:pt>
                <c:pt idx="2248">
                  <c:v>193.70999999999998</c:v>
                </c:pt>
                <c:pt idx="2249">
                  <c:v>189.22</c:v>
                </c:pt>
                <c:pt idx="2250">
                  <c:v>184.56</c:v>
                </c:pt>
                <c:pt idx="2251">
                  <c:v>182.12</c:v>
                </c:pt>
                <c:pt idx="2252">
                  <c:v>193.49</c:v>
                </c:pt>
                <c:pt idx="2253">
                  <c:v>193.87</c:v>
                </c:pt>
                <c:pt idx="2254">
                  <c:v>194.29</c:v>
                </c:pt>
                <c:pt idx="2255">
                  <c:v>198.63</c:v>
                </c:pt>
                <c:pt idx="2256">
                  <c:v>201.62</c:v>
                </c:pt>
                <c:pt idx="2257">
                  <c:v>190.10999999999999</c:v>
                </c:pt>
                <c:pt idx="2258">
                  <c:v>192.73999999999998</c:v>
                </c:pt>
                <c:pt idx="2259">
                  <c:v>193.47</c:v>
                </c:pt>
                <c:pt idx="2260">
                  <c:v>191.7</c:v>
                </c:pt>
                <c:pt idx="2261">
                  <c:v>186.66</c:v>
                </c:pt>
                <c:pt idx="2262">
                  <c:v>196.41</c:v>
                </c:pt>
                <c:pt idx="2263">
                  <c:v>200.98000000000002</c:v>
                </c:pt>
                <c:pt idx="2264">
                  <c:v>200.08</c:v>
                </c:pt>
                <c:pt idx="2265">
                  <c:v>198.63</c:v>
                </c:pt>
                <c:pt idx="2266">
                  <c:v>193.45000000000002</c:v>
                </c:pt>
                <c:pt idx="2267">
                  <c:v>193.54</c:v>
                </c:pt>
                <c:pt idx="2268">
                  <c:v>193.96</c:v>
                </c:pt>
                <c:pt idx="2269">
                  <c:v>191.86</c:v>
                </c:pt>
                <c:pt idx="2270">
                  <c:v>192.17</c:v>
                </c:pt>
                <c:pt idx="2271">
                  <c:v>192.76</c:v>
                </c:pt>
                <c:pt idx="2272">
                  <c:v>189.6</c:v>
                </c:pt>
                <c:pt idx="2273">
                  <c:v>189.52</c:v>
                </c:pt>
                <c:pt idx="2274">
                  <c:v>188.78</c:v>
                </c:pt>
                <c:pt idx="2275">
                  <c:v>189.81</c:v>
                </c:pt>
                <c:pt idx="2276">
                  <c:v>192.23999999999998</c:v>
                </c:pt>
                <c:pt idx="2277">
                  <c:v>194.07</c:v>
                </c:pt>
                <c:pt idx="2278">
                  <c:v>201.9</c:v>
                </c:pt>
                <c:pt idx="2279">
                  <c:v>206.82000000000002</c:v>
                </c:pt>
                <c:pt idx="2280">
                  <c:v>213.82000000000002</c:v>
                </c:pt>
                <c:pt idx="2281">
                  <c:v>210.29</c:v>
                </c:pt>
                <c:pt idx="2282">
                  <c:v>207.47</c:v>
                </c:pt>
                <c:pt idx="2283">
                  <c:v>207.73999999999998</c:v>
                </c:pt>
                <c:pt idx="2284">
                  <c:v>204.34</c:v>
                </c:pt>
                <c:pt idx="2285">
                  <c:v>200.23999999999998</c:v>
                </c:pt>
                <c:pt idx="2286">
                  <c:v>192.38000000000002</c:v>
                </c:pt>
                <c:pt idx="2287">
                  <c:v>191.41</c:v>
                </c:pt>
                <c:pt idx="2288">
                  <c:v>192.52</c:v>
                </c:pt>
                <c:pt idx="2289">
                  <c:v>191.14</c:v>
                </c:pt>
                <c:pt idx="2290">
                  <c:v>186.59</c:v>
                </c:pt>
                <c:pt idx="2291">
                  <c:v>186.35000000000002</c:v>
                </c:pt>
                <c:pt idx="2292">
                  <c:v>184.51</c:v>
                </c:pt>
                <c:pt idx="2293">
                  <c:v>184.6</c:v>
                </c:pt>
                <c:pt idx="2294">
                  <c:v>188.48000000000002</c:v>
                </c:pt>
                <c:pt idx="2295">
                  <c:v>190.43</c:v>
                </c:pt>
                <c:pt idx="2296">
                  <c:v>196.54</c:v>
                </c:pt>
                <c:pt idx="2297">
                  <c:v>193.72</c:v>
                </c:pt>
                <c:pt idx="2298">
                  <c:v>194.56</c:v>
                </c:pt>
                <c:pt idx="2299">
                  <c:v>187.81</c:v>
                </c:pt>
                <c:pt idx="2300">
                  <c:v>191.23999999999998</c:v>
                </c:pt>
                <c:pt idx="2301">
                  <c:v>198.14</c:v>
                </c:pt>
                <c:pt idx="2302">
                  <c:v>199.91</c:v>
                </c:pt>
                <c:pt idx="2303">
                  <c:v>204.72</c:v>
                </c:pt>
                <c:pt idx="2304">
                  <c:v>206.86</c:v>
                </c:pt>
                <c:pt idx="2305">
                  <c:v>199.64</c:v>
                </c:pt>
                <c:pt idx="2306">
                  <c:v>198.54</c:v>
                </c:pt>
                <c:pt idx="2307">
                  <c:v>194.95000000000002</c:v>
                </c:pt>
                <c:pt idx="2308">
                  <c:v>194.79</c:v>
                </c:pt>
                <c:pt idx="2309">
                  <c:v>192.04</c:v>
                </c:pt>
                <c:pt idx="2310">
                  <c:v>188.55</c:v>
                </c:pt>
                <c:pt idx="2311">
                  <c:v>188.04</c:v>
                </c:pt>
                <c:pt idx="2312">
                  <c:v>187.64</c:v>
                </c:pt>
                <c:pt idx="2313">
                  <c:v>181.87</c:v>
                </c:pt>
                <c:pt idx="2314">
                  <c:v>179.95000000000002</c:v>
                </c:pt>
                <c:pt idx="2315">
                  <c:v>177.33</c:v>
                </c:pt>
                <c:pt idx="2316">
                  <c:v>176.46</c:v>
                </c:pt>
                <c:pt idx="2317">
                  <c:v>179.78</c:v>
                </c:pt>
                <c:pt idx="2318">
                  <c:v>176.84</c:v>
                </c:pt>
                <c:pt idx="2319">
                  <c:v>168.73999999999998</c:v>
                </c:pt>
                <c:pt idx="2320">
                  <c:v>166.94</c:v>
                </c:pt>
                <c:pt idx="2321">
                  <c:v>175.01</c:v>
                </c:pt>
                <c:pt idx="2322">
                  <c:v>170.1</c:v>
                </c:pt>
                <c:pt idx="2323">
                  <c:v>167.84</c:v>
                </c:pt>
                <c:pt idx="2324">
                  <c:v>165.84</c:v>
                </c:pt>
                <c:pt idx="2325">
                  <c:v>172.75</c:v>
                </c:pt>
                <c:pt idx="2326">
                  <c:v>172.76</c:v>
                </c:pt>
                <c:pt idx="2327">
                  <c:v>173.65</c:v>
                </c:pt>
                <c:pt idx="2328">
                  <c:v>175.75</c:v>
                </c:pt>
                <c:pt idx="2329">
                  <c:v>179.31</c:v>
                </c:pt>
                <c:pt idx="2330">
                  <c:v>177.45000000000002</c:v>
                </c:pt>
                <c:pt idx="2331">
                  <c:v>175.52</c:v>
                </c:pt>
                <c:pt idx="2332">
                  <c:v>175.47</c:v>
                </c:pt>
                <c:pt idx="2333">
                  <c:v>176.85000000000002</c:v>
                </c:pt>
                <c:pt idx="2334">
                  <c:v>182.79</c:v>
                </c:pt>
                <c:pt idx="2335">
                  <c:v>182.23999999999998</c:v>
                </c:pt>
                <c:pt idx="2336">
                  <c:v>183.87</c:v>
                </c:pt>
                <c:pt idx="2337">
                  <c:v>183.73999999999998</c:v>
                </c:pt>
                <c:pt idx="2338">
                  <c:v>180.41</c:v>
                </c:pt>
                <c:pt idx="2339">
                  <c:v>171.73</c:v>
                </c:pt>
                <c:pt idx="2340">
                  <c:v>178.1</c:v>
                </c:pt>
                <c:pt idx="2341">
                  <c:v>182.35000000000002</c:v>
                </c:pt>
                <c:pt idx="2342">
                  <c:v>192.58</c:v>
                </c:pt>
                <c:pt idx="2343">
                  <c:v>194.85000000000002</c:v>
                </c:pt>
                <c:pt idx="2344">
                  <c:v>193.13</c:v>
                </c:pt>
                <c:pt idx="2345">
                  <c:v>190.73999999999998</c:v>
                </c:pt>
                <c:pt idx="2346">
                  <c:v>192.05</c:v>
                </c:pt>
                <c:pt idx="2347">
                  <c:v>196.88000000000002</c:v>
                </c:pt>
                <c:pt idx="2348">
                  <c:v>201.9</c:v>
                </c:pt>
                <c:pt idx="2349">
                  <c:v>200.47</c:v>
                </c:pt>
                <c:pt idx="2350">
                  <c:v>204.66</c:v>
                </c:pt>
                <c:pt idx="2351">
                  <c:v>208.98000000000002</c:v>
                </c:pt>
                <c:pt idx="2352">
                  <c:v>199.05</c:v>
                </c:pt>
                <c:pt idx="2353">
                  <c:v>199.78</c:v>
                </c:pt>
                <c:pt idx="2354">
                  <c:v>204.39000000000001</c:v>
                </c:pt>
                <c:pt idx="2355">
                  <c:v>204.51</c:v>
                </c:pt>
                <c:pt idx="2356">
                  <c:v>210.59</c:v>
                </c:pt>
                <c:pt idx="2357">
                  <c:v>211.84</c:v>
                </c:pt>
                <c:pt idx="2358">
                  <c:v>206.67</c:v>
                </c:pt>
                <c:pt idx="2359">
                  <c:v>210.89000000000001</c:v>
                </c:pt>
                <c:pt idx="2360">
                  <c:v>215.14</c:v>
                </c:pt>
                <c:pt idx="2361">
                  <c:v>215.07</c:v>
                </c:pt>
                <c:pt idx="2362">
                  <c:v>222.86</c:v>
                </c:pt>
                <c:pt idx="2363">
                  <c:v>225.02</c:v>
                </c:pt>
                <c:pt idx="2364">
                  <c:v>228.53</c:v>
                </c:pt>
                <c:pt idx="2365">
                  <c:v>226.1</c:v>
                </c:pt>
                <c:pt idx="2366">
                  <c:v>230.87</c:v>
                </c:pt>
                <c:pt idx="2367">
                  <c:v>225.47</c:v>
                </c:pt>
                <c:pt idx="2368">
                  <c:v>223.41</c:v>
                </c:pt>
                <c:pt idx="2369">
                  <c:v>214.88000000000002</c:v>
                </c:pt>
                <c:pt idx="2370">
                  <c:v>216.72</c:v>
                </c:pt>
                <c:pt idx="2371">
                  <c:v>219.06</c:v>
                </c:pt>
                <c:pt idx="2372">
                  <c:v>223.16</c:v>
                </c:pt>
                <c:pt idx="2373">
                  <c:v>228.33</c:v>
                </c:pt>
                <c:pt idx="2374">
                  <c:v>229.17</c:v>
                </c:pt>
                <c:pt idx="2375">
                  <c:v>223.97</c:v>
                </c:pt>
                <c:pt idx="2376">
                  <c:v>223.01</c:v>
                </c:pt>
                <c:pt idx="2377">
                  <c:v>222.45000000000002</c:v>
                </c:pt>
                <c:pt idx="2378">
                  <c:v>223.20999999999998</c:v>
                </c:pt>
                <c:pt idx="2379">
                  <c:v>225.26999999999998</c:v>
                </c:pt>
                <c:pt idx="2380">
                  <c:v>221.51</c:v>
                </c:pt>
                <c:pt idx="2381">
                  <c:v>220.22</c:v>
                </c:pt>
                <c:pt idx="2382">
                  <c:v>230.15</c:v>
                </c:pt>
                <c:pt idx="2383">
                  <c:v>230.76</c:v>
                </c:pt>
                <c:pt idx="2384">
                  <c:v>225.3</c:v>
                </c:pt>
                <c:pt idx="2385">
                  <c:v>223.73999999999998</c:v>
                </c:pt>
                <c:pt idx="2386">
                  <c:v>224.58</c:v>
                </c:pt>
                <c:pt idx="2387">
                  <c:v>221.39000000000001</c:v>
                </c:pt>
                <c:pt idx="2388">
                  <c:v>221.9</c:v>
                </c:pt>
                <c:pt idx="2389">
                  <c:v>224.88000000000002</c:v>
                </c:pt>
                <c:pt idx="2390">
                  <c:v>227.3</c:v>
                </c:pt>
                <c:pt idx="2391">
                  <c:v>225.76999999999998</c:v>
                </c:pt>
                <c:pt idx="2392">
                  <c:v>219.10999999999999</c:v>
                </c:pt>
                <c:pt idx="2393">
                  <c:v>218.8</c:v>
                </c:pt>
                <c:pt idx="2394">
                  <c:v>212.37</c:v>
                </c:pt>
                <c:pt idx="2395">
                  <c:v>212.97</c:v>
                </c:pt>
                <c:pt idx="2396">
                  <c:v>215.20999999999998</c:v>
                </c:pt>
                <c:pt idx="2397">
                  <c:v>210.09</c:v>
                </c:pt>
                <c:pt idx="2398">
                  <c:v>208.67</c:v>
                </c:pt>
                <c:pt idx="2399">
                  <c:v>213.2</c:v>
                </c:pt>
                <c:pt idx="2400">
                  <c:v>213.95000000000002</c:v>
                </c:pt>
                <c:pt idx="2401">
                  <c:v>215.45000000000002</c:v>
                </c:pt>
                <c:pt idx="2402">
                  <c:v>219.62</c:v>
                </c:pt>
                <c:pt idx="2403">
                  <c:v>216.9</c:v>
                </c:pt>
                <c:pt idx="2404">
                  <c:v>217.84</c:v>
                </c:pt>
                <c:pt idx="2405">
                  <c:v>213.94</c:v>
                </c:pt>
                <c:pt idx="2406">
                  <c:v>213.95000000000002</c:v>
                </c:pt>
                <c:pt idx="2407">
                  <c:v>211.76999999999998</c:v>
                </c:pt>
                <c:pt idx="2408">
                  <c:v>209.23999999999998</c:v>
                </c:pt>
                <c:pt idx="2409">
                  <c:v>205.9</c:v>
                </c:pt>
                <c:pt idx="2410">
                  <c:v>206.63</c:v>
                </c:pt>
                <c:pt idx="2411">
                  <c:v>205.26999999999998</c:v>
                </c:pt>
                <c:pt idx="2412">
                  <c:v>209.33</c:v>
                </c:pt>
                <c:pt idx="2413">
                  <c:v>213.28</c:v>
                </c:pt>
                <c:pt idx="2414">
                  <c:v>216.98000000000002</c:v>
                </c:pt>
                <c:pt idx="2415">
                  <c:v>217.22</c:v>
                </c:pt>
                <c:pt idx="2416">
                  <c:v>216.98000000000002</c:v>
                </c:pt>
                <c:pt idx="2417">
                  <c:v>218.60999999999999</c:v>
                </c:pt>
                <c:pt idx="2418">
                  <c:v>220.17</c:v>
                </c:pt>
                <c:pt idx="2419">
                  <c:v>221.73</c:v>
                </c:pt>
                <c:pt idx="2420">
                  <c:v>224.51</c:v>
                </c:pt>
                <c:pt idx="2421">
                  <c:v>224.6</c:v>
                </c:pt>
                <c:pt idx="2422">
                  <c:v>224.8</c:v>
                </c:pt>
                <c:pt idx="2423">
                  <c:v>223.37</c:v>
                </c:pt>
                <c:pt idx="2424">
                  <c:v>226.03</c:v>
                </c:pt>
                <c:pt idx="2425">
                  <c:v>230.43</c:v>
                </c:pt>
                <c:pt idx="2426">
                  <c:v>230.06</c:v>
                </c:pt>
                <c:pt idx="2427">
                  <c:v>232.16</c:v>
                </c:pt>
                <c:pt idx="2428">
                  <c:v>233.97</c:v>
                </c:pt>
                <c:pt idx="2429">
                  <c:v>234.96</c:v>
                </c:pt>
                <c:pt idx="2430">
                  <c:v>236.56</c:v>
                </c:pt>
                <c:pt idx="2431">
                  <c:v>237</c:v>
                </c:pt>
                <c:pt idx="2432">
                  <c:v>237.67</c:v>
                </c:pt>
                <c:pt idx="2433">
                  <c:v>233.81</c:v>
                </c:pt>
                <c:pt idx="2434">
                  <c:v>236.64</c:v>
                </c:pt>
                <c:pt idx="2435">
                  <c:v>239.5</c:v>
                </c:pt>
                <c:pt idx="2436">
                  <c:v>239.81</c:v>
                </c:pt>
                <c:pt idx="2437">
                  <c:v>234.88000000000002</c:v>
                </c:pt>
                <c:pt idx="2438">
                  <c:v>238.60999999999999</c:v>
                </c:pt>
                <c:pt idx="2439">
                  <c:v>237.57</c:v>
                </c:pt>
                <c:pt idx="2440">
                  <c:v>240.75</c:v>
                </c:pt>
                <c:pt idx="2441">
                  <c:v>245.18</c:v>
                </c:pt>
                <c:pt idx="2442">
                  <c:v>248.85000000000002</c:v>
                </c:pt>
                <c:pt idx="2443">
                  <c:v>250.04</c:v>
                </c:pt>
                <c:pt idx="2444">
                  <c:v>248.17</c:v>
                </c:pt>
                <c:pt idx="2445">
                  <c:v>246.76</c:v>
                </c:pt>
                <c:pt idx="2446">
                  <c:v>248.22</c:v>
                </c:pt>
                <c:pt idx="2447">
                  <c:v>247.46</c:v>
                </c:pt>
                <c:pt idx="2448">
                  <c:v>242.47</c:v>
                </c:pt>
                <c:pt idx="2449">
                  <c:v>240.01</c:v>
                </c:pt>
                <c:pt idx="2450">
                  <c:v>241.95000000000002</c:v>
                </c:pt>
                <c:pt idx="2451">
                  <c:v>245.33</c:v>
                </c:pt>
                <c:pt idx="2452">
                  <c:v>249.98000000000002</c:v>
                </c:pt>
                <c:pt idx="2453">
                  <c:v>250.09</c:v>
                </c:pt>
                <c:pt idx="2454">
                  <c:v>251.43</c:v>
                </c:pt>
                <c:pt idx="2455">
                  <c:v>252.70999999999998</c:v>
                </c:pt>
                <c:pt idx="2456">
                  <c:v>255.29</c:v>
                </c:pt>
                <c:pt idx="2457">
                  <c:v>254.34</c:v>
                </c:pt>
                <c:pt idx="2458">
                  <c:v>254.58</c:v>
                </c:pt>
                <c:pt idx="2459">
                  <c:v>258.8</c:v>
                </c:pt>
                <c:pt idx="2460">
                  <c:v>259.64999999999998</c:v>
                </c:pt>
                <c:pt idx="2461">
                  <c:v>258.3</c:v>
                </c:pt>
                <c:pt idx="2462">
                  <c:v>256.87</c:v>
                </c:pt>
                <c:pt idx="2463">
                  <c:v>256.33</c:v>
                </c:pt>
                <c:pt idx="2464">
                  <c:v>257.27</c:v>
                </c:pt>
                <c:pt idx="2465">
                  <c:v>252.53</c:v>
                </c:pt>
                <c:pt idx="2466">
                  <c:v>251.13</c:v>
                </c:pt>
                <c:pt idx="2467">
                  <c:v>254.49</c:v>
                </c:pt>
                <c:pt idx="2468">
                  <c:v>255.69</c:v>
                </c:pt>
                <c:pt idx="2469">
                  <c:v>257.08</c:v>
                </c:pt>
                <c:pt idx="2470">
                  <c:v>254.46</c:v>
                </c:pt>
                <c:pt idx="2471">
                  <c:v>250.76999999999998</c:v>
                </c:pt>
                <c:pt idx="2472">
                  <c:v>252.97</c:v>
                </c:pt>
                <c:pt idx="2473">
                  <c:v>256.14999999999998</c:v>
                </c:pt>
                <c:pt idx="2474">
                  <c:v>256.05</c:v>
                </c:pt>
                <c:pt idx="2475">
                  <c:v>258.70999999999992</c:v>
                </c:pt>
                <c:pt idx="2476">
                  <c:v>257.47999999999996</c:v>
                </c:pt>
                <c:pt idx="2477">
                  <c:v>257.77999999999992</c:v>
                </c:pt>
                <c:pt idx="2478">
                  <c:v>256.33</c:v>
                </c:pt>
                <c:pt idx="2479">
                  <c:v>258.58999999999992</c:v>
                </c:pt>
                <c:pt idx="2480">
                  <c:v>260.88</c:v>
                </c:pt>
                <c:pt idx="2481">
                  <c:v>260.3</c:v>
                </c:pt>
                <c:pt idx="2482">
                  <c:v>263.39</c:v>
                </c:pt>
                <c:pt idx="2483">
                  <c:v>264.51</c:v>
                </c:pt>
                <c:pt idx="2484">
                  <c:v>265.74</c:v>
                </c:pt>
                <c:pt idx="2485">
                  <c:v>263.08</c:v>
                </c:pt>
                <c:pt idx="2486">
                  <c:v>259.74</c:v>
                </c:pt>
                <c:pt idx="2487">
                  <c:v>258.97999999999996</c:v>
                </c:pt>
                <c:pt idx="2488">
                  <c:v>260.54000000000002</c:v>
                </c:pt>
                <c:pt idx="2489">
                  <c:v>256.37</c:v>
                </c:pt>
                <c:pt idx="2490">
                  <c:v>259.17</c:v>
                </c:pt>
                <c:pt idx="2491">
                  <c:v>255.88000000000002</c:v>
                </c:pt>
                <c:pt idx="2492">
                  <c:v>255.3</c:v>
                </c:pt>
                <c:pt idx="2493">
                  <c:v>254.99</c:v>
                </c:pt>
                <c:pt idx="2494">
                  <c:v>259.18</c:v>
                </c:pt>
                <c:pt idx="2495">
                  <c:v>259.39999999999992</c:v>
                </c:pt>
                <c:pt idx="2496">
                  <c:v>260.54000000000002</c:v>
                </c:pt>
                <c:pt idx="2497">
                  <c:v>264.08999999999992</c:v>
                </c:pt>
                <c:pt idx="2498">
                  <c:v>264.07</c:v>
                </c:pt>
                <c:pt idx="2499">
                  <c:v>264.39999999999992</c:v>
                </c:pt>
                <c:pt idx="2500">
                  <c:v>265.83999999999992</c:v>
                </c:pt>
                <c:pt idx="2501">
                  <c:v>268.27999999999992</c:v>
                </c:pt>
                <c:pt idx="2502">
                  <c:v>270.67</c:v>
                </c:pt>
                <c:pt idx="2503">
                  <c:v>271.08</c:v>
                </c:pt>
                <c:pt idx="2504">
                  <c:v>270.06</c:v>
                </c:pt>
                <c:pt idx="2505">
                  <c:v>266.06</c:v>
                </c:pt>
                <c:pt idx="2506">
                  <c:v>264.28999999999996</c:v>
                </c:pt>
                <c:pt idx="2507">
                  <c:v>267.60000000000002</c:v>
                </c:pt>
                <c:pt idx="2508">
                  <c:v>266.58999999999992</c:v>
                </c:pt>
                <c:pt idx="2509">
                  <c:v>266.91000000000003</c:v>
                </c:pt>
                <c:pt idx="2510">
                  <c:v>260.35000000000002</c:v>
                </c:pt>
                <c:pt idx="2511">
                  <c:v>261.75</c:v>
                </c:pt>
                <c:pt idx="2512">
                  <c:v>258</c:v>
                </c:pt>
                <c:pt idx="2513">
                  <c:v>265.19</c:v>
                </c:pt>
                <c:pt idx="2514">
                  <c:v>266.83999999999992</c:v>
                </c:pt>
                <c:pt idx="2515">
                  <c:v>265.39</c:v>
                </c:pt>
                <c:pt idx="2516">
                  <c:v>269.39999999999992</c:v>
                </c:pt>
                <c:pt idx="2517">
                  <c:v>268.25</c:v>
                </c:pt>
                <c:pt idx="2518">
                  <c:v>264.89</c:v>
                </c:pt>
                <c:pt idx="2519">
                  <c:v>261.24</c:v>
                </c:pt>
                <c:pt idx="2520">
                  <c:v>264.28999999999996</c:v>
                </c:pt>
                <c:pt idx="2521">
                  <c:v>266.22000000000003</c:v>
                </c:pt>
                <c:pt idx="2522">
                  <c:v>268.41000000000003</c:v>
                </c:pt>
                <c:pt idx="2523">
                  <c:v>269.33999999999992</c:v>
                </c:pt>
                <c:pt idx="2524">
                  <c:v>272.20999999999992</c:v>
                </c:pt>
                <c:pt idx="2525">
                  <c:v>268.68</c:v>
                </c:pt>
                <c:pt idx="2526">
                  <c:v>267.97999999999996</c:v>
                </c:pt>
                <c:pt idx="2527">
                  <c:v>271.01</c:v>
                </c:pt>
                <c:pt idx="2528">
                  <c:v>272.82</c:v>
                </c:pt>
                <c:pt idx="2529">
                  <c:v>273.22000000000003</c:v>
                </c:pt>
                <c:pt idx="2530">
                  <c:v>272.8</c:v>
                </c:pt>
                <c:pt idx="2531">
                  <c:v>273.54000000000002</c:v>
                </c:pt>
                <c:pt idx="2532">
                  <c:v>275.07</c:v>
                </c:pt>
                <c:pt idx="2533">
                  <c:v>275.66000000000008</c:v>
                </c:pt>
                <c:pt idx="2534">
                  <c:v>276.8</c:v>
                </c:pt>
                <c:pt idx="2535">
                  <c:v>278.97000000000003</c:v>
                </c:pt>
                <c:pt idx="2536">
                  <c:v>278.7</c:v>
                </c:pt>
                <c:pt idx="2537">
                  <c:v>279.45999999999992</c:v>
                </c:pt>
                <c:pt idx="2538">
                  <c:v>278.57</c:v>
                </c:pt>
                <c:pt idx="2539">
                  <c:v>280.18</c:v>
                </c:pt>
                <c:pt idx="2540">
                  <c:v>280.56</c:v>
                </c:pt>
                <c:pt idx="2541">
                  <c:v>278.35000000000002</c:v>
                </c:pt>
                <c:pt idx="2542">
                  <c:v>280.18</c:v>
                </c:pt>
                <c:pt idx="2543">
                  <c:v>282.20999999999992</c:v>
                </c:pt>
                <c:pt idx="2544">
                  <c:v>281.27999999999992</c:v>
                </c:pt>
                <c:pt idx="2545">
                  <c:v>283.42999999999995</c:v>
                </c:pt>
                <c:pt idx="2546">
                  <c:v>288.07</c:v>
                </c:pt>
                <c:pt idx="2547">
                  <c:v>286.2</c:v>
                </c:pt>
                <c:pt idx="2548">
                  <c:v>283.5</c:v>
                </c:pt>
                <c:pt idx="2549">
                  <c:v>279.57</c:v>
                </c:pt>
                <c:pt idx="2550">
                  <c:v>280.35000000000002</c:v>
                </c:pt>
                <c:pt idx="2551">
                  <c:v>282.04000000000002</c:v>
                </c:pt>
                <c:pt idx="2552">
                  <c:v>281.52999999999992</c:v>
                </c:pt>
                <c:pt idx="2553">
                  <c:v>280.24</c:v>
                </c:pt>
                <c:pt idx="2554">
                  <c:v>280.95</c:v>
                </c:pt>
                <c:pt idx="2555">
                  <c:v>281.08999999999992</c:v>
                </c:pt>
                <c:pt idx="2556">
                  <c:v>284.01</c:v>
                </c:pt>
                <c:pt idx="2557">
                  <c:v>283.83999999999992</c:v>
                </c:pt>
                <c:pt idx="2558">
                  <c:v>277.7</c:v>
                </c:pt>
                <c:pt idx="2559">
                  <c:v>273.05</c:v>
                </c:pt>
                <c:pt idx="2560">
                  <c:v>274.14999999999998</c:v>
                </c:pt>
                <c:pt idx="2561">
                  <c:v>273.32</c:v>
                </c:pt>
                <c:pt idx="2562">
                  <c:v>275.45</c:v>
                </c:pt>
                <c:pt idx="2563">
                  <c:v>276.58</c:v>
                </c:pt>
                <c:pt idx="2564">
                  <c:v>275.89</c:v>
                </c:pt>
                <c:pt idx="2565">
                  <c:v>276.51</c:v>
                </c:pt>
                <c:pt idx="2566">
                  <c:v>276.95</c:v>
                </c:pt>
                <c:pt idx="2567">
                  <c:v>280.91000000000003</c:v>
                </c:pt>
                <c:pt idx="2568">
                  <c:v>282.08999999999992</c:v>
                </c:pt>
                <c:pt idx="2569">
                  <c:v>283.92999999999995</c:v>
                </c:pt>
                <c:pt idx="2570">
                  <c:v>283.19</c:v>
                </c:pt>
                <c:pt idx="2571">
                  <c:v>281.01</c:v>
                </c:pt>
                <c:pt idx="2572">
                  <c:v>280.33</c:v>
                </c:pt>
                <c:pt idx="2573">
                  <c:v>276.47999999999996</c:v>
                </c:pt>
                <c:pt idx="2574">
                  <c:v>279</c:v>
                </c:pt>
                <c:pt idx="2575">
                  <c:v>281.58</c:v>
                </c:pt>
                <c:pt idx="2576">
                  <c:v>283.33999999999992</c:v>
                </c:pt>
                <c:pt idx="2577">
                  <c:v>285.28999999999996</c:v>
                </c:pt>
                <c:pt idx="2578">
                  <c:v>286.47999999999996</c:v>
                </c:pt>
                <c:pt idx="2579">
                  <c:v>289.52999999999992</c:v>
                </c:pt>
                <c:pt idx="2580">
                  <c:v>288.54000000000002</c:v>
                </c:pt>
                <c:pt idx="2581">
                  <c:v>287.85000000000002</c:v>
                </c:pt>
                <c:pt idx="2582">
                  <c:v>288.38</c:v>
                </c:pt>
                <c:pt idx="2583">
                  <c:v>289.54000000000002</c:v>
                </c:pt>
                <c:pt idx="2584">
                  <c:v>291.52999999999992</c:v>
                </c:pt>
                <c:pt idx="2585">
                  <c:v>289.33</c:v>
                </c:pt>
                <c:pt idx="2586">
                  <c:v>291.22999999999996</c:v>
                </c:pt>
                <c:pt idx="2587">
                  <c:v>294.62</c:v>
                </c:pt>
                <c:pt idx="2588">
                  <c:v>295.18</c:v>
                </c:pt>
                <c:pt idx="2589">
                  <c:v>293.32</c:v>
                </c:pt>
                <c:pt idx="2590">
                  <c:v>292.47000000000003</c:v>
                </c:pt>
                <c:pt idx="2591">
                  <c:v>294.27</c:v>
                </c:pt>
                <c:pt idx="2592">
                  <c:v>293.94</c:v>
                </c:pt>
                <c:pt idx="2593">
                  <c:v>296.89999999999992</c:v>
                </c:pt>
                <c:pt idx="2594">
                  <c:v>296.5</c:v>
                </c:pt>
                <c:pt idx="2595">
                  <c:v>298.20999999999992</c:v>
                </c:pt>
                <c:pt idx="2596">
                  <c:v>298.92999999999995</c:v>
                </c:pt>
                <c:pt idx="2597">
                  <c:v>298.64999999999998</c:v>
                </c:pt>
                <c:pt idx="2598">
                  <c:v>302.01</c:v>
                </c:pt>
                <c:pt idx="2599">
                  <c:v>303.41000000000003</c:v>
                </c:pt>
                <c:pt idx="2600">
                  <c:v>303.39</c:v>
                </c:pt>
                <c:pt idx="2601">
                  <c:v>301.47000000000003</c:v>
                </c:pt>
                <c:pt idx="2602">
                  <c:v>305.27</c:v>
                </c:pt>
                <c:pt idx="2603">
                  <c:v>305.56</c:v>
                </c:pt>
                <c:pt idx="2604">
                  <c:v>305.24</c:v>
                </c:pt>
                <c:pt idx="2605">
                  <c:v>307.25</c:v>
                </c:pt>
                <c:pt idx="2606">
                  <c:v>308.63</c:v>
                </c:pt>
                <c:pt idx="2607">
                  <c:v>304.62</c:v>
                </c:pt>
                <c:pt idx="2608">
                  <c:v>302.06</c:v>
                </c:pt>
                <c:pt idx="2609">
                  <c:v>305.83</c:v>
                </c:pt>
                <c:pt idx="2610">
                  <c:v>304.77999999999992</c:v>
                </c:pt>
                <c:pt idx="2611">
                  <c:v>302.48999999999995</c:v>
                </c:pt>
                <c:pt idx="2612">
                  <c:v>304.08</c:v>
                </c:pt>
                <c:pt idx="2613">
                  <c:v>304.98999999999995</c:v>
                </c:pt>
                <c:pt idx="2614">
                  <c:v>295.41000000000003</c:v>
                </c:pt>
                <c:pt idx="2615">
                  <c:v>292.08</c:v>
                </c:pt>
                <c:pt idx="2616">
                  <c:v>296.48999999999995</c:v>
                </c:pt>
                <c:pt idx="2617">
                  <c:v>296.11</c:v>
                </c:pt>
                <c:pt idx="2618">
                  <c:v>297.41000000000003</c:v>
                </c:pt>
                <c:pt idx="2619">
                  <c:v>290.8</c:v>
                </c:pt>
                <c:pt idx="2620">
                  <c:v>288.18</c:v>
                </c:pt>
                <c:pt idx="2621">
                  <c:v>283.78999999999996</c:v>
                </c:pt>
                <c:pt idx="2622">
                  <c:v>272.31</c:v>
                </c:pt>
                <c:pt idx="2623">
                  <c:v>289.77999999999992</c:v>
                </c:pt>
                <c:pt idx="2624">
                  <c:v>289.97000000000003</c:v>
                </c:pt>
                <c:pt idx="2625">
                  <c:v>297.27999999999992</c:v>
                </c:pt>
                <c:pt idx="2626">
                  <c:v>298.22999999999996</c:v>
                </c:pt>
                <c:pt idx="2627">
                  <c:v>289.66000000000008</c:v>
                </c:pt>
                <c:pt idx="2628">
                  <c:v>289.42999999999995</c:v>
                </c:pt>
                <c:pt idx="2629">
                  <c:v>292.25</c:v>
                </c:pt>
                <c:pt idx="2630">
                  <c:v>283.75</c:v>
                </c:pt>
                <c:pt idx="2631">
                  <c:v>277.83</c:v>
                </c:pt>
                <c:pt idx="2632">
                  <c:v>276.33999999999992</c:v>
                </c:pt>
                <c:pt idx="2633">
                  <c:v>277.64999999999998</c:v>
                </c:pt>
                <c:pt idx="2634">
                  <c:v>271.41000000000003</c:v>
                </c:pt>
                <c:pt idx="2635">
                  <c:v>276.97000000000003</c:v>
                </c:pt>
                <c:pt idx="2636">
                  <c:v>285.14999999999998</c:v>
                </c:pt>
                <c:pt idx="2637">
                  <c:v>285.69</c:v>
                </c:pt>
                <c:pt idx="2638">
                  <c:v>286.10000000000002</c:v>
                </c:pt>
                <c:pt idx="2639">
                  <c:v>288.7</c:v>
                </c:pt>
                <c:pt idx="2640">
                  <c:v>289.62</c:v>
                </c:pt>
                <c:pt idx="2641">
                  <c:v>293.33</c:v>
                </c:pt>
                <c:pt idx="2642">
                  <c:v>288.95</c:v>
                </c:pt>
                <c:pt idx="2643">
                  <c:v>287.06</c:v>
                </c:pt>
                <c:pt idx="2644">
                  <c:v>283.78999999999996</c:v>
                </c:pt>
                <c:pt idx="2645">
                  <c:v>288.02999999999992</c:v>
                </c:pt>
                <c:pt idx="2646">
                  <c:v>292.60000000000002</c:v>
                </c:pt>
                <c:pt idx="2647">
                  <c:v>293.14000000000004</c:v>
                </c:pt>
                <c:pt idx="2648">
                  <c:v>296.86</c:v>
                </c:pt>
                <c:pt idx="2649">
                  <c:v>299.47999999999996</c:v>
                </c:pt>
                <c:pt idx="2650">
                  <c:v>299.97000000000003</c:v>
                </c:pt>
                <c:pt idx="2651">
                  <c:v>299.39</c:v>
                </c:pt>
                <c:pt idx="2652">
                  <c:v>300.37</c:v>
                </c:pt>
                <c:pt idx="2653">
                  <c:v>302.75</c:v>
                </c:pt>
                <c:pt idx="2654">
                  <c:v>302.33</c:v>
                </c:pt>
                <c:pt idx="2655">
                  <c:v>299.75</c:v>
                </c:pt>
                <c:pt idx="2656">
                  <c:v>294.64000000000004</c:v>
                </c:pt>
                <c:pt idx="2657">
                  <c:v>291.2</c:v>
                </c:pt>
                <c:pt idx="2658">
                  <c:v>293.91999999999996</c:v>
                </c:pt>
                <c:pt idx="2659">
                  <c:v>286.61</c:v>
                </c:pt>
                <c:pt idx="2660">
                  <c:v>283.36</c:v>
                </c:pt>
                <c:pt idx="2661">
                  <c:v>278.64000000000004</c:v>
                </c:pt>
                <c:pt idx="2662">
                  <c:v>280.06</c:v>
                </c:pt>
                <c:pt idx="2663">
                  <c:v>281.60000000000002</c:v>
                </c:pt>
                <c:pt idx="2664">
                  <c:v>287.83</c:v>
                </c:pt>
                <c:pt idx="2665">
                  <c:v>291.45</c:v>
                </c:pt>
                <c:pt idx="2666">
                  <c:v>293.75</c:v>
                </c:pt>
                <c:pt idx="2667">
                  <c:v>294.97000000000003</c:v>
                </c:pt>
                <c:pt idx="2668">
                  <c:v>295.33999999999992</c:v>
                </c:pt>
                <c:pt idx="2669">
                  <c:v>300.44</c:v>
                </c:pt>
                <c:pt idx="2670">
                  <c:v>299.74</c:v>
                </c:pt>
                <c:pt idx="2671">
                  <c:v>297.58999999999992</c:v>
                </c:pt>
                <c:pt idx="2672">
                  <c:v>293.58999999999992</c:v>
                </c:pt>
                <c:pt idx="2673">
                  <c:v>291.57</c:v>
                </c:pt>
                <c:pt idx="2674">
                  <c:v>291.67</c:v>
                </c:pt>
                <c:pt idx="2675">
                  <c:v>295.45999999999992</c:v>
                </c:pt>
                <c:pt idx="2676">
                  <c:v>300.14999999999998</c:v>
                </c:pt>
                <c:pt idx="2677">
                  <c:v>303.14000000000004</c:v>
                </c:pt>
                <c:pt idx="2678">
                  <c:v>304.45999999999992</c:v>
                </c:pt>
                <c:pt idx="2679">
                  <c:v>305.16000000000008</c:v>
                </c:pt>
                <c:pt idx="2680">
                  <c:v>304.91999999999996</c:v>
                </c:pt>
                <c:pt idx="2681">
                  <c:v>305.27</c:v>
                </c:pt>
                <c:pt idx="2682">
                  <c:v>302.61</c:v>
                </c:pt>
                <c:pt idx="2683">
                  <c:v>310.13</c:v>
                </c:pt>
                <c:pt idx="2684">
                  <c:v>311.81</c:v>
                </c:pt>
                <c:pt idx="2685">
                  <c:v>312.76</c:v>
                </c:pt>
                <c:pt idx="2686">
                  <c:v>310.95</c:v>
                </c:pt>
                <c:pt idx="2687">
                  <c:v>306.98999999999995</c:v>
                </c:pt>
                <c:pt idx="2688">
                  <c:v>310.95</c:v>
                </c:pt>
                <c:pt idx="2689">
                  <c:v>307.45999999999992</c:v>
                </c:pt>
                <c:pt idx="2690">
                  <c:v>302.64000000000004</c:v>
                </c:pt>
                <c:pt idx="2691">
                  <c:v>301.63</c:v>
                </c:pt>
                <c:pt idx="2692">
                  <c:v>303.13</c:v>
                </c:pt>
                <c:pt idx="2693">
                  <c:v>303.02999999999992</c:v>
                </c:pt>
                <c:pt idx="2694">
                  <c:v>306.51</c:v>
                </c:pt>
                <c:pt idx="2695">
                  <c:v>305.70999999999992</c:v>
                </c:pt>
                <c:pt idx="2696">
                  <c:v>301.64000000000004</c:v>
                </c:pt>
                <c:pt idx="2697">
                  <c:v>299.20999999999992</c:v>
                </c:pt>
                <c:pt idx="2698">
                  <c:v>301.52</c:v>
                </c:pt>
                <c:pt idx="2699">
                  <c:v>296.72999999999996</c:v>
                </c:pt>
                <c:pt idx="2700">
                  <c:v>295.12</c:v>
                </c:pt>
                <c:pt idx="2701">
                  <c:v>296.04000000000002</c:v>
                </c:pt>
                <c:pt idx="2702">
                  <c:v>298.25</c:v>
                </c:pt>
                <c:pt idx="2703">
                  <c:v>298.74</c:v>
                </c:pt>
                <c:pt idx="2704">
                  <c:v>297.39999999999992</c:v>
                </c:pt>
                <c:pt idx="2705">
                  <c:v>305.51</c:v>
                </c:pt>
                <c:pt idx="2706">
                  <c:v>306.95</c:v>
                </c:pt>
                <c:pt idx="2707">
                  <c:v>308.91000000000003</c:v>
                </c:pt>
                <c:pt idx="2708">
                  <c:v>310.68</c:v>
                </c:pt>
                <c:pt idx="2709">
                  <c:v>307.98999999999995</c:v>
                </c:pt>
                <c:pt idx="2710">
                  <c:v>312.38</c:v>
                </c:pt>
                <c:pt idx="2711">
                  <c:v>314.75</c:v>
                </c:pt>
                <c:pt idx="2712">
                  <c:v>314.28999999999996</c:v>
                </c:pt>
                <c:pt idx="2713">
                  <c:v>315.17</c:v>
                </c:pt>
                <c:pt idx="2714">
                  <c:v>314.13</c:v>
                </c:pt>
                <c:pt idx="2715">
                  <c:v>314.5</c:v>
                </c:pt>
                <c:pt idx="2716">
                  <c:v>312.10000000000002</c:v>
                </c:pt>
                <c:pt idx="2717">
                  <c:v>309.63</c:v>
                </c:pt>
                <c:pt idx="2718">
                  <c:v>312.32</c:v>
                </c:pt>
                <c:pt idx="2719">
                  <c:v>311.22999999999996</c:v>
                </c:pt>
                <c:pt idx="2720">
                  <c:v>305.95</c:v>
                </c:pt>
                <c:pt idx="2721">
                  <c:v>307.18</c:v>
                </c:pt>
                <c:pt idx="2722">
                  <c:v>309.2</c:v>
                </c:pt>
                <c:pt idx="2723">
                  <c:v>308.62</c:v>
                </c:pt>
                <c:pt idx="2724">
                  <c:v>306.64000000000004</c:v>
                </c:pt>
                <c:pt idx="2725">
                  <c:v>305.67</c:v>
                </c:pt>
                <c:pt idx="2726">
                  <c:v>304.63</c:v>
                </c:pt>
                <c:pt idx="2727">
                  <c:v>303.75</c:v>
                </c:pt>
                <c:pt idx="2728">
                  <c:v>303.83999999999992</c:v>
                </c:pt>
                <c:pt idx="2729">
                  <c:v>307.14999999999998</c:v>
                </c:pt>
                <c:pt idx="2730">
                  <c:v>308.77999999999992</c:v>
                </c:pt>
                <c:pt idx="2731">
                  <c:v>310.33</c:v>
                </c:pt>
                <c:pt idx="2732">
                  <c:v>310.05</c:v>
                </c:pt>
                <c:pt idx="2733">
                  <c:v>312.02</c:v>
                </c:pt>
                <c:pt idx="2734">
                  <c:v>309.64999999999998</c:v>
                </c:pt>
                <c:pt idx="2735">
                  <c:v>313.66000000000008</c:v>
                </c:pt>
                <c:pt idx="2736">
                  <c:v>313.67</c:v>
                </c:pt>
                <c:pt idx="2737">
                  <c:v>314.05</c:v>
                </c:pt>
                <c:pt idx="2738">
                  <c:v>314.76</c:v>
                </c:pt>
                <c:pt idx="2739">
                  <c:v>313.48999999999995</c:v>
                </c:pt>
                <c:pt idx="2740">
                  <c:v>313.33</c:v>
                </c:pt>
                <c:pt idx="2741">
                  <c:v>314.48999999999995</c:v>
                </c:pt>
                <c:pt idx="2742">
                  <c:v>314.70999999999992</c:v>
                </c:pt>
                <c:pt idx="2743">
                  <c:v>316.45999999999992</c:v>
                </c:pt>
                <c:pt idx="2744">
                  <c:v>318.02999999999992</c:v>
                </c:pt>
                <c:pt idx="2745">
                  <c:v>315</c:v>
                </c:pt>
                <c:pt idx="2746">
                  <c:v>318.38</c:v>
                </c:pt>
                <c:pt idx="2747">
                  <c:v>321.27999999999992</c:v>
                </c:pt>
                <c:pt idx="2748">
                  <c:v>321.32</c:v>
                </c:pt>
                <c:pt idx="2749">
                  <c:v>321.89999999999992</c:v>
                </c:pt>
                <c:pt idx="2750">
                  <c:v>319.82</c:v>
                </c:pt>
                <c:pt idx="2751">
                  <c:v>323.45999999999992</c:v>
                </c:pt>
                <c:pt idx="2752">
                  <c:v>324.10000000000002</c:v>
                </c:pt>
                <c:pt idx="2753">
                  <c:v>323.47000000000003</c:v>
                </c:pt>
                <c:pt idx="2754">
                  <c:v>326.74</c:v>
                </c:pt>
                <c:pt idx="2755">
                  <c:v>324.76</c:v>
                </c:pt>
                <c:pt idx="2756">
                  <c:v>323.74</c:v>
                </c:pt>
                <c:pt idx="2757">
                  <c:v>322.17</c:v>
                </c:pt>
                <c:pt idx="2758">
                  <c:v>325.63</c:v>
                </c:pt>
                <c:pt idx="2759">
                  <c:v>318.63</c:v>
                </c:pt>
                <c:pt idx="2760">
                  <c:v>320.05</c:v>
                </c:pt>
                <c:pt idx="2761">
                  <c:v>323.04000000000002</c:v>
                </c:pt>
                <c:pt idx="2762">
                  <c:v>321.37</c:v>
                </c:pt>
                <c:pt idx="2763">
                  <c:v>318.18</c:v>
                </c:pt>
                <c:pt idx="2764">
                  <c:v>314.62</c:v>
                </c:pt>
                <c:pt idx="2765">
                  <c:v>315.5</c:v>
                </c:pt>
                <c:pt idx="2766">
                  <c:v>316.11</c:v>
                </c:pt>
                <c:pt idx="2767">
                  <c:v>314.97000000000003</c:v>
                </c:pt>
                <c:pt idx="2768">
                  <c:v>309.89999999999992</c:v>
                </c:pt>
                <c:pt idx="2769">
                  <c:v>309.38</c:v>
                </c:pt>
                <c:pt idx="2770">
                  <c:v>314.41000000000003</c:v>
                </c:pt>
                <c:pt idx="2771">
                  <c:v>318.07</c:v>
                </c:pt>
                <c:pt idx="2772">
                  <c:v>317.52999999999992</c:v>
                </c:pt>
                <c:pt idx="2773">
                  <c:v>318.95999999999992</c:v>
                </c:pt>
                <c:pt idx="2774">
                  <c:v>321.31</c:v>
                </c:pt>
                <c:pt idx="2775">
                  <c:v>323.18</c:v>
                </c:pt>
                <c:pt idx="2776">
                  <c:v>325.11</c:v>
                </c:pt>
                <c:pt idx="2777">
                  <c:v>325.06</c:v>
                </c:pt>
                <c:pt idx="2778">
                  <c:v>325.52999999999992</c:v>
                </c:pt>
                <c:pt idx="2779">
                  <c:v>325.82</c:v>
                </c:pt>
                <c:pt idx="2780">
                  <c:v>323.41000000000003</c:v>
                </c:pt>
                <c:pt idx="2781">
                  <c:v>324.26</c:v>
                </c:pt>
                <c:pt idx="2782">
                  <c:v>321.57</c:v>
                </c:pt>
                <c:pt idx="2783">
                  <c:v>325.13</c:v>
                </c:pt>
                <c:pt idx="2784">
                  <c:v>327.66000000000008</c:v>
                </c:pt>
                <c:pt idx="2785">
                  <c:v>328.02</c:v>
                </c:pt>
                <c:pt idx="2786">
                  <c:v>329.21</c:v>
                </c:pt>
                <c:pt idx="2787">
                  <c:v>328.96999999999997</c:v>
                </c:pt>
                <c:pt idx="2788">
                  <c:v>326.32</c:v>
                </c:pt>
                <c:pt idx="2789">
                  <c:v>326.94</c:v>
                </c:pt>
                <c:pt idx="2790">
                  <c:v>327.97999999999996</c:v>
                </c:pt>
                <c:pt idx="2791">
                  <c:v>323.35000000000002</c:v>
                </c:pt>
                <c:pt idx="2792">
                  <c:v>322.51</c:v>
                </c:pt>
                <c:pt idx="2793">
                  <c:v>321.98999999999995</c:v>
                </c:pt>
                <c:pt idx="2794">
                  <c:v>325.12</c:v>
                </c:pt>
                <c:pt idx="2795">
                  <c:v>325.44</c:v>
                </c:pt>
                <c:pt idx="2796">
                  <c:v>327.45</c:v>
                </c:pt>
                <c:pt idx="2797">
                  <c:v>326.28999999999996</c:v>
                </c:pt>
                <c:pt idx="2798">
                  <c:v>324.27</c:v>
                </c:pt>
                <c:pt idx="2799">
                  <c:v>328.24</c:v>
                </c:pt>
                <c:pt idx="2800">
                  <c:v>332.22999999999996</c:v>
                </c:pt>
                <c:pt idx="2801">
                  <c:v>329.16</c:v>
                </c:pt>
                <c:pt idx="2802">
                  <c:v>329</c:v>
                </c:pt>
                <c:pt idx="2803">
                  <c:v>331.46</c:v>
                </c:pt>
                <c:pt idx="2804">
                  <c:v>333.88</c:v>
                </c:pt>
                <c:pt idx="2805">
                  <c:v>329.92999999999995</c:v>
                </c:pt>
                <c:pt idx="2806">
                  <c:v>326.13</c:v>
                </c:pt>
                <c:pt idx="2807">
                  <c:v>328.08</c:v>
                </c:pt>
                <c:pt idx="2808">
                  <c:v>329.26</c:v>
                </c:pt>
                <c:pt idx="2809">
                  <c:v>327.13</c:v>
                </c:pt>
                <c:pt idx="2810">
                  <c:v>330.15000000000003</c:v>
                </c:pt>
                <c:pt idx="2811">
                  <c:v>330.78</c:v>
                </c:pt>
                <c:pt idx="2812">
                  <c:v>328.17</c:v>
                </c:pt>
                <c:pt idx="2813">
                  <c:v>327.63</c:v>
                </c:pt>
                <c:pt idx="2814">
                  <c:v>330.94</c:v>
                </c:pt>
                <c:pt idx="2815">
                  <c:v>333.13</c:v>
                </c:pt>
                <c:pt idx="2816">
                  <c:v>333.87</c:v>
                </c:pt>
                <c:pt idx="2817">
                  <c:v>335.17</c:v>
                </c:pt>
                <c:pt idx="2818">
                  <c:v>339.38</c:v>
                </c:pt>
                <c:pt idx="2819">
                  <c:v>338.21</c:v>
                </c:pt>
                <c:pt idx="2820">
                  <c:v>335.96999999999997</c:v>
                </c:pt>
                <c:pt idx="2821">
                  <c:v>334.8</c:v>
                </c:pt>
                <c:pt idx="2822">
                  <c:v>336.97999999999996</c:v>
                </c:pt>
                <c:pt idx="2823">
                  <c:v>338.71</c:v>
                </c:pt>
                <c:pt idx="2824">
                  <c:v>338.28999999999996</c:v>
                </c:pt>
                <c:pt idx="2825">
                  <c:v>339.72999999999996</c:v>
                </c:pt>
                <c:pt idx="2826">
                  <c:v>340.81</c:v>
                </c:pt>
                <c:pt idx="2827">
                  <c:v>342.52</c:v>
                </c:pt>
                <c:pt idx="2828">
                  <c:v>337.96</c:v>
                </c:pt>
                <c:pt idx="2829">
                  <c:v>335.34000000000003</c:v>
                </c:pt>
                <c:pt idx="2830">
                  <c:v>331.55</c:v>
                </c:pt>
                <c:pt idx="2831">
                  <c:v>329.64000000000004</c:v>
                </c:pt>
                <c:pt idx="2832">
                  <c:v>334.19</c:v>
                </c:pt>
                <c:pt idx="2833">
                  <c:v>336.92999999999995</c:v>
                </c:pt>
                <c:pt idx="2834">
                  <c:v>335.27</c:v>
                </c:pt>
                <c:pt idx="2835">
                  <c:v>332.91999999999996</c:v>
                </c:pt>
                <c:pt idx="2836">
                  <c:v>333.57</c:v>
                </c:pt>
                <c:pt idx="2837">
                  <c:v>331.87</c:v>
                </c:pt>
                <c:pt idx="2838">
                  <c:v>330.66</c:v>
                </c:pt>
                <c:pt idx="2839">
                  <c:v>332.06</c:v>
                </c:pt>
                <c:pt idx="2840">
                  <c:v>333.6</c:v>
                </c:pt>
                <c:pt idx="2841">
                  <c:v>328.42999999999995</c:v>
                </c:pt>
                <c:pt idx="2842">
                  <c:v>325.25</c:v>
                </c:pt>
                <c:pt idx="2843">
                  <c:v>321.77999999999992</c:v>
                </c:pt>
                <c:pt idx="2844">
                  <c:v>315.55</c:v>
                </c:pt>
                <c:pt idx="2845">
                  <c:v>312.05</c:v>
                </c:pt>
                <c:pt idx="2846">
                  <c:v>317.19</c:v>
                </c:pt>
                <c:pt idx="2847">
                  <c:v>317.89</c:v>
                </c:pt>
                <c:pt idx="2848">
                  <c:v>323.67</c:v>
                </c:pt>
                <c:pt idx="2849">
                  <c:v>322.38</c:v>
                </c:pt>
                <c:pt idx="2850">
                  <c:v>323.83</c:v>
                </c:pt>
                <c:pt idx="2851">
                  <c:v>323.27</c:v>
                </c:pt>
                <c:pt idx="2852">
                  <c:v>323.37</c:v>
                </c:pt>
                <c:pt idx="2853">
                  <c:v>323.81</c:v>
                </c:pt>
                <c:pt idx="2854">
                  <c:v>323.06</c:v>
                </c:pt>
                <c:pt idx="2855">
                  <c:v>324.54000000000002</c:v>
                </c:pt>
                <c:pt idx="2856">
                  <c:v>322.8</c:v>
                </c:pt>
                <c:pt idx="2857">
                  <c:v>326.85000000000002</c:v>
                </c:pt>
                <c:pt idx="2858">
                  <c:v>326.95999999999992</c:v>
                </c:pt>
                <c:pt idx="2859">
                  <c:v>327.08999999999992</c:v>
                </c:pt>
                <c:pt idx="2860">
                  <c:v>327.66000000000008</c:v>
                </c:pt>
                <c:pt idx="2861">
                  <c:v>326.45999999999992</c:v>
                </c:pt>
                <c:pt idx="2862">
                  <c:v>327.41999999999996</c:v>
                </c:pt>
                <c:pt idx="2863">
                  <c:v>327.22000000000003</c:v>
                </c:pt>
                <c:pt idx="2864">
                  <c:v>323.77999999999992</c:v>
                </c:pt>
                <c:pt idx="2865">
                  <c:v>326.41999999999996</c:v>
                </c:pt>
                <c:pt idx="2866">
                  <c:v>323.97999999999996</c:v>
                </c:pt>
                <c:pt idx="2867">
                  <c:v>324.47999999999996</c:v>
                </c:pt>
                <c:pt idx="2868">
                  <c:v>320.55</c:v>
                </c:pt>
                <c:pt idx="2869">
                  <c:v>320.33999999999992</c:v>
                </c:pt>
                <c:pt idx="2870">
                  <c:v>324.07</c:v>
                </c:pt>
                <c:pt idx="2871">
                  <c:v>324.14000000000004</c:v>
                </c:pt>
                <c:pt idx="2872">
                  <c:v>325.61</c:v>
                </c:pt>
                <c:pt idx="2873">
                  <c:v>326.14999999999998</c:v>
                </c:pt>
                <c:pt idx="2874">
                  <c:v>329.19</c:v>
                </c:pt>
                <c:pt idx="2875">
                  <c:v>329.77</c:v>
                </c:pt>
                <c:pt idx="2876">
                  <c:v>330.3</c:v>
                </c:pt>
                <c:pt idx="2877">
                  <c:v>328.59</c:v>
                </c:pt>
                <c:pt idx="2878">
                  <c:v>327.08</c:v>
                </c:pt>
                <c:pt idx="2879">
                  <c:v>327.2</c:v>
                </c:pt>
                <c:pt idx="2880">
                  <c:v>329.51</c:v>
                </c:pt>
                <c:pt idx="2881">
                  <c:v>328.87</c:v>
                </c:pt>
                <c:pt idx="2882">
                  <c:v>330.76</c:v>
                </c:pt>
                <c:pt idx="2883">
                  <c:v>333.01</c:v>
                </c:pt>
                <c:pt idx="2884">
                  <c:v>330.7</c:v>
                </c:pt>
                <c:pt idx="2885">
                  <c:v>328.66</c:v>
                </c:pt>
                <c:pt idx="2886">
                  <c:v>327.22999999999996</c:v>
                </c:pt>
                <c:pt idx="2887">
                  <c:v>324.74</c:v>
                </c:pt>
                <c:pt idx="2888">
                  <c:v>324.83</c:v>
                </c:pt>
                <c:pt idx="2889">
                  <c:v>326.05</c:v>
                </c:pt>
                <c:pt idx="2890">
                  <c:v>325.89999999999992</c:v>
                </c:pt>
                <c:pt idx="2891">
                  <c:v>321.74</c:v>
                </c:pt>
                <c:pt idx="2892">
                  <c:v>321.64000000000004</c:v>
                </c:pt>
                <c:pt idx="2893">
                  <c:v>320.87</c:v>
                </c:pt>
                <c:pt idx="2894">
                  <c:v>321.2</c:v>
                </c:pt>
                <c:pt idx="2895">
                  <c:v>322.12</c:v>
                </c:pt>
                <c:pt idx="2896">
                  <c:v>321.47999999999996</c:v>
                </c:pt>
                <c:pt idx="2897">
                  <c:v>323.77</c:v>
                </c:pt>
                <c:pt idx="2898">
                  <c:v>322.3</c:v>
                </c:pt>
                <c:pt idx="2899">
                  <c:v>319.55</c:v>
                </c:pt>
                <c:pt idx="2900">
                  <c:v>318.52</c:v>
                </c:pt>
                <c:pt idx="2901">
                  <c:v>316.48999999999995</c:v>
                </c:pt>
                <c:pt idx="2902">
                  <c:v>316.76</c:v>
                </c:pt>
                <c:pt idx="2903">
                  <c:v>313.83999999999992</c:v>
                </c:pt>
                <c:pt idx="2904">
                  <c:v>314.66000000000008</c:v>
                </c:pt>
                <c:pt idx="2905">
                  <c:v>311.27999999999992</c:v>
                </c:pt>
                <c:pt idx="2906">
                  <c:v>311.74</c:v>
                </c:pt>
                <c:pt idx="2907">
                  <c:v>313.97000000000003</c:v>
                </c:pt>
                <c:pt idx="2908">
                  <c:v>310.28999999999996</c:v>
                </c:pt>
                <c:pt idx="2909">
                  <c:v>308.47999999999996</c:v>
                </c:pt>
                <c:pt idx="2910">
                  <c:v>309.07</c:v>
                </c:pt>
                <c:pt idx="2911">
                  <c:v>305.44</c:v>
                </c:pt>
                <c:pt idx="2912">
                  <c:v>308.27</c:v>
                </c:pt>
                <c:pt idx="2913">
                  <c:v>307.89999999999992</c:v>
                </c:pt>
                <c:pt idx="2914">
                  <c:v>304.77999999999992</c:v>
                </c:pt>
                <c:pt idx="2915">
                  <c:v>304.13</c:v>
                </c:pt>
                <c:pt idx="2916">
                  <c:v>304.92999999999995</c:v>
                </c:pt>
                <c:pt idx="2917">
                  <c:v>306.13</c:v>
                </c:pt>
                <c:pt idx="2918">
                  <c:v>312.22999999999996</c:v>
                </c:pt>
                <c:pt idx="2919">
                  <c:v>316.22999999999996</c:v>
                </c:pt>
                <c:pt idx="2920">
                  <c:v>319.14999999999998</c:v>
                </c:pt>
                <c:pt idx="2921">
                  <c:v>320.02999999999992</c:v>
                </c:pt>
                <c:pt idx="2922">
                  <c:v>320.91000000000003</c:v>
                </c:pt>
                <c:pt idx="2923">
                  <c:v>319.81</c:v>
                </c:pt>
                <c:pt idx="2924">
                  <c:v>321.14000000000004</c:v>
                </c:pt>
                <c:pt idx="2925">
                  <c:v>320.3</c:v>
                </c:pt>
                <c:pt idx="2926">
                  <c:v>315.48999999999995</c:v>
                </c:pt>
                <c:pt idx="2927">
                  <c:v>313.89</c:v>
                </c:pt>
                <c:pt idx="2928">
                  <c:v>316.12</c:v>
                </c:pt>
                <c:pt idx="2929">
                  <c:v>313.41000000000003</c:v>
                </c:pt>
                <c:pt idx="2930">
                  <c:v>313.76</c:v>
                </c:pt>
                <c:pt idx="2931">
                  <c:v>308.24</c:v>
                </c:pt>
                <c:pt idx="2932">
                  <c:v>311.31</c:v>
                </c:pt>
                <c:pt idx="2933">
                  <c:v>315.83999999999992</c:v>
                </c:pt>
                <c:pt idx="2934">
                  <c:v>318.39</c:v>
                </c:pt>
                <c:pt idx="2935">
                  <c:v>321</c:v>
                </c:pt>
                <c:pt idx="2936">
                  <c:v>320.18</c:v>
                </c:pt>
                <c:pt idx="2937">
                  <c:v>318.57</c:v>
                </c:pt>
                <c:pt idx="2938">
                  <c:v>314.64000000000004</c:v>
                </c:pt>
                <c:pt idx="2939">
                  <c:v>315.14999999999998</c:v>
                </c:pt>
                <c:pt idx="2940">
                  <c:v>314.32</c:v>
                </c:pt>
                <c:pt idx="2941">
                  <c:v>310.06</c:v>
                </c:pt>
                <c:pt idx="2942">
                  <c:v>305.27999999999992</c:v>
                </c:pt>
                <c:pt idx="2943">
                  <c:v>302.81</c:v>
                </c:pt>
                <c:pt idx="2944">
                  <c:v>293.52</c:v>
                </c:pt>
                <c:pt idx="2945">
                  <c:v>287.48999999999995</c:v>
                </c:pt>
                <c:pt idx="2946">
                  <c:v>277.11</c:v>
                </c:pt>
                <c:pt idx="2947">
                  <c:v>277.81</c:v>
                </c:pt>
                <c:pt idx="2948">
                  <c:v>272.85000000000002</c:v>
                </c:pt>
                <c:pt idx="2949">
                  <c:v>279.68</c:v>
                </c:pt>
                <c:pt idx="2950">
                  <c:v>290.76</c:v>
                </c:pt>
                <c:pt idx="2951">
                  <c:v>290.85000000000002</c:v>
                </c:pt>
                <c:pt idx="2952">
                  <c:v>287.47999999999996</c:v>
                </c:pt>
                <c:pt idx="2953">
                  <c:v>288.35000000000002</c:v>
                </c:pt>
                <c:pt idx="2954">
                  <c:v>276.24</c:v>
                </c:pt>
                <c:pt idx="2955">
                  <c:v>274.45999999999992</c:v>
                </c:pt>
                <c:pt idx="2956">
                  <c:v>278.27999999999992</c:v>
                </c:pt>
                <c:pt idx="2957">
                  <c:v>278.85000000000002</c:v>
                </c:pt>
                <c:pt idx="2958">
                  <c:v>284.19</c:v>
                </c:pt>
                <c:pt idx="2959">
                  <c:v>281.36</c:v>
                </c:pt>
                <c:pt idx="2960">
                  <c:v>279.08</c:v>
                </c:pt>
                <c:pt idx="2961">
                  <c:v>282.38</c:v>
                </c:pt>
                <c:pt idx="2962">
                  <c:v>285.83</c:v>
                </c:pt>
                <c:pt idx="2963">
                  <c:v>293.3</c:v>
                </c:pt>
                <c:pt idx="2964">
                  <c:v>294.88</c:v>
                </c:pt>
                <c:pt idx="2965">
                  <c:v>290.36</c:v>
                </c:pt>
                <c:pt idx="2966">
                  <c:v>281.10000000000002</c:v>
                </c:pt>
                <c:pt idx="2967">
                  <c:v>278.35000000000002</c:v>
                </c:pt>
                <c:pt idx="2968">
                  <c:v>286.14000000000004</c:v>
                </c:pt>
                <c:pt idx="2969">
                  <c:v>289.51</c:v>
                </c:pt>
                <c:pt idx="2970">
                  <c:v>283.47000000000003</c:v>
                </c:pt>
                <c:pt idx="2971">
                  <c:v>277.36</c:v>
                </c:pt>
                <c:pt idx="2972">
                  <c:v>279.5</c:v>
                </c:pt>
                <c:pt idx="2973">
                  <c:v>283.58</c:v>
                </c:pt>
                <c:pt idx="2974">
                  <c:v>287.58</c:v>
                </c:pt>
                <c:pt idx="2975">
                  <c:v>289.52999999999992</c:v>
                </c:pt>
                <c:pt idx="2976">
                  <c:v>284.47999999999996</c:v>
                </c:pt>
                <c:pt idx="2977">
                  <c:v>289.45</c:v>
                </c:pt>
                <c:pt idx="2978">
                  <c:v>285.97999999999996</c:v>
                </c:pt>
                <c:pt idx="2979">
                  <c:v>274.45</c:v>
                </c:pt>
                <c:pt idx="2980">
                  <c:v>275.94</c:v>
                </c:pt>
                <c:pt idx="2981">
                  <c:v>282.41999999999996</c:v>
                </c:pt>
                <c:pt idx="2982">
                  <c:v>292.47999999999996</c:v>
                </c:pt>
                <c:pt idx="2983">
                  <c:v>291.47999999999996</c:v>
                </c:pt>
                <c:pt idx="2984">
                  <c:v>294.7</c:v>
                </c:pt>
                <c:pt idx="2985">
                  <c:v>292.31</c:v>
                </c:pt>
                <c:pt idx="2986">
                  <c:v>289.10000000000002</c:v>
                </c:pt>
                <c:pt idx="2987">
                  <c:v>283.72999999999996</c:v>
                </c:pt>
                <c:pt idx="2988">
                  <c:v>288.38</c:v>
                </c:pt>
                <c:pt idx="2989">
                  <c:v>294.20999999999992</c:v>
                </c:pt>
                <c:pt idx="2990">
                  <c:v>296.32</c:v>
                </c:pt>
                <c:pt idx="2991">
                  <c:v>302.14000000000004</c:v>
                </c:pt>
                <c:pt idx="2992">
                  <c:v>299.77</c:v>
                </c:pt>
                <c:pt idx="2993">
                  <c:v>305.91999999999996</c:v>
                </c:pt>
                <c:pt idx="2994">
                  <c:v>302.67</c:v>
                </c:pt>
                <c:pt idx="2995">
                  <c:v>305.14999999999998</c:v>
                </c:pt>
                <c:pt idx="2996">
                  <c:v>301.33999999999992</c:v>
                </c:pt>
                <c:pt idx="2997">
                  <c:v>298.28999999999996</c:v>
                </c:pt>
                <c:pt idx="2998">
                  <c:v>300.18</c:v>
                </c:pt>
                <c:pt idx="2999">
                  <c:v>293.16000000000008</c:v>
                </c:pt>
                <c:pt idx="3000">
                  <c:v>299.74</c:v>
                </c:pt>
                <c:pt idx="3001">
                  <c:v>302.10000000000002</c:v>
                </c:pt>
                <c:pt idx="3002">
                  <c:v>298.44</c:v>
                </c:pt>
                <c:pt idx="3003">
                  <c:v>297.83</c:v>
                </c:pt>
                <c:pt idx="3004">
                  <c:v>309.86</c:v>
                </c:pt>
                <c:pt idx="3005">
                  <c:v>305.44</c:v>
                </c:pt>
                <c:pt idx="3006">
                  <c:v>298.39</c:v>
                </c:pt>
                <c:pt idx="3007">
                  <c:v>285.13</c:v>
                </c:pt>
                <c:pt idx="3008">
                  <c:v>287.07</c:v>
                </c:pt>
                <c:pt idx="3009">
                  <c:v>292.95999999999992</c:v>
                </c:pt>
                <c:pt idx="3010">
                  <c:v>287.39999999999992</c:v>
                </c:pt>
                <c:pt idx="3011">
                  <c:v>288.72999999999996</c:v>
                </c:pt>
                <c:pt idx="3012">
                  <c:v>288.77999999999992</c:v>
                </c:pt>
                <c:pt idx="3013">
                  <c:v>282.45</c:v>
                </c:pt>
                <c:pt idx="3014">
                  <c:v>281.77999999999992</c:v>
                </c:pt>
                <c:pt idx="3015">
                  <c:v>288.98999999999995</c:v>
                </c:pt>
                <c:pt idx="3016">
                  <c:v>284.64000000000004</c:v>
                </c:pt>
                <c:pt idx="3017">
                  <c:v>281.91000000000003</c:v>
                </c:pt>
                <c:pt idx="3018">
                  <c:v>282.31</c:v>
                </c:pt>
                <c:pt idx="3019">
                  <c:v>280.41000000000003</c:v>
                </c:pt>
                <c:pt idx="3020">
                  <c:v>279.61</c:v>
                </c:pt>
                <c:pt idx="3021">
                  <c:v>270.69</c:v>
                </c:pt>
                <c:pt idx="3022">
                  <c:v>267.33999999999992</c:v>
                </c:pt>
                <c:pt idx="3023">
                  <c:v>262.42999999999995</c:v>
                </c:pt>
                <c:pt idx="3024">
                  <c:v>260.08999999999992</c:v>
                </c:pt>
                <c:pt idx="3025">
                  <c:v>261.55</c:v>
                </c:pt>
                <c:pt idx="3026">
                  <c:v>272.42999999999995</c:v>
                </c:pt>
                <c:pt idx="3027">
                  <c:v>274.31</c:v>
                </c:pt>
                <c:pt idx="3028">
                  <c:v>284.5</c:v>
                </c:pt>
                <c:pt idx="3029">
                  <c:v>281.18</c:v>
                </c:pt>
                <c:pt idx="3030">
                  <c:v>284.58</c:v>
                </c:pt>
                <c:pt idx="3031">
                  <c:v>289.56</c:v>
                </c:pt>
                <c:pt idx="3032">
                  <c:v>287.35000000000002</c:v>
                </c:pt>
                <c:pt idx="3033">
                  <c:v>286.70999999999992</c:v>
                </c:pt>
                <c:pt idx="3034">
                  <c:v>280.01</c:v>
                </c:pt>
                <c:pt idx="3035">
                  <c:v>284.7</c:v>
                </c:pt>
                <c:pt idx="3036">
                  <c:v>279.04000000000002</c:v>
                </c:pt>
                <c:pt idx="3037">
                  <c:v>278.41000000000003</c:v>
                </c:pt>
                <c:pt idx="3038">
                  <c:v>273.02</c:v>
                </c:pt>
                <c:pt idx="3039">
                  <c:v>274.92999999999995</c:v>
                </c:pt>
                <c:pt idx="3040">
                  <c:v>274.97999999999996</c:v>
                </c:pt>
                <c:pt idx="3041">
                  <c:v>275.68</c:v>
                </c:pt>
                <c:pt idx="3042">
                  <c:v>280.26</c:v>
                </c:pt>
                <c:pt idx="3043">
                  <c:v>279.16000000000008</c:v>
                </c:pt>
                <c:pt idx="3044">
                  <c:v>281.2</c:v>
                </c:pt>
                <c:pt idx="3045">
                  <c:v>283.97000000000003</c:v>
                </c:pt>
                <c:pt idx="3046">
                  <c:v>284.18</c:v>
                </c:pt>
                <c:pt idx="3047">
                  <c:v>281.91999999999996</c:v>
                </c:pt>
                <c:pt idx="3048">
                  <c:v>284.57</c:v>
                </c:pt>
                <c:pt idx="3049">
                  <c:v>286.72999999999996</c:v>
                </c:pt>
                <c:pt idx="3050">
                  <c:v>289.3</c:v>
                </c:pt>
                <c:pt idx="3051">
                  <c:v>293.78999999999996</c:v>
                </c:pt>
                <c:pt idx="3052">
                  <c:v>292.8</c:v>
                </c:pt>
                <c:pt idx="3053">
                  <c:v>289.66000000000008</c:v>
                </c:pt>
                <c:pt idx="3054">
                  <c:v>290.07</c:v>
                </c:pt>
                <c:pt idx="3055">
                  <c:v>288.70999999999992</c:v>
                </c:pt>
                <c:pt idx="3056">
                  <c:v>293.16000000000008</c:v>
                </c:pt>
                <c:pt idx="3057">
                  <c:v>292.22999999999996</c:v>
                </c:pt>
                <c:pt idx="3058">
                  <c:v>291.95999999999992</c:v>
                </c:pt>
                <c:pt idx="3059">
                  <c:v>292.62</c:v>
                </c:pt>
                <c:pt idx="3060">
                  <c:v>294.45999999999992</c:v>
                </c:pt>
                <c:pt idx="3061">
                  <c:v>296.64999999999998</c:v>
                </c:pt>
                <c:pt idx="3062">
                  <c:v>295.81</c:v>
                </c:pt>
                <c:pt idx="3063">
                  <c:v>298.91999999999996</c:v>
                </c:pt>
                <c:pt idx="3064">
                  <c:v>297.98999999999995</c:v>
                </c:pt>
                <c:pt idx="3065">
                  <c:v>297.91999999999996</c:v>
                </c:pt>
                <c:pt idx="3066">
                  <c:v>297.48999999999995</c:v>
                </c:pt>
                <c:pt idx="3067">
                  <c:v>295.7</c:v>
                </c:pt>
                <c:pt idx="3068">
                  <c:v>298.95</c:v>
                </c:pt>
                <c:pt idx="3069">
                  <c:v>296.24</c:v>
                </c:pt>
                <c:pt idx="3070">
                  <c:v>292.51</c:v>
                </c:pt>
                <c:pt idx="3071">
                  <c:v>294.83999999999992</c:v>
                </c:pt>
                <c:pt idx="3072">
                  <c:v>299.89</c:v>
                </c:pt>
                <c:pt idx="3073">
                  <c:v>300.32</c:v>
                </c:pt>
                <c:pt idx="3074">
                  <c:v>305.88</c:v>
                </c:pt>
                <c:pt idx="3075">
                  <c:v>305.47999999999996</c:v>
                </c:pt>
                <c:pt idx="3076">
                  <c:v>305.14999999999998</c:v>
                </c:pt>
                <c:pt idx="3077">
                  <c:v>304.27999999999992</c:v>
                </c:pt>
                <c:pt idx="3078">
                  <c:v>304.70999999999992</c:v>
                </c:pt>
                <c:pt idx="3079">
                  <c:v>302.69</c:v>
                </c:pt>
                <c:pt idx="3080">
                  <c:v>304.5</c:v>
                </c:pt>
                <c:pt idx="3081">
                  <c:v>303.75</c:v>
                </c:pt>
                <c:pt idx="3082">
                  <c:v>305.57</c:v>
                </c:pt>
                <c:pt idx="3083">
                  <c:v>305.57</c:v>
                </c:pt>
                <c:pt idx="3084">
                  <c:v>307.27999999999992</c:v>
                </c:pt>
                <c:pt idx="3085">
                  <c:v>309.33</c:v>
                </c:pt>
                <c:pt idx="3086">
                  <c:v>307.04000000000002</c:v>
                </c:pt>
                <c:pt idx="3087">
                  <c:v>304.91000000000003</c:v>
                </c:pt>
                <c:pt idx="3088">
                  <c:v>303.17</c:v>
                </c:pt>
                <c:pt idx="3089">
                  <c:v>304.02</c:v>
                </c:pt>
                <c:pt idx="3090">
                  <c:v>303.64999999999998</c:v>
                </c:pt>
                <c:pt idx="3091">
                  <c:v>303.16000000000008</c:v>
                </c:pt>
                <c:pt idx="3092">
                  <c:v>303.83</c:v>
                </c:pt>
                <c:pt idx="3093">
                  <c:v>306.47000000000003</c:v>
                </c:pt>
                <c:pt idx="3094">
                  <c:v>307.11</c:v>
                </c:pt>
                <c:pt idx="3095">
                  <c:v>305.51</c:v>
                </c:pt>
                <c:pt idx="3096">
                  <c:v>297.47999999999996</c:v>
                </c:pt>
                <c:pt idx="3097">
                  <c:v>299.26</c:v>
                </c:pt>
                <c:pt idx="3098">
                  <c:v>303.08</c:v>
                </c:pt>
                <c:pt idx="3099">
                  <c:v>304.77999999999992</c:v>
                </c:pt>
                <c:pt idx="3100">
                  <c:v>303.41999999999996</c:v>
                </c:pt>
                <c:pt idx="3101">
                  <c:v>309.20999999999992</c:v>
                </c:pt>
                <c:pt idx="3102">
                  <c:v>309.33</c:v>
                </c:pt>
                <c:pt idx="3103">
                  <c:v>311.11</c:v>
                </c:pt>
                <c:pt idx="3104">
                  <c:v>312.83</c:v>
                </c:pt>
                <c:pt idx="3105">
                  <c:v>314.08999999999992</c:v>
                </c:pt>
                <c:pt idx="3106">
                  <c:v>311.14999999999998</c:v>
                </c:pt>
                <c:pt idx="3107">
                  <c:v>309.45999999999992</c:v>
                </c:pt>
                <c:pt idx="3108">
                  <c:v>305.7</c:v>
                </c:pt>
                <c:pt idx="3109">
                  <c:v>306.94</c:v>
                </c:pt>
                <c:pt idx="3110">
                  <c:v>309.83</c:v>
                </c:pt>
                <c:pt idx="3111">
                  <c:v>309.02999999999992</c:v>
                </c:pt>
                <c:pt idx="3112">
                  <c:v>305.72999999999996</c:v>
                </c:pt>
                <c:pt idx="3113">
                  <c:v>300.06</c:v>
                </c:pt>
                <c:pt idx="3114">
                  <c:v>303.82</c:v>
                </c:pt>
                <c:pt idx="3115">
                  <c:v>305.17</c:v>
                </c:pt>
                <c:pt idx="3116">
                  <c:v>301.33</c:v>
                </c:pt>
                <c:pt idx="3117">
                  <c:v>292</c:v>
                </c:pt>
                <c:pt idx="3118">
                  <c:v>292.16000000000008</c:v>
                </c:pt>
                <c:pt idx="3119">
                  <c:v>283.7</c:v>
                </c:pt>
                <c:pt idx="3120">
                  <c:v>285.70999999999992</c:v>
                </c:pt>
                <c:pt idx="3121">
                  <c:v>286.60000000000002</c:v>
                </c:pt>
                <c:pt idx="3122">
                  <c:v>280.33</c:v>
                </c:pt>
                <c:pt idx="3123">
                  <c:v>280.55</c:v>
                </c:pt>
                <c:pt idx="3124">
                  <c:v>288.45999999999992</c:v>
                </c:pt>
                <c:pt idx="3125">
                  <c:v>283.14000000000004</c:v>
                </c:pt>
                <c:pt idx="3126">
                  <c:v>279.07</c:v>
                </c:pt>
                <c:pt idx="3127">
                  <c:v>281.77</c:v>
                </c:pt>
                <c:pt idx="3128">
                  <c:v>273.77999999999992</c:v>
                </c:pt>
                <c:pt idx="3129">
                  <c:v>279.78999999999996</c:v>
                </c:pt>
                <c:pt idx="3130">
                  <c:v>285.97999999999996</c:v>
                </c:pt>
                <c:pt idx="3131">
                  <c:v>284.82</c:v>
                </c:pt>
                <c:pt idx="3132">
                  <c:v>288.63</c:v>
                </c:pt>
                <c:pt idx="3133">
                  <c:v>285.74</c:v>
                </c:pt>
                <c:pt idx="3134">
                  <c:v>285.91999999999996</c:v>
                </c:pt>
                <c:pt idx="3135">
                  <c:v>283.12</c:v>
                </c:pt>
                <c:pt idx="3136">
                  <c:v>283.01</c:v>
                </c:pt>
                <c:pt idx="3137">
                  <c:v>278.44</c:v>
                </c:pt>
                <c:pt idx="3138">
                  <c:v>281.95</c:v>
                </c:pt>
                <c:pt idx="3139">
                  <c:v>279.76</c:v>
                </c:pt>
                <c:pt idx="3140">
                  <c:v>278.37</c:v>
                </c:pt>
                <c:pt idx="3141">
                  <c:v>281.42999999999995</c:v>
                </c:pt>
                <c:pt idx="3142">
                  <c:v>281.01</c:v>
                </c:pt>
                <c:pt idx="3143">
                  <c:v>273.58999999999992</c:v>
                </c:pt>
                <c:pt idx="3144">
                  <c:v>270.83999999999992</c:v>
                </c:pt>
                <c:pt idx="3145">
                  <c:v>270.91999999999996</c:v>
                </c:pt>
                <c:pt idx="3146">
                  <c:v>268.33999999999992</c:v>
                </c:pt>
                <c:pt idx="3147">
                  <c:v>266.14999999999998</c:v>
                </c:pt>
                <c:pt idx="3148">
                  <c:v>268.97000000000003</c:v>
                </c:pt>
                <c:pt idx="3149">
                  <c:v>274.41000000000003</c:v>
                </c:pt>
                <c:pt idx="3150">
                  <c:v>266.3</c:v>
                </c:pt>
                <c:pt idx="3151">
                  <c:v>269.11</c:v>
                </c:pt>
                <c:pt idx="3152">
                  <c:v>268.88</c:v>
                </c:pt>
                <c:pt idx="3153">
                  <c:v>267.48999999999995</c:v>
                </c:pt>
                <c:pt idx="3154">
                  <c:v>268.77</c:v>
                </c:pt>
                <c:pt idx="3155">
                  <c:v>264.64000000000004</c:v>
                </c:pt>
                <c:pt idx="3156">
                  <c:v>262.91999999999996</c:v>
                </c:pt>
                <c:pt idx="3157">
                  <c:v>258.10000000000002</c:v>
                </c:pt>
                <c:pt idx="3158">
                  <c:v>257.51</c:v>
                </c:pt>
                <c:pt idx="3159">
                  <c:v>257.08</c:v>
                </c:pt>
                <c:pt idx="3160">
                  <c:v>263.81</c:v>
                </c:pt>
                <c:pt idx="3161">
                  <c:v>265.54000000000002</c:v>
                </c:pt>
                <c:pt idx="3162">
                  <c:v>266.48999999999995</c:v>
                </c:pt>
                <c:pt idx="3163">
                  <c:v>265.18</c:v>
                </c:pt>
                <c:pt idx="3164">
                  <c:v>265.56</c:v>
                </c:pt>
                <c:pt idx="3165">
                  <c:v>264.05</c:v>
                </c:pt>
                <c:pt idx="3166">
                  <c:v>264.44</c:v>
                </c:pt>
                <c:pt idx="3167">
                  <c:v>269.24</c:v>
                </c:pt>
                <c:pt idx="3168">
                  <c:v>267.06</c:v>
                </c:pt>
                <c:pt idx="3169">
                  <c:v>271.32</c:v>
                </c:pt>
                <c:pt idx="3170">
                  <c:v>275.52</c:v>
                </c:pt>
                <c:pt idx="3171">
                  <c:v>274.83</c:v>
                </c:pt>
              </c:numCache>
            </c:numRef>
          </c:val>
        </c:ser>
        <c:ser>
          <c:idx val="1"/>
          <c:order val="1"/>
          <c:tx>
            <c:strRef>
              <c:f>Histories!$C$1</c:f>
              <c:strCache>
                <c:ptCount val="1"/>
                <c:pt idx="0">
                  <c:v>Price</c:v>
                </c:pt>
              </c:strCache>
            </c:strRef>
          </c:tx>
          <c:spPr>
            <a:ln w="25222">
              <a:solidFill>
                <a:schemeClr val="accent5"/>
              </a:solidFill>
              <a:prstDash val="solid"/>
            </a:ln>
          </c:spPr>
          <c:marker>
            <c:symbol val="none"/>
          </c:marker>
          <c:cat>
            <c:numRef>
              <c:f>Histories!$A$3:$A$3174</c:f>
              <c:numCache>
                <c:formatCode>m/d/yyyy</c:formatCode>
                <c:ptCount val="3172"/>
                <c:pt idx="0">
                  <c:v>36605</c:v>
                </c:pt>
                <c:pt idx="1">
                  <c:v>36606</c:v>
                </c:pt>
                <c:pt idx="2">
                  <c:v>36607</c:v>
                </c:pt>
                <c:pt idx="3">
                  <c:v>36608</c:v>
                </c:pt>
                <c:pt idx="4">
                  <c:v>36609</c:v>
                </c:pt>
                <c:pt idx="5">
                  <c:v>36612</c:v>
                </c:pt>
                <c:pt idx="6">
                  <c:v>36613</c:v>
                </c:pt>
                <c:pt idx="7">
                  <c:v>36614</c:v>
                </c:pt>
                <c:pt idx="8">
                  <c:v>36615</c:v>
                </c:pt>
                <c:pt idx="9">
                  <c:v>36616</c:v>
                </c:pt>
                <c:pt idx="10">
                  <c:v>36619</c:v>
                </c:pt>
                <c:pt idx="11">
                  <c:v>36620</c:v>
                </c:pt>
                <c:pt idx="12">
                  <c:v>36621</c:v>
                </c:pt>
                <c:pt idx="13">
                  <c:v>36622</c:v>
                </c:pt>
                <c:pt idx="14">
                  <c:v>36623</c:v>
                </c:pt>
                <c:pt idx="15">
                  <c:v>36626</c:v>
                </c:pt>
                <c:pt idx="16">
                  <c:v>36627</c:v>
                </c:pt>
                <c:pt idx="17">
                  <c:v>36628</c:v>
                </c:pt>
                <c:pt idx="18">
                  <c:v>36629</c:v>
                </c:pt>
                <c:pt idx="19">
                  <c:v>36630</c:v>
                </c:pt>
                <c:pt idx="20">
                  <c:v>36633</c:v>
                </c:pt>
                <c:pt idx="21">
                  <c:v>36634</c:v>
                </c:pt>
                <c:pt idx="22">
                  <c:v>36635</c:v>
                </c:pt>
                <c:pt idx="23">
                  <c:v>36636</c:v>
                </c:pt>
                <c:pt idx="24">
                  <c:v>36637</c:v>
                </c:pt>
                <c:pt idx="25">
                  <c:v>36640</c:v>
                </c:pt>
                <c:pt idx="26">
                  <c:v>36641</c:v>
                </c:pt>
                <c:pt idx="27">
                  <c:v>36642</c:v>
                </c:pt>
                <c:pt idx="28">
                  <c:v>36643</c:v>
                </c:pt>
                <c:pt idx="29">
                  <c:v>36644</c:v>
                </c:pt>
                <c:pt idx="30">
                  <c:v>36647</c:v>
                </c:pt>
                <c:pt idx="31">
                  <c:v>36648</c:v>
                </c:pt>
                <c:pt idx="32">
                  <c:v>36649</c:v>
                </c:pt>
                <c:pt idx="33">
                  <c:v>36650</c:v>
                </c:pt>
                <c:pt idx="34">
                  <c:v>36651</c:v>
                </c:pt>
                <c:pt idx="35">
                  <c:v>36654</c:v>
                </c:pt>
                <c:pt idx="36">
                  <c:v>36655</c:v>
                </c:pt>
                <c:pt idx="37">
                  <c:v>36656</c:v>
                </c:pt>
                <c:pt idx="38">
                  <c:v>36657</c:v>
                </c:pt>
                <c:pt idx="39">
                  <c:v>36658</c:v>
                </c:pt>
                <c:pt idx="40">
                  <c:v>36661</c:v>
                </c:pt>
                <c:pt idx="41">
                  <c:v>36662</c:v>
                </c:pt>
                <c:pt idx="42">
                  <c:v>36663</c:v>
                </c:pt>
                <c:pt idx="43">
                  <c:v>36664</c:v>
                </c:pt>
                <c:pt idx="44">
                  <c:v>36665</c:v>
                </c:pt>
                <c:pt idx="45">
                  <c:v>36668</c:v>
                </c:pt>
                <c:pt idx="46">
                  <c:v>36669</c:v>
                </c:pt>
                <c:pt idx="47">
                  <c:v>36670</c:v>
                </c:pt>
                <c:pt idx="48">
                  <c:v>36671</c:v>
                </c:pt>
                <c:pt idx="49">
                  <c:v>36672</c:v>
                </c:pt>
                <c:pt idx="50">
                  <c:v>36675</c:v>
                </c:pt>
                <c:pt idx="51">
                  <c:v>36676</c:v>
                </c:pt>
                <c:pt idx="52">
                  <c:v>36677</c:v>
                </c:pt>
                <c:pt idx="53">
                  <c:v>36678</c:v>
                </c:pt>
                <c:pt idx="54">
                  <c:v>36679</c:v>
                </c:pt>
                <c:pt idx="55">
                  <c:v>36682</c:v>
                </c:pt>
                <c:pt idx="56">
                  <c:v>36683</c:v>
                </c:pt>
                <c:pt idx="57">
                  <c:v>36684</c:v>
                </c:pt>
                <c:pt idx="58">
                  <c:v>36685</c:v>
                </c:pt>
                <c:pt idx="59">
                  <c:v>36686</c:v>
                </c:pt>
                <c:pt idx="60">
                  <c:v>36689</c:v>
                </c:pt>
                <c:pt idx="61">
                  <c:v>36690</c:v>
                </c:pt>
                <c:pt idx="62">
                  <c:v>36691</c:v>
                </c:pt>
                <c:pt idx="63">
                  <c:v>36692</c:v>
                </c:pt>
                <c:pt idx="64">
                  <c:v>36693</c:v>
                </c:pt>
                <c:pt idx="65">
                  <c:v>36696</c:v>
                </c:pt>
                <c:pt idx="66">
                  <c:v>36697</c:v>
                </c:pt>
                <c:pt idx="67">
                  <c:v>36698</c:v>
                </c:pt>
                <c:pt idx="68">
                  <c:v>36699</c:v>
                </c:pt>
                <c:pt idx="69">
                  <c:v>36700</c:v>
                </c:pt>
                <c:pt idx="70">
                  <c:v>36703</c:v>
                </c:pt>
                <c:pt idx="71">
                  <c:v>36704</c:v>
                </c:pt>
                <c:pt idx="72">
                  <c:v>36705</c:v>
                </c:pt>
                <c:pt idx="73">
                  <c:v>36706</c:v>
                </c:pt>
                <c:pt idx="74">
                  <c:v>36707</c:v>
                </c:pt>
                <c:pt idx="75">
                  <c:v>36710</c:v>
                </c:pt>
                <c:pt idx="76">
                  <c:v>36711</c:v>
                </c:pt>
                <c:pt idx="77">
                  <c:v>36712</c:v>
                </c:pt>
                <c:pt idx="78">
                  <c:v>36713</c:v>
                </c:pt>
                <c:pt idx="79">
                  <c:v>36714</c:v>
                </c:pt>
                <c:pt idx="80">
                  <c:v>36717</c:v>
                </c:pt>
                <c:pt idx="81">
                  <c:v>36718</c:v>
                </c:pt>
                <c:pt idx="82">
                  <c:v>36719</c:v>
                </c:pt>
                <c:pt idx="83">
                  <c:v>36720</c:v>
                </c:pt>
                <c:pt idx="84">
                  <c:v>36721</c:v>
                </c:pt>
                <c:pt idx="85">
                  <c:v>36724</c:v>
                </c:pt>
                <c:pt idx="86">
                  <c:v>36725</c:v>
                </c:pt>
                <c:pt idx="87">
                  <c:v>36726</c:v>
                </c:pt>
                <c:pt idx="88">
                  <c:v>36727</c:v>
                </c:pt>
                <c:pt idx="89">
                  <c:v>36728</c:v>
                </c:pt>
                <c:pt idx="90">
                  <c:v>36731</c:v>
                </c:pt>
                <c:pt idx="91">
                  <c:v>36732</c:v>
                </c:pt>
                <c:pt idx="92">
                  <c:v>36733</c:v>
                </c:pt>
                <c:pt idx="93">
                  <c:v>36734</c:v>
                </c:pt>
                <c:pt idx="94">
                  <c:v>36735</c:v>
                </c:pt>
                <c:pt idx="95">
                  <c:v>36738</c:v>
                </c:pt>
                <c:pt idx="96">
                  <c:v>36739</c:v>
                </c:pt>
                <c:pt idx="97">
                  <c:v>36740</c:v>
                </c:pt>
                <c:pt idx="98">
                  <c:v>36741</c:v>
                </c:pt>
                <c:pt idx="99">
                  <c:v>36742</c:v>
                </c:pt>
                <c:pt idx="100">
                  <c:v>36745</c:v>
                </c:pt>
                <c:pt idx="101">
                  <c:v>36746</c:v>
                </c:pt>
                <c:pt idx="102">
                  <c:v>36747</c:v>
                </c:pt>
                <c:pt idx="103">
                  <c:v>36748</c:v>
                </c:pt>
                <c:pt idx="104">
                  <c:v>36749</c:v>
                </c:pt>
                <c:pt idx="105">
                  <c:v>36752</c:v>
                </c:pt>
                <c:pt idx="106">
                  <c:v>36753</c:v>
                </c:pt>
                <c:pt idx="107">
                  <c:v>36754</c:v>
                </c:pt>
                <c:pt idx="108">
                  <c:v>36755</c:v>
                </c:pt>
                <c:pt idx="109">
                  <c:v>36756</c:v>
                </c:pt>
                <c:pt idx="110">
                  <c:v>36759</c:v>
                </c:pt>
                <c:pt idx="111">
                  <c:v>36760</c:v>
                </c:pt>
                <c:pt idx="112">
                  <c:v>36761</c:v>
                </c:pt>
                <c:pt idx="113">
                  <c:v>36762</c:v>
                </c:pt>
                <c:pt idx="114">
                  <c:v>36763</c:v>
                </c:pt>
                <c:pt idx="115">
                  <c:v>36766</c:v>
                </c:pt>
                <c:pt idx="116">
                  <c:v>36767</c:v>
                </c:pt>
                <c:pt idx="117">
                  <c:v>36768</c:v>
                </c:pt>
                <c:pt idx="118">
                  <c:v>36769</c:v>
                </c:pt>
                <c:pt idx="119">
                  <c:v>36770</c:v>
                </c:pt>
                <c:pt idx="120">
                  <c:v>36773</c:v>
                </c:pt>
                <c:pt idx="121">
                  <c:v>36774</c:v>
                </c:pt>
                <c:pt idx="122">
                  <c:v>36775</c:v>
                </c:pt>
                <c:pt idx="123">
                  <c:v>36776</c:v>
                </c:pt>
                <c:pt idx="124">
                  <c:v>36777</c:v>
                </c:pt>
                <c:pt idx="125">
                  <c:v>36780</c:v>
                </c:pt>
                <c:pt idx="126">
                  <c:v>36781</c:v>
                </c:pt>
                <c:pt idx="127">
                  <c:v>36782</c:v>
                </c:pt>
                <c:pt idx="128">
                  <c:v>36783</c:v>
                </c:pt>
                <c:pt idx="129">
                  <c:v>36784</c:v>
                </c:pt>
                <c:pt idx="130">
                  <c:v>36787</c:v>
                </c:pt>
                <c:pt idx="131">
                  <c:v>36788</c:v>
                </c:pt>
                <c:pt idx="132">
                  <c:v>36789</c:v>
                </c:pt>
                <c:pt idx="133">
                  <c:v>36790</c:v>
                </c:pt>
                <c:pt idx="134">
                  <c:v>36791</c:v>
                </c:pt>
                <c:pt idx="135">
                  <c:v>36794</c:v>
                </c:pt>
                <c:pt idx="136">
                  <c:v>36795</c:v>
                </c:pt>
                <c:pt idx="137">
                  <c:v>36796</c:v>
                </c:pt>
                <c:pt idx="138">
                  <c:v>36797</c:v>
                </c:pt>
                <c:pt idx="139">
                  <c:v>36798</c:v>
                </c:pt>
                <c:pt idx="140">
                  <c:v>36801</c:v>
                </c:pt>
                <c:pt idx="141">
                  <c:v>36802</c:v>
                </c:pt>
                <c:pt idx="142">
                  <c:v>36803</c:v>
                </c:pt>
                <c:pt idx="143">
                  <c:v>36804</c:v>
                </c:pt>
                <c:pt idx="144">
                  <c:v>36805</c:v>
                </c:pt>
                <c:pt idx="145">
                  <c:v>36808</c:v>
                </c:pt>
                <c:pt idx="146">
                  <c:v>36809</c:v>
                </c:pt>
                <c:pt idx="147">
                  <c:v>36810</c:v>
                </c:pt>
                <c:pt idx="148">
                  <c:v>36811</c:v>
                </c:pt>
                <c:pt idx="149">
                  <c:v>36812</c:v>
                </c:pt>
                <c:pt idx="150">
                  <c:v>36815</c:v>
                </c:pt>
                <c:pt idx="151">
                  <c:v>36816</c:v>
                </c:pt>
                <c:pt idx="152">
                  <c:v>36817</c:v>
                </c:pt>
                <c:pt idx="153">
                  <c:v>36818</c:v>
                </c:pt>
                <c:pt idx="154">
                  <c:v>36819</c:v>
                </c:pt>
                <c:pt idx="155">
                  <c:v>36822</c:v>
                </c:pt>
                <c:pt idx="156">
                  <c:v>36823</c:v>
                </c:pt>
                <c:pt idx="157">
                  <c:v>36824</c:v>
                </c:pt>
                <c:pt idx="158">
                  <c:v>36825</c:v>
                </c:pt>
                <c:pt idx="159">
                  <c:v>36826</c:v>
                </c:pt>
                <c:pt idx="160">
                  <c:v>36829</c:v>
                </c:pt>
                <c:pt idx="161">
                  <c:v>36830</c:v>
                </c:pt>
                <c:pt idx="162">
                  <c:v>36831</c:v>
                </c:pt>
                <c:pt idx="163">
                  <c:v>36832</c:v>
                </c:pt>
                <c:pt idx="164">
                  <c:v>36833</c:v>
                </c:pt>
                <c:pt idx="165">
                  <c:v>36836</c:v>
                </c:pt>
                <c:pt idx="166">
                  <c:v>36837</c:v>
                </c:pt>
                <c:pt idx="167">
                  <c:v>36838</c:v>
                </c:pt>
                <c:pt idx="168">
                  <c:v>36839</c:v>
                </c:pt>
                <c:pt idx="169">
                  <c:v>36840</c:v>
                </c:pt>
                <c:pt idx="170">
                  <c:v>36843</c:v>
                </c:pt>
                <c:pt idx="171">
                  <c:v>36844</c:v>
                </c:pt>
                <c:pt idx="172">
                  <c:v>36845</c:v>
                </c:pt>
                <c:pt idx="173">
                  <c:v>36846</c:v>
                </c:pt>
                <c:pt idx="174">
                  <c:v>36847</c:v>
                </c:pt>
                <c:pt idx="175">
                  <c:v>36850</c:v>
                </c:pt>
                <c:pt idx="176">
                  <c:v>36851</c:v>
                </c:pt>
                <c:pt idx="177">
                  <c:v>36852</c:v>
                </c:pt>
                <c:pt idx="178">
                  <c:v>36853</c:v>
                </c:pt>
                <c:pt idx="179">
                  <c:v>36854</c:v>
                </c:pt>
                <c:pt idx="180">
                  <c:v>36857</c:v>
                </c:pt>
                <c:pt idx="181">
                  <c:v>36858</c:v>
                </c:pt>
                <c:pt idx="182">
                  <c:v>36859</c:v>
                </c:pt>
                <c:pt idx="183">
                  <c:v>36860</c:v>
                </c:pt>
                <c:pt idx="184">
                  <c:v>36861</c:v>
                </c:pt>
                <c:pt idx="185">
                  <c:v>36864</c:v>
                </c:pt>
                <c:pt idx="186">
                  <c:v>36865</c:v>
                </c:pt>
                <c:pt idx="187">
                  <c:v>36866</c:v>
                </c:pt>
                <c:pt idx="188">
                  <c:v>36867</c:v>
                </c:pt>
                <c:pt idx="189">
                  <c:v>36868</c:v>
                </c:pt>
                <c:pt idx="190">
                  <c:v>36871</c:v>
                </c:pt>
                <c:pt idx="191">
                  <c:v>36872</c:v>
                </c:pt>
                <c:pt idx="192">
                  <c:v>36873</c:v>
                </c:pt>
                <c:pt idx="193">
                  <c:v>36874</c:v>
                </c:pt>
                <c:pt idx="194">
                  <c:v>36875</c:v>
                </c:pt>
                <c:pt idx="195">
                  <c:v>36878</c:v>
                </c:pt>
                <c:pt idx="196">
                  <c:v>36879</c:v>
                </c:pt>
                <c:pt idx="197">
                  <c:v>36880</c:v>
                </c:pt>
                <c:pt idx="198">
                  <c:v>36881</c:v>
                </c:pt>
                <c:pt idx="199">
                  <c:v>36882</c:v>
                </c:pt>
                <c:pt idx="200">
                  <c:v>36885</c:v>
                </c:pt>
                <c:pt idx="201">
                  <c:v>36886</c:v>
                </c:pt>
                <c:pt idx="202">
                  <c:v>36887</c:v>
                </c:pt>
                <c:pt idx="203">
                  <c:v>36888</c:v>
                </c:pt>
                <c:pt idx="204">
                  <c:v>36889</c:v>
                </c:pt>
                <c:pt idx="205">
                  <c:v>36892</c:v>
                </c:pt>
                <c:pt idx="206">
                  <c:v>36893</c:v>
                </c:pt>
                <c:pt idx="207">
                  <c:v>36894</c:v>
                </c:pt>
                <c:pt idx="208">
                  <c:v>36895</c:v>
                </c:pt>
                <c:pt idx="209">
                  <c:v>36896</c:v>
                </c:pt>
                <c:pt idx="210">
                  <c:v>36899</c:v>
                </c:pt>
                <c:pt idx="211">
                  <c:v>36900</c:v>
                </c:pt>
                <c:pt idx="212">
                  <c:v>36901</c:v>
                </c:pt>
                <c:pt idx="213">
                  <c:v>36902</c:v>
                </c:pt>
                <c:pt idx="214">
                  <c:v>36903</c:v>
                </c:pt>
                <c:pt idx="215">
                  <c:v>36906</c:v>
                </c:pt>
                <c:pt idx="216">
                  <c:v>36907</c:v>
                </c:pt>
                <c:pt idx="217">
                  <c:v>36908</c:v>
                </c:pt>
                <c:pt idx="218">
                  <c:v>36909</c:v>
                </c:pt>
                <c:pt idx="219">
                  <c:v>36910</c:v>
                </c:pt>
                <c:pt idx="220">
                  <c:v>36913</c:v>
                </c:pt>
                <c:pt idx="221">
                  <c:v>36914</c:v>
                </c:pt>
                <c:pt idx="222">
                  <c:v>36915</c:v>
                </c:pt>
                <c:pt idx="223">
                  <c:v>36916</c:v>
                </c:pt>
                <c:pt idx="224">
                  <c:v>36917</c:v>
                </c:pt>
                <c:pt idx="225">
                  <c:v>36920</c:v>
                </c:pt>
                <c:pt idx="226">
                  <c:v>36921</c:v>
                </c:pt>
                <c:pt idx="227">
                  <c:v>36922</c:v>
                </c:pt>
                <c:pt idx="228">
                  <c:v>36923</c:v>
                </c:pt>
                <c:pt idx="229">
                  <c:v>36924</c:v>
                </c:pt>
                <c:pt idx="230">
                  <c:v>36927</c:v>
                </c:pt>
                <c:pt idx="231">
                  <c:v>36928</c:v>
                </c:pt>
                <c:pt idx="232">
                  <c:v>36929</c:v>
                </c:pt>
                <c:pt idx="233">
                  <c:v>36930</c:v>
                </c:pt>
                <c:pt idx="234">
                  <c:v>36931</c:v>
                </c:pt>
                <c:pt idx="235">
                  <c:v>36934</c:v>
                </c:pt>
                <c:pt idx="236">
                  <c:v>36935</c:v>
                </c:pt>
                <c:pt idx="237">
                  <c:v>36936</c:v>
                </c:pt>
                <c:pt idx="238">
                  <c:v>36937</c:v>
                </c:pt>
                <c:pt idx="239">
                  <c:v>36938</c:v>
                </c:pt>
                <c:pt idx="240">
                  <c:v>36941</c:v>
                </c:pt>
                <c:pt idx="241">
                  <c:v>36942</c:v>
                </c:pt>
                <c:pt idx="242">
                  <c:v>36943</c:v>
                </c:pt>
                <c:pt idx="243">
                  <c:v>36944</c:v>
                </c:pt>
                <c:pt idx="244">
                  <c:v>36945</c:v>
                </c:pt>
                <c:pt idx="245">
                  <c:v>36948</c:v>
                </c:pt>
                <c:pt idx="246">
                  <c:v>36949</c:v>
                </c:pt>
                <c:pt idx="247">
                  <c:v>36950</c:v>
                </c:pt>
                <c:pt idx="248">
                  <c:v>36951</c:v>
                </c:pt>
                <c:pt idx="249">
                  <c:v>36952</c:v>
                </c:pt>
                <c:pt idx="250">
                  <c:v>36955</c:v>
                </c:pt>
                <c:pt idx="251">
                  <c:v>36956</c:v>
                </c:pt>
                <c:pt idx="252">
                  <c:v>36957</c:v>
                </c:pt>
                <c:pt idx="253">
                  <c:v>36958</c:v>
                </c:pt>
                <c:pt idx="254">
                  <c:v>36959</c:v>
                </c:pt>
                <c:pt idx="255">
                  <c:v>36962</c:v>
                </c:pt>
                <c:pt idx="256">
                  <c:v>36963</c:v>
                </c:pt>
                <c:pt idx="257">
                  <c:v>36964</c:v>
                </c:pt>
                <c:pt idx="258">
                  <c:v>36965</c:v>
                </c:pt>
                <c:pt idx="259">
                  <c:v>36966</c:v>
                </c:pt>
                <c:pt idx="260">
                  <c:v>36969</c:v>
                </c:pt>
                <c:pt idx="261">
                  <c:v>36970</c:v>
                </c:pt>
                <c:pt idx="262">
                  <c:v>36971</c:v>
                </c:pt>
                <c:pt idx="263">
                  <c:v>36972</c:v>
                </c:pt>
                <c:pt idx="264">
                  <c:v>36973</c:v>
                </c:pt>
                <c:pt idx="265">
                  <c:v>36976</c:v>
                </c:pt>
                <c:pt idx="266">
                  <c:v>36977</c:v>
                </c:pt>
                <c:pt idx="267">
                  <c:v>36978</c:v>
                </c:pt>
                <c:pt idx="268">
                  <c:v>36979</c:v>
                </c:pt>
                <c:pt idx="269">
                  <c:v>36980</c:v>
                </c:pt>
                <c:pt idx="270">
                  <c:v>36983</c:v>
                </c:pt>
                <c:pt idx="271">
                  <c:v>36984</c:v>
                </c:pt>
                <c:pt idx="272">
                  <c:v>36985</c:v>
                </c:pt>
                <c:pt idx="273">
                  <c:v>36986</c:v>
                </c:pt>
                <c:pt idx="274">
                  <c:v>36987</c:v>
                </c:pt>
                <c:pt idx="275">
                  <c:v>36990</c:v>
                </c:pt>
                <c:pt idx="276">
                  <c:v>36991</c:v>
                </c:pt>
                <c:pt idx="277">
                  <c:v>36992</c:v>
                </c:pt>
                <c:pt idx="278">
                  <c:v>36993</c:v>
                </c:pt>
                <c:pt idx="279">
                  <c:v>36994</c:v>
                </c:pt>
                <c:pt idx="280">
                  <c:v>36997</c:v>
                </c:pt>
                <c:pt idx="281">
                  <c:v>36998</c:v>
                </c:pt>
                <c:pt idx="282">
                  <c:v>36999</c:v>
                </c:pt>
                <c:pt idx="283">
                  <c:v>37000</c:v>
                </c:pt>
                <c:pt idx="284">
                  <c:v>37001</c:v>
                </c:pt>
                <c:pt idx="285">
                  <c:v>37004</c:v>
                </c:pt>
                <c:pt idx="286">
                  <c:v>37005</c:v>
                </c:pt>
                <c:pt idx="287">
                  <c:v>37006</c:v>
                </c:pt>
                <c:pt idx="288">
                  <c:v>37007</c:v>
                </c:pt>
                <c:pt idx="289">
                  <c:v>37008</c:v>
                </c:pt>
                <c:pt idx="290">
                  <c:v>37011</c:v>
                </c:pt>
                <c:pt idx="291">
                  <c:v>37012</c:v>
                </c:pt>
                <c:pt idx="292">
                  <c:v>37013</c:v>
                </c:pt>
                <c:pt idx="293">
                  <c:v>37014</c:v>
                </c:pt>
                <c:pt idx="294">
                  <c:v>37015</c:v>
                </c:pt>
                <c:pt idx="295">
                  <c:v>37018</c:v>
                </c:pt>
                <c:pt idx="296">
                  <c:v>37019</c:v>
                </c:pt>
                <c:pt idx="297">
                  <c:v>37020</c:v>
                </c:pt>
                <c:pt idx="298">
                  <c:v>37021</c:v>
                </c:pt>
                <c:pt idx="299">
                  <c:v>37022</c:v>
                </c:pt>
                <c:pt idx="300">
                  <c:v>37025</c:v>
                </c:pt>
                <c:pt idx="301">
                  <c:v>37026</c:v>
                </c:pt>
                <c:pt idx="302">
                  <c:v>37027</c:v>
                </c:pt>
                <c:pt idx="303">
                  <c:v>37028</c:v>
                </c:pt>
                <c:pt idx="304">
                  <c:v>37029</c:v>
                </c:pt>
                <c:pt idx="305">
                  <c:v>37032</c:v>
                </c:pt>
                <c:pt idx="306">
                  <c:v>37033</c:v>
                </c:pt>
                <c:pt idx="307">
                  <c:v>37034</c:v>
                </c:pt>
                <c:pt idx="308">
                  <c:v>37035</c:v>
                </c:pt>
                <c:pt idx="309">
                  <c:v>37036</c:v>
                </c:pt>
                <c:pt idx="310">
                  <c:v>37039</c:v>
                </c:pt>
                <c:pt idx="311">
                  <c:v>37040</c:v>
                </c:pt>
                <c:pt idx="312">
                  <c:v>37041</c:v>
                </c:pt>
                <c:pt idx="313">
                  <c:v>37042</c:v>
                </c:pt>
                <c:pt idx="314">
                  <c:v>37043</c:v>
                </c:pt>
                <c:pt idx="315">
                  <c:v>37046</c:v>
                </c:pt>
                <c:pt idx="316">
                  <c:v>37047</c:v>
                </c:pt>
                <c:pt idx="317">
                  <c:v>37048</c:v>
                </c:pt>
                <c:pt idx="318">
                  <c:v>37049</c:v>
                </c:pt>
                <c:pt idx="319">
                  <c:v>37050</c:v>
                </c:pt>
                <c:pt idx="320">
                  <c:v>37053</c:v>
                </c:pt>
                <c:pt idx="321">
                  <c:v>37054</c:v>
                </c:pt>
                <c:pt idx="322">
                  <c:v>37055</c:v>
                </c:pt>
                <c:pt idx="323">
                  <c:v>37056</c:v>
                </c:pt>
                <c:pt idx="324">
                  <c:v>37057</c:v>
                </c:pt>
                <c:pt idx="325">
                  <c:v>37060</c:v>
                </c:pt>
                <c:pt idx="326">
                  <c:v>37061</c:v>
                </c:pt>
                <c:pt idx="327">
                  <c:v>37062</c:v>
                </c:pt>
                <c:pt idx="328">
                  <c:v>37063</c:v>
                </c:pt>
                <c:pt idx="329">
                  <c:v>37064</c:v>
                </c:pt>
                <c:pt idx="330">
                  <c:v>37067</c:v>
                </c:pt>
                <c:pt idx="331">
                  <c:v>37068</c:v>
                </c:pt>
                <c:pt idx="332">
                  <c:v>37069</c:v>
                </c:pt>
                <c:pt idx="333">
                  <c:v>37070</c:v>
                </c:pt>
                <c:pt idx="334">
                  <c:v>37071</c:v>
                </c:pt>
                <c:pt idx="335">
                  <c:v>37074</c:v>
                </c:pt>
                <c:pt idx="336">
                  <c:v>37075</c:v>
                </c:pt>
                <c:pt idx="337">
                  <c:v>37076</c:v>
                </c:pt>
                <c:pt idx="338">
                  <c:v>37077</c:v>
                </c:pt>
                <c:pt idx="339">
                  <c:v>37078</c:v>
                </c:pt>
                <c:pt idx="340">
                  <c:v>37081</c:v>
                </c:pt>
                <c:pt idx="341">
                  <c:v>37082</c:v>
                </c:pt>
                <c:pt idx="342">
                  <c:v>37083</c:v>
                </c:pt>
                <c:pt idx="343">
                  <c:v>37084</c:v>
                </c:pt>
                <c:pt idx="344">
                  <c:v>37085</c:v>
                </c:pt>
                <c:pt idx="345">
                  <c:v>37088</c:v>
                </c:pt>
                <c:pt idx="346">
                  <c:v>37089</c:v>
                </c:pt>
                <c:pt idx="347">
                  <c:v>37090</c:v>
                </c:pt>
                <c:pt idx="348">
                  <c:v>37091</c:v>
                </c:pt>
                <c:pt idx="349">
                  <c:v>37092</c:v>
                </c:pt>
                <c:pt idx="350">
                  <c:v>37095</c:v>
                </c:pt>
                <c:pt idx="351">
                  <c:v>37096</c:v>
                </c:pt>
                <c:pt idx="352">
                  <c:v>37097</c:v>
                </c:pt>
                <c:pt idx="353">
                  <c:v>37098</c:v>
                </c:pt>
                <c:pt idx="354">
                  <c:v>37099</c:v>
                </c:pt>
                <c:pt idx="355">
                  <c:v>37102</c:v>
                </c:pt>
                <c:pt idx="356">
                  <c:v>37103</c:v>
                </c:pt>
                <c:pt idx="357">
                  <c:v>37104</c:v>
                </c:pt>
                <c:pt idx="358">
                  <c:v>37105</c:v>
                </c:pt>
                <c:pt idx="359">
                  <c:v>37106</c:v>
                </c:pt>
                <c:pt idx="360">
                  <c:v>37109</c:v>
                </c:pt>
                <c:pt idx="361">
                  <c:v>37110</c:v>
                </c:pt>
                <c:pt idx="362">
                  <c:v>37111</c:v>
                </c:pt>
                <c:pt idx="363">
                  <c:v>37112</c:v>
                </c:pt>
                <c:pt idx="364">
                  <c:v>37113</c:v>
                </c:pt>
                <c:pt idx="365">
                  <c:v>37116</c:v>
                </c:pt>
                <c:pt idx="366">
                  <c:v>37117</c:v>
                </c:pt>
                <c:pt idx="367">
                  <c:v>37118</c:v>
                </c:pt>
                <c:pt idx="368">
                  <c:v>37119</c:v>
                </c:pt>
                <c:pt idx="369">
                  <c:v>37120</c:v>
                </c:pt>
                <c:pt idx="370">
                  <c:v>37123</c:v>
                </c:pt>
                <c:pt idx="371">
                  <c:v>37124</c:v>
                </c:pt>
                <c:pt idx="372">
                  <c:v>37125</c:v>
                </c:pt>
                <c:pt idx="373">
                  <c:v>37126</c:v>
                </c:pt>
                <c:pt idx="374">
                  <c:v>37127</c:v>
                </c:pt>
                <c:pt idx="375">
                  <c:v>37130</c:v>
                </c:pt>
                <c:pt idx="376">
                  <c:v>37131</c:v>
                </c:pt>
                <c:pt idx="377">
                  <c:v>37132</c:v>
                </c:pt>
                <c:pt idx="378">
                  <c:v>37133</c:v>
                </c:pt>
                <c:pt idx="379">
                  <c:v>37134</c:v>
                </c:pt>
                <c:pt idx="380">
                  <c:v>37137</c:v>
                </c:pt>
                <c:pt idx="381">
                  <c:v>37138</c:v>
                </c:pt>
                <c:pt idx="382">
                  <c:v>37139</c:v>
                </c:pt>
                <c:pt idx="383">
                  <c:v>37140</c:v>
                </c:pt>
                <c:pt idx="384">
                  <c:v>37141</c:v>
                </c:pt>
                <c:pt idx="385">
                  <c:v>37144</c:v>
                </c:pt>
                <c:pt idx="386">
                  <c:v>37145</c:v>
                </c:pt>
                <c:pt idx="387">
                  <c:v>37146</c:v>
                </c:pt>
                <c:pt idx="388">
                  <c:v>37147</c:v>
                </c:pt>
                <c:pt idx="389">
                  <c:v>37148</c:v>
                </c:pt>
                <c:pt idx="390">
                  <c:v>37151</c:v>
                </c:pt>
                <c:pt idx="391">
                  <c:v>37152</c:v>
                </c:pt>
                <c:pt idx="392">
                  <c:v>37153</c:v>
                </c:pt>
                <c:pt idx="393">
                  <c:v>37154</c:v>
                </c:pt>
                <c:pt idx="394">
                  <c:v>37155</c:v>
                </c:pt>
                <c:pt idx="395">
                  <c:v>37158</c:v>
                </c:pt>
                <c:pt idx="396">
                  <c:v>37159</c:v>
                </c:pt>
                <c:pt idx="397">
                  <c:v>37160</c:v>
                </c:pt>
                <c:pt idx="398">
                  <c:v>37161</c:v>
                </c:pt>
                <c:pt idx="399">
                  <c:v>37162</c:v>
                </c:pt>
                <c:pt idx="400">
                  <c:v>37165</c:v>
                </c:pt>
                <c:pt idx="401">
                  <c:v>37166</c:v>
                </c:pt>
                <c:pt idx="402">
                  <c:v>37167</c:v>
                </c:pt>
                <c:pt idx="403">
                  <c:v>37168</c:v>
                </c:pt>
                <c:pt idx="404">
                  <c:v>37169</c:v>
                </c:pt>
                <c:pt idx="405">
                  <c:v>37172</c:v>
                </c:pt>
                <c:pt idx="406">
                  <c:v>37173</c:v>
                </c:pt>
                <c:pt idx="407">
                  <c:v>37174</c:v>
                </c:pt>
                <c:pt idx="408">
                  <c:v>37175</c:v>
                </c:pt>
                <c:pt idx="409">
                  <c:v>37176</c:v>
                </c:pt>
                <c:pt idx="410">
                  <c:v>37179</c:v>
                </c:pt>
                <c:pt idx="411">
                  <c:v>37180</c:v>
                </c:pt>
                <c:pt idx="412">
                  <c:v>37181</c:v>
                </c:pt>
                <c:pt idx="413">
                  <c:v>37182</c:v>
                </c:pt>
                <c:pt idx="414">
                  <c:v>37183</c:v>
                </c:pt>
                <c:pt idx="415">
                  <c:v>37186</c:v>
                </c:pt>
                <c:pt idx="416">
                  <c:v>37187</c:v>
                </c:pt>
                <c:pt idx="417">
                  <c:v>37188</c:v>
                </c:pt>
                <c:pt idx="418">
                  <c:v>37189</c:v>
                </c:pt>
                <c:pt idx="419">
                  <c:v>37190</c:v>
                </c:pt>
                <c:pt idx="420">
                  <c:v>37193</c:v>
                </c:pt>
                <c:pt idx="421">
                  <c:v>37194</c:v>
                </c:pt>
                <c:pt idx="422">
                  <c:v>37195</c:v>
                </c:pt>
                <c:pt idx="423">
                  <c:v>37196</c:v>
                </c:pt>
                <c:pt idx="424">
                  <c:v>37197</c:v>
                </c:pt>
                <c:pt idx="425">
                  <c:v>37200</c:v>
                </c:pt>
                <c:pt idx="426">
                  <c:v>37201</c:v>
                </c:pt>
                <c:pt idx="427">
                  <c:v>37202</c:v>
                </c:pt>
                <c:pt idx="428">
                  <c:v>37203</c:v>
                </c:pt>
                <c:pt idx="429">
                  <c:v>37204</c:v>
                </c:pt>
                <c:pt idx="430">
                  <c:v>37207</c:v>
                </c:pt>
                <c:pt idx="431">
                  <c:v>37208</c:v>
                </c:pt>
                <c:pt idx="432">
                  <c:v>37209</c:v>
                </c:pt>
                <c:pt idx="433">
                  <c:v>37210</c:v>
                </c:pt>
                <c:pt idx="434">
                  <c:v>37211</c:v>
                </c:pt>
                <c:pt idx="435">
                  <c:v>37214</c:v>
                </c:pt>
                <c:pt idx="436">
                  <c:v>37215</c:v>
                </c:pt>
                <c:pt idx="437">
                  <c:v>37216</c:v>
                </c:pt>
                <c:pt idx="438">
                  <c:v>37217</c:v>
                </c:pt>
                <c:pt idx="439">
                  <c:v>37218</c:v>
                </c:pt>
                <c:pt idx="440">
                  <c:v>37221</c:v>
                </c:pt>
                <c:pt idx="441">
                  <c:v>37222</c:v>
                </c:pt>
                <c:pt idx="442">
                  <c:v>37223</c:v>
                </c:pt>
                <c:pt idx="443">
                  <c:v>37224</c:v>
                </c:pt>
                <c:pt idx="444">
                  <c:v>37225</c:v>
                </c:pt>
                <c:pt idx="445">
                  <c:v>37228</c:v>
                </c:pt>
                <c:pt idx="446">
                  <c:v>37229</c:v>
                </c:pt>
                <c:pt idx="447">
                  <c:v>37230</c:v>
                </c:pt>
                <c:pt idx="448">
                  <c:v>37231</c:v>
                </c:pt>
                <c:pt idx="449">
                  <c:v>37232</c:v>
                </c:pt>
                <c:pt idx="450">
                  <c:v>37235</c:v>
                </c:pt>
                <c:pt idx="451">
                  <c:v>37236</c:v>
                </c:pt>
                <c:pt idx="452">
                  <c:v>37237</c:v>
                </c:pt>
                <c:pt idx="453">
                  <c:v>37238</c:v>
                </c:pt>
                <c:pt idx="454">
                  <c:v>37239</c:v>
                </c:pt>
                <c:pt idx="455">
                  <c:v>37242</c:v>
                </c:pt>
                <c:pt idx="456">
                  <c:v>37243</c:v>
                </c:pt>
                <c:pt idx="457">
                  <c:v>37244</c:v>
                </c:pt>
                <c:pt idx="458">
                  <c:v>37245</c:v>
                </c:pt>
                <c:pt idx="459">
                  <c:v>37246</c:v>
                </c:pt>
                <c:pt idx="460">
                  <c:v>37252</c:v>
                </c:pt>
                <c:pt idx="461">
                  <c:v>37253</c:v>
                </c:pt>
                <c:pt idx="462">
                  <c:v>37256</c:v>
                </c:pt>
                <c:pt idx="463">
                  <c:v>37257</c:v>
                </c:pt>
                <c:pt idx="464">
                  <c:v>37258</c:v>
                </c:pt>
                <c:pt idx="465">
                  <c:v>37259</c:v>
                </c:pt>
                <c:pt idx="466">
                  <c:v>37260</c:v>
                </c:pt>
                <c:pt idx="467">
                  <c:v>37263</c:v>
                </c:pt>
                <c:pt idx="468">
                  <c:v>37264</c:v>
                </c:pt>
                <c:pt idx="469">
                  <c:v>37265</c:v>
                </c:pt>
                <c:pt idx="470">
                  <c:v>37266</c:v>
                </c:pt>
                <c:pt idx="471">
                  <c:v>37267</c:v>
                </c:pt>
                <c:pt idx="472">
                  <c:v>37270</c:v>
                </c:pt>
                <c:pt idx="473">
                  <c:v>37271</c:v>
                </c:pt>
                <c:pt idx="474">
                  <c:v>37272</c:v>
                </c:pt>
                <c:pt idx="475">
                  <c:v>37273</c:v>
                </c:pt>
                <c:pt idx="476">
                  <c:v>37274</c:v>
                </c:pt>
                <c:pt idx="477">
                  <c:v>37277</c:v>
                </c:pt>
                <c:pt idx="478">
                  <c:v>37278</c:v>
                </c:pt>
                <c:pt idx="479">
                  <c:v>37279</c:v>
                </c:pt>
                <c:pt idx="480">
                  <c:v>37280</c:v>
                </c:pt>
                <c:pt idx="481">
                  <c:v>37281</c:v>
                </c:pt>
                <c:pt idx="482">
                  <c:v>37284</c:v>
                </c:pt>
                <c:pt idx="483">
                  <c:v>37285</c:v>
                </c:pt>
                <c:pt idx="484">
                  <c:v>37286</c:v>
                </c:pt>
                <c:pt idx="485">
                  <c:v>37287</c:v>
                </c:pt>
                <c:pt idx="486">
                  <c:v>37288</c:v>
                </c:pt>
                <c:pt idx="487">
                  <c:v>37291</c:v>
                </c:pt>
                <c:pt idx="488">
                  <c:v>37292</c:v>
                </c:pt>
                <c:pt idx="489">
                  <c:v>37293</c:v>
                </c:pt>
                <c:pt idx="490">
                  <c:v>37294</c:v>
                </c:pt>
                <c:pt idx="491">
                  <c:v>37295</c:v>
                </c:pt>
                <c:pt idx="492">
                  <c:v>37298</c:v>
                </c:pt>
                <c:pt idx="493">
                  <c:v>37299</c:v>
                </c:pt>
                <c:pt idx="494">
                  <c:v>37300</c:v>
                </c:pt>
                <c:pt idx="495">
                  <c:v>37301</c:v>
                </c:pt>
                <c:pt idx="496">
                  <c:v>37302</c:v>
                </c:pt>
                <c:pt idx="497">
                  <c:v>37305</c:v>
                </c:pt>
                <c:pt idx="498">
                  <c:v>37306</c:v>
                </c:pt>
                <c:pt idx="499">
                  <c:v>37307</c:v>
                </c:pt>
                <c:pt idx="500">
                  <c:v>37308</c:v>
                </c:pt>
                <c:pt idx="501">
                  <c:v>37309</c:v>
                </c:pt>
                <c:pt idx="502">
                  <c:v>37312</c:v>
                </c:pt>
                <c:pt idx="503">
                  <c:v>37313</c:v>
                </c:pt>
                <c:pt idx="504">
                  <c:v>37314</c:v>
                </c:pt>
                <c:pt idx="505">
                  <c:v>37315</c:v>
                </c:pt>
                <c:pt idx="506">
                  <c:v>37316</c:v>
                </c:pt>
                <c:pt idx="507">
                  <c:v>37319</c:v>
                </c:pt>
                <c:pt idx="508">
                  <c:v>37320</c:v>
                </c:pt>
                <c:pt idx="509">
                  <c:v>37321</c:v>
                </c:pt>
                <c:pt idx="510">
                  <c:v>37322</c:v>
                </c:pt>
                <c:pt idx="511">
                  <c:v>37323</c:v>
                </c:pt>
                <c:pt idx="512">
                  <c:v>37326</c:v>
                </c:pt>
                <c:pt idx="513">
                  <c:v>37327</c:v>
                </c:pt>
                <c:pt idx="514">
                  <c:v>37328</c:v>
                </c:pt>
                <c:pt idx="515">
                  <c:v>37329</c:v>
                </c:pt>
                <c:pt idx="516">
                  <c:v>37330</c:v>
                </c:pt>
                <c:pt idx="517">
                  <c:v>37333</c:v>
                </c:pt>
                <c:pt idx="518">
                  <c:v>37334</c:v>
                </c:pt>
                <c:pt idx="519">
                  <c:v>37335</c:v>
                </c:pt>
                <c:pt idx="520">
                  <c:v>37336</c:v>
                </c:pt>
                <c:pt idx="521">
                  <c:v>37337</c:v>
                </c:pt>
                <c:pt idx="522">
                  <c:v>37340</c:v>
                </c:pt>
                <c:pt idx="523">
                  <c:v>37341</c:v>
                </c:pt>
                <c:pt idx="524">
                  <c:v>37342</c:v>
                </c:pt>
                <c:pt idx="525">
                  <c:v>37343</c:v>
                </c:pt>
                <c:pt idx="526">
                  <c:v>37344</c:v>
                </c:pt>
                <c:pt idx="527">
                  <c:v>37347</c:v>
                </c:pt>
                <c:pt idx="528">
                  <c:v>37348</c:v>
                </c:pt>
                <c:pt idx="529">
                  <c:v>37349</c:v>
                </c:pt>
                <c:pt idx="530">
                  <c:v>37350</c:v>
                </c:pt>
                <c:pt idx="531">
                  <c:v>37351</c:v>
                </c:pt>
                <c:pt idx="532">
                  <c:v>37354</c:v>
                </c:pt>
                <c:pt idx="533">
                  <c:v>37355</c:v>
                </c:pt>
                <c:pt idx="534">
                  <c:v>37356</c:v>
                </c:pt>
                <c:pt idx="535">
                  <c:v>37357</c:v>
                </c:pt>
                <c:pt idx="536">
                  <c:v>37358</c:v>
                </c:pt>
                <c:pt idx="537">
                  <c:v>37361</c:v>
                </c:pt>
                <c:pt idx="538">
                  <c:v>37362</c:v>
                </c:pt>
                <c:pt idx="539">
                  <c:v>37363</c:v>
                </c:pt>
                <c:pt idx="540">
                  <c:v>37364</c:v>
                </c:pt>
                <c:pt idx="541">
                  <c:v>37365</c:v>
                </c:pt>
                <c:pt idx="542">
                  <c:v>37368</c:v>
                </c:pt>
                <c:pt idx="543">
                  <c:v>37369</c:v>
                </c:pt>
                <c:pt idx="544">
                  <c:v>37370</c:v>
                </c:pt>
                <c:pt idx="545">
                  <c:v>37371</c:v>
                </c:pt>
                <c:pt idx="546">
                  <c:v>37372</c:v>
                </c:pt>
                <c:pt idx="547">
                  <c:v>37375</c:v>
                </c:pt>
                <c:pt idx="548">
                  <c:v>37376</c:v>
                </c:pt>
                <c:pt idx="549">
                  <c:v>37377</c:v>
                </c:pt>
                <c:pt idx="550">
                  <c:v>37378</c:v>
                </c:pt>
                <c:pt idx="551">
                  <c:v>37379</c:v>
                </c:pt>
                <c:pt idx="552">
                  <c:v>37382</c:v>
                </c:pt>
                <c:pt idx="553">
                  <c:v>37383</c:v>
                </c:pt>
                <c:pt idx="554">
                  <c:v>37384</c:v>
                </c:pt>
                <c:pt idx="555">
                  <c:v>37385</c:v>
                </c:pt>
                <c:pt idx="556">
                  <c:v>37386</c:v>
                </c:pt>
                <c:pt idx="557">
                  <c:v>37389</c:v>
                </c:pt>
                <c:pt idx="558">
                  <c:v>37390</c:v>
                </c:pt>
                <c:pt idx="559">
                  <c:v>37391</c:v>
                </c:pt>
                <c:pt idx="560">
                  <c:v>37392</c:v>
                </c:pt>
                <c:pt idx="561">
                  <c:v>37393</c:v>
                </c:pt>
                <c:pt idx="562">
                  <c:v>37396</c:v>
                </c:pt>
                <c:pt idx="563">
                  <c:v>37397</c:v>
                </c:pt>
                <c:pt idx="564">
                  <c:v>37398</c:v>
                </c:pt>
                <c:pt idx="565">
                  <c:v>37399</c:v>
                </c:pt>
                <c:pt idx="566">
                  <c:v>37400</c:v>
                </c:pt>
                <c:pt idx="567">
                  <c:v>37403</c:v>
                </c:pt>
                <c:pt idx="568">
                  <c:v>37404</c:v>
                </c:pt>
                <c:pt idx="569">
                  <c:v>37405</c:v>
                </c:pt>
                <c:pt idx="570">
                  <c:v>37406</c:v>
                </c:pt>
                <c:pt idx="571">
                  <c:v>37407</c:v>
                </c:pt>
                <c:pt idx="572">
                  <c:v>37410</c:v>
                </c:pt>
                <c:pt idx="573">
                  <c:v>37411</c:v>
                </c:pt>
                <c:pt idx="574">
                  <c:v>37412</c:v>
                </c:pt>
                <c:pt idx="575">
                  <c:v>37413</c:v>
                </c:pt>
                <c:pt idx="576">
                  <c:v>37414</c:v>
                </c:pt>
                <c:pt idx="577">
                  <c:v>37417</c:v>
                </c:pt>
                <c:pt idx="578">
                  <c:v>37418</c:v>
                </c:pt>
                <c:pt idx="579">
                  <c:v>37419</c:v>
                </c:pt>
                <c:pt idx="580">
                  <c:v>37420</c:v>
                </c:pt>
                <c:pt idx="581">
                  <c:v>37421</c:v>
                </c:pt>
                <c:pt idx="582">
                  <c:v>37424</c:v>
                </c:pt>
                <c:pt idx="583">
                  <c:v>37425</c:v>
                </c:pt>
                <c:pt idx="584">
                  <c:v>37426</c:v>
                </c:pt>
                <c:pt idx="585">
                  <c:v>37427</c:v>
                </c:pt>
                <c:pt idx="586">
                  <c:v>37428</c:v>
                </c:pt>
                <c:pt idx="587">
                  <c:v>37431</c:v>
                </c:pt>
                <c:pt idx="588">
                  <c:v>37432</c:v>
                </c:pt>
                <c:pt idx="589">
                  <c:v>37433</c:v>
                </c:pt>
                <c:pt idx="590">
                  <c:v>37434</c:v>
                </c:pt>
                <c:pt idx="591">
                  <c:v>37435</c:v>
                </c:pt>
                <c:pt idx="592">
                  <c:v>37438</c:v>
                </c:pt>
                <c:pt idx="593">
                  <c:v>37439</c:v>
                </c:pt>
                <c:pt idx="594">
                  <c:v>37440</c:v>
                </c:pt>
                <c:pt idx="595">
                  <c:v>37441</c:v>
                </c:pt>
                <c:pt idx="596">
                  <c:v>37442</c:v>
                </c:pt>
                <c:pt idx="597">
                  <c:v>37445</c:v>
                </c:pt>
                <c:pt idx="598">
                  <c:v>37446</c:v>
                </c:pt>
                <c:pt idx="599">
                  <c:v>37447</c:v>
                </c:pt>
                <c:pt idx="600">
                  <c:v>37448</c:v>
                </c:pt>
                <c:pt idx="601">
                  <c:v>37449</c:v>
                </c:pt>
                <c:pt idx="602">
                  <c:v>37452</c:v>
                </c:pt>
                <c:pt idx="603">
                  <c:v>37453</c:v>
                </c:pt>
                <c:pt idx="604">
                  <c:v>37454</c:v>
                </c:pt>
                <c:pt idx="605">
                  <c:v>37455</c:v>
                </c:pt>
                <c:pt idx="606">
                  <c:v>37456</c:v>
                </c:pt>
                <c:pt idx="607">
                  <c:v>37459</c:v>
                </c:pt>
                <c:pt idx="608">
                  <c:v>37460</c:v>
                </c:pt>
                <c:pt idx="609">
                  <c:v>37461</c:v>
                </c:pt>
                <c:pt idx="610">
                  <c:v>37462</c:v>
                </c:pt>
                <c:pt idx="611">
                  <c:v>37463</c:v>
                </c:pt>
                <c:pt idx="612">
                  <c:v>37466</c:v>
                </c:pt>
                <c:pt idx="613">
                  <c:v>37467</c:v>
                </c:pt>
                <c:pt idx="614">
                  <c:v>37468</c:v>
                </c:pt>
                <c:pt idx="615">
                  <c:v>37469</c:v>
                </c:pt>
                <c:pt idx="616">
                  <c:v>37470</c:v>
                </c:pt>
                <c:pt idx="617">
                  <c:v>37473</c:v>
                </c:pt>
                <c:pt idx="618">
                  <c:v>37474</c:v>
                </c:pt>
                <c:pt idx="619">
                  <c:v>37475</c:v>
                </c:pt>
                <c:pt idx="620">
                  <c:v>37476</c:v>
                </c:pt>
                <c:pt idx="621">
                  <c:v>37477</c:v>
                </c:pt>
                <c:pt idx="622">
                  <c:v>37480</c:v>
                </c:pt>
                <c:pt idx="623">
                  <c:v>37481</c:v>
                </c:pt>
                <c:pt idx="624">
                  <c:v>37482</c:v>
                </c:pt>
                <c:pt idx="625">
                  <c:v>37483</c:v>
                </c:pt>
                <c:pt idx="626">
                  <c:v>37484</c:v>
                </c:pt>
                <c:pt idx="627">
                  <c:v>37487</c:v>
                </c:pt>
                <c:pt idx="628">
                  <c:v>37488</c:v>
                </c:pt>
                <c:pt idx="629">
                  <c:v>37489</c:v>
                </c:pt>
                <c:pt idx="630">
                  <c:v>37490</c:v>
                </c:pt>
                <c:pt idx="631">
                  <c:v>37491</c:v>
                </c:pt>
                <c:pt idx="632">
                  <c:v>37494</c:v>
                </c:pt>
                <c:pt idx="633">
                  <c:v>37495</c:v>
                </c:pt>
                <c:pt idx="634">
                  <c:v>37496</c:v>
                </c:pt>
                <c:pt idx="635">
                  <c:v>37497</c:v>
                </c:pt>
                <c:pt idx="636">
                  <c:v>37498</c:v>
                </c:pt>
                <c:pt idx="637">
                  <c:v>37501</c:v>
                </c:pt>
                <c:pt idx="638">
                  <c:v>37502</c:v>
                </c:pt>
                <c:pt idx="639">
                  <c:v>37503</c:v>
                </c:pt>
                <c:pt idx="640">
                  <c:v>37504</c:v>
                </c:pt>
                <c:pt idx="641">
                  <c:v>37505</c:v>
                </c:pt>
                <c:pt idx="642">
                  <c:v>37508</c:v>
                </c:pt>
                <c:pt idx="643">
                  <c:v>37509</c:v>
                </c:pt>
                <c:pt idx="644">
                  <c:v>37510</c:v>
                </c:pt>
                <c:pt idx="645">
                  <c:v>37511</c:v>
                </c:pt>
                <c:pt idx="646">
                  <c:v>37512</c:v>
                </c:pt>
                <c:pt idx="647">
                  <c:v>37515</c:v>
                </c:pt>
                <c:pt idx="648">
                  <c:v>37516</c:v>
                </c:pt>
                <c:pt idx="649">
                  <c:v>37517</c:v>
                </c:pt>
                <c:pt idx="650">
                  <c:v>37518</c:v>
                </c:pt>
                <c:pt idx="651">
                  <c:v>37519</c:v>
                </c:pt>
                <c:pt idx="652">
                  <c:v>37522</c:v>
                </c:pt>
                <c:pt idx="653">
                  <c:v>37523</c:v>
                </c:pt>
                <c:pt idx="654">
                  <c:v>37524</c:v>
                </c:pt>
                <c:pt idx="655">
                  <c:v>37525</c:v>
                </c:pt>
                <c:pt idx="656">
                  <c:v>37526</c:v>
                </c:pt>
                <c:pt idx="657">
                  <c:v>37529</c:v>
                </c:pt>
                <c:pt idx="658">
                  <c:v>37530</c:v>
                </c:pt>
                <c:pt idx="659">
                  <c:v>37531</c:v>
                </c:pt>
                <c:pt idx="660">
                  <c:v>37532</c:v>
                </c:pt>
                <c:pt idx="661">
                  <c:v>37533</c:v>
                </c:pt>
                <c:pt idx="662">
                  <c:v>37536</c:v>
                </c:pt>
                <c:pt idx="663">
                  <c:v>37537</c:v>
                </c:pt>
                <c:pt idx="664">
                  <c:v>37538</c:v>
                </c:pt>
                <c:pt idx="665">
                  <c:v>37539</c:v>
                </c:pt>
                <c:pt idx="666">
                  <c:v>37540</c:v>
                </c:pt>
                <c:pt idx="667">
                  <c:v>37543</c:v>
                </c:pt>
                <c:pt idx="668">
                  <c:v>37544</c:v>
                </c:pt>
                <c:pt idx="669">
                  <c:v>37545</c:v>
                </c:pt>
                <c:pt idx="670">
                  <c:v>37546</c:v>
                </c:pt>
                <c:pt idx="671">
                  <c:v>37547</c:v>
                </c:pt>
                <c:pt idx="672">
                  <c:v>37550</c:v>
                </c:pt>
                <c:pt idx="673">
                  <c:v>37551</c:v>
                </c:pt>
                <c:pt idx="674">
                  <c:v>37552</c:v>
                </c:pt>
                <c:pt idx="675">
                  <c:v>37553</c:v>
                </c:pt>
                <c:pt idx="676">
                  <c:v>37554</c:v>
                </c:pt>
                <c:pt idx="677">
                  <c:v>37557</c:v>
                </c:pt>
                <c:pt idx="678">
                  <c:v>37558</c:v>
                </c:pt>
                <c:pt idx="679">
                  <c:v>37559</c:v>
                </c:pt>
                <c:pt idx="680">
                  <c:v>37560</c:v>
                </c:pt>
                <c:pt idx="681">
                  <c:v>37561</c:v>
                </c:pt>
                <c:pt idx="682">
                  <c:v>37564</c:v>
                </c:pt>
                <c:pt idx="683">
                  <c:v>37565</c:v>
                </c:pt>
                <c:pt idx="684">
                  <c:v>37566</c:v>
                </c:pt>
                <c:pt idx="685">
                  <c:v>37567</c:v>
                </c:pt>
                <c:pt idx="686">
                  <c:v>37568</c:v>
                </c:pt>
                <c:pt idx="687">
                  <c:v>37571</c:v>
                </c:pt>
                <c:pt idx="688">
                  <c:v>37572</c:v>
                </c:pt>
                <c:pt idx="689">
                  <c:v>37573</c:v>
                </c:pt>
                <c:pt idx="690">
                  <c:v>37574</c:v>
                </c:pt>
                <c:pt idx="691">
                  <c:v>37575</c:v>
                </c:pt>
                <c:pt idx="692">
                  <c:v>37578</c:v>
                </c:pt>
                <c:pt idx="693">
                  <c:v>37579</c:v>
                </c:pt>
                <c:pt idx="694">
                  <c:v>37580</c:v>
                </c:pt>
                <c:pt idx="695">
                  <c:v>37581</c:v>
                </c:pt>
                <c:pt idx="696">
                  <c:v>37582</c:v>
                </c:pt>
                <c:pt idx="697">
                  <c:v>37585</c:v>
                </c:pt>
                <c:pt idx="698">
                  <c:v>37586</c:v>
                </c:pt>
                <c:pt idx="699">
                  <c:v>37587</c:v>
                </c:pt>
                <c:pt idx="700">
                  <c:v>37588</c:v>
                </c:pt>
                <c:pt idx="701">
                  <c:v>37589</c:v>
                </c:pt>
                <c:pt idx="702">
                  <c:v>37592</c:v>
                </c:pt>
                <c:pt idx="703">
                  <c:v>37593</c:v>
                </c:pt>
                <c:pt idx="704">
                  <c:v>37594</c:v>
                </c:pt>
                <c:pt idx="705">
                  <c:v>37595</c:v>
                </c:pt>
                <c:pt idx="706">
                  <c:v>37596</c:v>
                </c:pt>
                <c:pt idx="707">
                  <c:v>37599</c:v>
                </c:pt>
                <c:pt idx="708">
                  <c:v>37600</c:v>
                </c:pt>
                <c:pt idx="709">
                  <c:v>37601</c:v>
                </c:pt>
                <c:pt idx="710">
                  <c:v>37602</c:v>
                </c:pt>
                <c:pt idx="711">
                  <c:v>37603</c:v>
                </c:pt>
                <c:pt idx="712">
                  <c:v>37606</c:v>
                </c:pt>
                <c:pt idx="713">
                  <c:v>37607</c:v>
                </c:pt>
                <c:pt idx="714">
                  <c:v>37608</c:v>
                </c:pt>
                <c:pt idx="715">
                  <c:v>37609</c:v>
                </c:pt>
                <c:pt idx="716">
                  <c:v>37610</c:v>
                </c:pt>
                <c:pt idx="717">
                  <c:v>37613</c:v>
                </c:pt>
                <c:pt idx="718">
                  <c:v>37614</c:v>
                </c:pt>
                <c:pt idx="719">
                  <c:v>37615</c:v>
                </c:pt>
                <c:pt idx="720">
                  <c:v>37616</c:v>
                </c:pt>
                <c:pt idx="721">
                  <c:v>37617</c:v>
                </c:pt>
                <c:pt idx="722">
                  <c:v>37620</c:v>
                </c:pt>
                <c:pt idx="723">
                  <c:v>37621</c:v>
                </c:pt>
                <c:pt idx="724">
                  <c:v>37622</c:v>
                </c:pt>
                <c:pt idx="725">
                  <c:v>37623</c:v>
                </c:pt>
                <c:pt idx="726">
                  <c:v>37624</c:v>
                </c:pt>
                <c:pt idx="727">
                  <c:v>37627</c:v>
                </c:pt>
                <c:pt idx="728">
                  <c:v>37628</c:v>
                </c:pt>
                <c:pt idx="729">
                  <c:v>37629</c:v>
                </c:pt>
                <c:pt idx="730">
                  <c:v>37630</c:v>
                </c:pt>
                <c:pt idx="731">
                  <c:v>37631</c:v>
                </c:pt>
                <c:pt idx="732">
                  <c:v>37634</c:v>
                </c:pt>
                <c:pt idx="733">
                  <c:v>37635</c:v>
                </c:pt>
                <c:pt idx="734">
                  <c:v>37636</c:v>
                </c:pt>
                <c:pt idx="735">
                  <c:v>37637</c:v>
                </c:pt>
                <c:pt idx="736">
                  <c:v>37638</c:v>
                </c:pt>
                <c:pt idx="737">
                  <c:v>37641</c:v>
                </c:pt>
                <c:pt idx="738">
                  <c:v>37642</c:v>
                </c:pt>
                <c:pt idx="739">
                  <c:v>37643</c:v>
                </c:pt>
                <c:pt idx="740">
                  <c:v>37644</c:v>
                </c:pt>
                <c:pt idx="741">
                  <c:v>37645</c:v>
                </c:pt>
                <c:pt idx="742">
                  <c:v>37648</c:v>
                </c:pt>
                <c:pt idx="743">
                  <c:v>37649</c:v>
                </c:pt>
                <c:pt idx="744">
                  <c:v>37650</c:v>
                </c:pt>
                <c:pt idx="745">
                  <c:v>37651</c:v>
                </c:pt>
                <c:pt idx="746">
                  <c:v>37652</c:v>
                </c:pt>
                <c:pt idx="747">
                  <c:v>37655</c:v>
                </c:pt>
                <c:pt idx="748">
                  <c:v>37656</c:v>
                </c:pt>
                <c:pt idx="749">
                  <c:v>37657</c:v>
                </c:pt>
                <c:pt idx="750">
                  <c:v>37658</c:v>
                </c:pt>
                <c:pt idx="751">
                  <c:v>37659</c:v>
                </c:pt>
                <c:pt idx="752">
                  <c:v>37662</c:v>
                </c:pt>
                <c:pt idx="753">
                  <c:v>37663</c:v>
                </c:pt>
                <c:pt idx="754">
                  <c:v>37664</c:v>
                </c:pt>
                <c:pt idx="755">
                  <c:v>37665</c:v>
                </c:pt>
                <c:pt idx="756">
                  <c:v>37666</c:v>
                </c:pt>
                <c:pt idx="757">
                  <c:v>37669</c:v>
                </c:pt>
                <c:pt idx="758">
                  <c:v>37670</c:v>
                </c:pt>
                <c:pt idx="759">
                  <c:v>37671</c:v>
                </c:pt>
                <c:pt idx="760">
                  <c:v>37672</c:v>
                </c:pt>
                <c:pt idx="761">
                  <c:v>37673</c:v>
                </c:pt>
                <c:pt idx="762">
                  <c:v>37676</c:v>
                </c:pt>
                <c:pt idx="763">
                  <c:v>37677</c:v>
                </c:pt>
                <c:pt idx="764">
                  <c:v>37678</c:v>
                </c:pt>
                <c:pt idx="765">
                  <c:v>37679</c:v>
                </c:pt>
                <c:pt idx="766">
                  <c:v>37680</c:v>
                </c:pt>
                <c:pt idx="767">
                  <c:v>37683</c:v>
                </c:pt>
                <c:pt idx="768">
                  <c:v>37684</c:v>
                </c:pt>
                <c:pt idx="769">
                  <c:v>37685</c:v>
                </c:pt>
                <c:pt idx="770">
                  <c:v>37686</c:v>
                </c:pt>
                <c:pt idx="771">
                  <c:v>37687</c:v>
                </c:pt>
                <c:pt idx="772">
                  <c:v>37690</c:v>
                </c:pt>
                <c:pt idx="773">
                  <c:v>37691</c:v>
                </c:pt>
                <c:pt idx="774">
                  <c:v>37692</c:v>
                </c:pt>
                <c:pt idx="775">
                  <c:v>37693</c:v>
                </c:pt>
                <c:pt idx="776">
                  <c:v>37694</c:v>
                </c:pt>
                <c:pt idx="777">
                  <c:v>37697</c:v>
                </c:pt>
                <c:pt idx="778">
                  <c:v>37698</c:v>
                </c:pt>
                <c:pt idx="779">
                  <c:v>37699</c:v>
                </c:pt>
                <c:pt idx="780">
                  <c:v>37700</c:v>
                </c:pt>
                <c:pt idx="781">
                  <c:v>37701</c:v>
                </c:pt>
                <c:pt idx="782">
                  <c:v>37704</c:v>
                </c:pt>
                <c:pt idx="783">
                  <c:v>37705</c:v>
                </c:pt>
                <c:pt idx="784">
                  <c:v>37706</c:v>
                </c:pt>
                <c:pt idx="785">
                  <c:v>37707</c:v>
                </c:pt>
                <c:pt idx="786">
                  <c:v>37708</c:v>
                </c:pt>
                <c:pt idx="787">
                  <c:v>37711</c:v>
                </c:pt>
                <c:pt idx="788">
                  <c:v>37712</c:v>
                </c:pt>
                <c:pt idx="789">
                  <c:v>37713</c:v>
                </c:pt>
                <c:pt idx="790">
                  <c:v>37714</c:v>
                </c:pt>
                <c:pt idx="791">
                  <c:v>37715</c:v>
                </c:pt>
                <c:pt idx="792">
                  <c:v>37718</c:v>
                </c:pt>
                <c:pt idx="793">
                  <c:v>37719</c:v>
                </c:pt>
                <c:pt idx="794">
                  <c:v>37720</c:v>
                </c:pt>
                <c:pt idx="795">
                  <c:v>37721</c:v>
                </c:pt>
                <c:pt idx="796">
                  <c:v>37722</c:v>
                </c:pt>
                <c:pt idx="797">
                  <c:v>37725</c:v>
                </c:pt>
                <c:pt idx="798">
                  <c:v>37726</c:v>
                </c:pt>
                <c:pt idx="799">
                  <c:v>37727</c:v>
                </c:pt>
                <c:pt idx="800">
                  <c:v>37728</c:v>
                </c:pt>
                <c:pt idx="801">
                  <c:v>37729</c:v>
                </c:pt>
                <c:pt idx="802">
                  <c:v>37732</c:v>
                </c:pt>
                <c:pt idx="803">
                  <c:v>37733</c:v>
                </c:pt>
                <c:pt idx="804">
                  <c:v>37734</c:v>
                </c:pt>
                <c:pt idx="805">
                  <c:v>37735</c:v>
                </c:pt>
                <c:pt idx="806">
                  <c:v>37736</c:v>
                </c:pt>
                <c:pt idx="807">
                  <c:v>37739</c:v>
                </c:pt>
                <c:pt idx="808">
                  <c:v>37740</c:v>
                </c:pt>
                <c:pt idx="809">
                  <c:v>37741</c:v>
                </c:pt>
                <c:pt idx="810">
                  <c:v>37742</c:v>
                </c:pt>
                <c:pt idx="811">
                  <c:v>37743</c:v>
                </c:pt>
                <c:pt idx="812">
                  <c:v>37746</c:v>
                </c:pt>
                <c:pt idx="813">
                  <c:v>37747</c:v>
                </c:pt>
                <c:pt idx="814">
                  <c:v>37748</c:v>
                </c:pt>
                <c:pt idx="815">
                  <c:v>37749</c:v>
                </c:pt>
                <c:pt idx="816">
                  <c:v>37750</c:v>
                </c:pt>
                <c:pt idx="817">
                  <c:v>37753</c:v>
                </c:pt>
                <c:pt idx="818">
                  <c:v>37754</c:v>
                </c:pt>
                <c:pt idx="819">
                  <c:v>37755</c:v>
                </c:pt>
                <c:pt idx="820">
                  <c:v>37756</c:v>
                </c:pt>
                <c:pt idx="821">
                  <c:v>37757</c:v>
                </c:pt>
                <c:pt idx="822">
                  <c:v>37760</c:v>
                </c:pt>
                <c:pt idx="823">
                  <c:v>37761</c:v>
                </c:pt>
                <c:pt idx="824">
                  <c:v>37762</c:v>
                </c:pt>
                <c:pt idx="825">
                  <c:v>37763</c:v>
                </c:pt>
                <c:pt idx="826">
                  <c:v>37764</c:v>
                </c:pt>
                <c:pt idx="827">
                  <c:v>37767</c:v>
                </c:pt>
                <c:pt idx="828">
                  <c:v>37768</c:v>
                </c:pt>
                <c:pt idx="829">
                  <c:v>37769</c:v>
                </c:pt>
                <c:pt idx="830">
                  <c:v>37770</c:v>
                </c:pt>
                <c:pt idx="831">
                  <c:v>37771</c:v>
                </c:pt>
                <c:pt idx="832">
                  <c:v>37774</c:v>
                </c:pt>
                <c:pt idx="833">
                  <c:v>37775</c:v>
                </c:pt>
                <c:pt idx="834">
                  <c:v>37776</c:v>
                </c:pt>
                <c:pt idx="835">
                  <c:v>37777</c:v>
                </c:pt>
                <c:pt idx="836">
                  <c:v>37778</c:v>
                </c:pt>
                <c:pt idx="837">
                  <c:v>37781</c:v>
                </c:pt>
                <c:pt idx="838">
                  <c:v>37782</c:v>
                </c:pt>
                <c:pt idx="839">
                  <c:v>37783</c:v>
                </c:pt>
                <c:pt idx="840">
                  <c:v>37784</c:v>
                </c:pt>
                <c:pt idx="841">
                  <c:v>37785</c:v>
                </c:pt>
                <c:pt idx="842">
                  <c:v>37788</c:v>
                </c:pt>
                <c:pt idx="843">
                  <c:v>37789</c:v>
                </c:pt>
                <c:pt idx="844">
                  <c:v>37790</c:v>
                </c:pt>
                <c:pt idx="845">
                  <c:v>37791</c:v>
                </c:pt>
                <c:pt idx="846">
                  <c:v>37792</c:v>
                </c:pt>
                <c:pt idx="847">
                  <c:v>37795</c:v>
                </c:pt>
                <c:pt idx="848">
                  <c:v>37796</c:v>
                </c:pt>
                <c:pt idx="849">
                  <c:v>37797</c:v>
                </c:pt>
                <c:pt idx="850">
                  <c:v>37798</c:v>
                </c:pt>
                <c:pt idx="851">
                  <c:v>37799</c:v>
                </c:pt>
                <c:pt idx="852">
                  <c:v>37802</c:v>
                </c:pt>
                <c:pt idx="853">
                  <c:v>37803</c:v>
                </c:pt>
                <c:pt idx="854">
                  <c:v>37804</c:v>
                </c:pt>
                <c:pt idx="855">
                  <c:v>37805</c:v>
                </c:pt>
                <c:pt idx="856">
                  <c:v>37806</c:v>
                </c:pt>
                <c:pt idx="857">
                  <c:v>37809</c:v>
                </c:pt>
                <c:pt idx="858">
                  <c:v>37810</c:v>
                </c:pt>
                <c:pt idx="859">
                  <c:v>37811</c:v>
                </c:pt>
                <c:pt idx="860">
                  <c:v>37812</c:v>
                </c:pt>
                <c:pt idx="861">
                  <c:v>37813</c:v>
                </c:pt>
                <c:pt idx="862">
                  <c:v>37816</c:v>
                </c:pt>
                <c:pt idx="863">
                  <c:v>37817</c:v>
                </c:pt>
                <c:pt idx="864">
                  <c:v>37818</c:v>
                </c:pt>
                <c:pt idx="865">
                  <c:v>37819</c:v>
                </c:pt>
                <c:pt idx="866">
                  <c:v>37820</c:v>
                </c:pt>
                <c:pt idx="867">
                  <c:v>37823</c:v>
                </c:pt>
                <c:pt idx="868">
                  <c:v>37824</c:v>
                </c:pt>
                <c:pt idx="869">
                  <c:v>37825</c:v>
                </c:pt>
                <c:pt idx="870">
                  <c:v>37826</c:v>
                </c:pt>
                <c:pt idx="871">
                  <c:v>37827</c:v>
                </c:pt>
                <c:pt idx="872">
                  <c:v>37830</c:v>
                </c:pt>
                <c:pt idx="873">
                  <c:v>37831</c:v>
                </c:pt>
                <c:pt idx="874">
                  <c:v>37832</c:v>
                </c:pt>
                <c:pt idx="875">
                  <c:v>37833</c:v>
                </c:pt>
                <c:pt idx="876">
                  <c:v>37834</c:v>
                </c:pt>
                <c:pt idx="877">
                  <c:v>37837</c:v>
                </c:pt>
                <c:pt idx="878">
                  <c:v>37838</c:v>
                </c:pt>
                <c:pt idx="879">
                  <c:v>37839</c:v>
                </c:pt>
                <c:pt idx="880">
                  <c:v>37840</c:v>
                </c:pt>
                <c:pt idx="881">
                  <c:v>37841</c:v>
                </c:pt>
                <c:pt idx="882">
                  <c:v>37844</c:v>
                </c:pt>
                <c:pt idx="883">
                  <c:v>37845</c:v>
                </c:pt>
                <c:pt idx="884">
                  <c:v>37846</c:v>
                </c:pt>
                <c:pt idx="885">
                  <c:v>37847</c:v>
                </c:pt>
                <c:pt idx="886">
                  <c:v>37848</c:v>
                </c:pt>
                <c:pt idx="887">
                  <c:v>37851</c:v>
                </c:pt>
                <c:pt idx="888">
                  <c:v>37852</c:v>
                </c:pt>
                <c:pt idx="889">
                  <c:v>37853</c:v>
                </c:pt>
                <c:pt idx="890">
                  <c:v>37854</c:v>
                </c:pt>
                <c:pt idx="891">
                  <c:v>37855</c:v>
                </c:pt>
                <c:pt idx="892">
                  <c:v>37858</c:v>
                </c:pt>
                <c:pt idx="893">
                  <c:v>37859</c:v>
                </c:pt>
                <c:pt idx="894">
                  <c:v>37860</c:v>
                </c:pt>
                <c:pt idx="895">
                  <c:v>37861</c:v>
                </c:pt>
                <c:pt idx="896">
                  <c:v>37862</c:v>
                </c:pt>
                <c:pt idx="897">
                  <c:v>37865</c:v>
                </c:pt>
                <c:pt idx="898">
                  <c:v>37866</c:v>
                </c:pt>
                <c:pt idx="899">
                  <c:v>37867</c:v>
                </c:pt>
                <c:pt idx="900">
                  <c:v>37868</c:v>
                </c:pt>
                <c:pt idx="901">
                  <c:v>37869</c:v>
                </c:pt>
                <c:pt idx="902">
                  <c:v>37872</c:v>
                </c:pt>
                <c:pt idx="903">
                  <c:v>37873</c:v>
                </c:pt>
                <c:pt idx="904">
                  <c:v>37874</c:v>
                </c:pt>
                <c:pt idx="905">
                  <c:v>37875</c:v>
                </c:pt>
                <c:pt idx="906">
                  <c:v>37876</c:v>
                </c:pt>
                <c:pt idx="907">
                  <c:v>37879</c:v>
                </c:pt>
                <c:pt idx="908">
                  <c:v>37880</c:v>
                </c:pt>
                <c:pt idx="909">
                  <c:v>37881</c:v>
                </c:pt>
                <c:pt idx="910">
                  <c:v>37882</c:v>
                </c:pt>
                <c:pt idx="911">
                  <c:v>37883</c:v>
                </c:pt>
                <c:pt idx="912">
                  <c:v>37886</c:v>
                </c:pt>
                <c:pt idx="913">
                  <c:v>37887</c:v>
                </c:pt>
                <c:pt idx="914">
                  <c:v>37888</c:v>
                </c:pt>
                <c:pt idx="915">
                  <c:v>37889</c:v>
                </c:pt>
                <c:pt idx="916">
                  <c:v>37890</c:v>
                </c:pt>
                <c:pt idx="917">
                  <c:v>37893</c:v>
                </c:pt>
                <c:pt idx="918">
                  <c:v>37894</c:v>
                </c:pt>
                <c:pt idx="919">
                  <c:v>37895</c:v>
                </c:pt>
                <c:pt idx="920">
                  <c:v>37896</c:v>
                </c:pt>
                <c:pt idx="921">
                  <c:v>37897</c:v>
                </c:pt>
                <c:pt idx="922">
                  <c:v>37900</c:v>
                </c:pt>
                <c:pt idx="923">
                  <c:v>37901</c:v>
                </c:pt>
                <c:pt idx="924">
                  <c:v>37902</c:v>
                </c:pt>
                <c:pt idx="925">
                  <c:v>37903</c:v>
                </c:pt>
                <c:pt idx="926">
                  <c:v>37904</c:v>
                </c:pt>
                <c:pt idx="927">
                  <c:v>37907</c:v>
                </c:pt>
                <c:pt idx="928">
                  <c:v>37908</c:v>
                </c:pt>
                <c:pt idx="929">
                  <c:v>37909</c:v>
                </c:pt>
                <c:pt idx="930">
                  <c:v>37910</c:v>
                </c:pt>
                <c:pt idx="931">
                  <c:v>37911</c:v>
                </c:pt>
                <c:pt idx="932">
                  <c:v>37914</c:v>
                </c:pt>
                <c:pt idx="933">
                  <c:v>37915</c:v>
                </c:pt>
                <c:pt idx="934">
                  <c:v>37916</c:v>
                </c:pt>
                <c:pt idx="935">
                  <c:v>37917</c:v>
                </c:pt>
                <c:pt idx="936">
                  <c:v>37918</c:v>
                </c:pt>
                <c:pt idx="937">
                  <c:v>37921</c:v>
                </c:pt>
                <c:pt idx="938">
                  <c:v>37922</c:v>
                </c:pt>
                <c:pt idx="939">
                  <c:v>37923</c:v>
                </c:pt>
                <c:pt idx="940">
                  <c:v>37924</c:v>
                </c:pt>
                <c:pt idx="941">
                  <c:v>37925</c:v>
                </c:pt>
                <c:pt idx="942">
                  <c:v>37928</c:v>
                </c:pt>
                <c:pt idx="943">
                  <c:v>37929</c:v>
                </c:pt>
                <c:pt idx="944">
                  <c:v>37930</c:v>
                </c:pt>
                <c:pt idx="945">
                  <c:v>37931</c:v>
                </c:pt>
                <c:pt idx="946">
                  <c:v>37932</c:v>
                </c:pt>
                <c:pt idx="947">
                  <c:v>37935</c:v>
                </c:pt>
                <c:pt idx="948">
                  <c:v>37936</c:v>
                </c:pt>
                <c:pt idx="949">
                  <c:v>37937</c:v>
                </c:pt>
                <c:pt idx="950">
                  <c:v>37938</c:v>
                </c:pt>
                <c:pt idx="951">
                  <c:v>37939</c:v>
                </c:pt>
                <c:pt idx="952">
                  <c:v>37942</c:v>
                </c:pt>
                <c:pt idx="953">
                  <c:v>37943</c:v>
                </c:pt>
                <c:pt idx="954">
                  <c:v>37944</c:v>
                </c:pt>
                <c:pt idx="955">
                  <c:v>37945</c:v>
                </c:pt>
                <c:pt idx="956">
                  <c:v>37946</c:v>
                </c:pt>
                <c:pt idx="957">
                  <c:v>37949</c:v>
                </c:pt>
                <c:pt idx="958">
                  <c:v>37950</c:v>
                </c:pt>
                <c:pt idx="959">
                  <c:v>37951</c:v>
                </c:pt>
                <c:pt idx="960">
                  <c:v>37952</c:v>
                </c:pt>
                <c:pt idx="961">
                  <c:v>37953</c:v>
                </c:pt>
                <c:pt idx="962">
                  <c:v>37956</c:v>
                </c:pt>
                <c:pt idx="963">
                  <c:v>37957</c:v>
                </c:pt>
                <c:pt idx="964">
                  <c:v>37958</c:v>
                </c:pt>
                <c:pt idx="965">
                  <c:v>37959</c:v>
                </c:pt>
                <c:pt idx="966">
                  <c:v>37960</c:v>
                </c:pt>
                <c:pt idx="967">
                  <c:v>37963</c:v>
                </c:pt>
                <c:pt idx="968">
                  <c:v>37964</c:v>
                </c:pt>
                <c:pt idx="969">
                  <c:v>37965</c:v>
                </c:pt>
                <c:pt idx="970">
                  <c:v>37966</c:v>
                </c:pt>
                <c:pt idx="971">
                  <c:v>37967</c:v>
                </c:pt>
                <c:pt idx="972">
                  <c:v>37970</c:v>
                </c:pt>
                <c:pt idx="973">
                  <c:v>37971</c:v>
                </c:pt>
                <c:pt idx="974">
                  <c:v>37972</c:v>
                </c:pt>
                <c:pt idx="975">
                  <c:v>37973</c:v>
                </c:pt>
                <c:pt idx="976">
                  <c:v>37974</c:v>
                </c:pt>
                <c:pt idx="977">
                  <c:v>37977</c:v>
                </c:pt>
                <c:pt idx="978">
                  <c:v>37978</c:v>
                </c:pt>
                <c:pt idx="979">
                  <c:v>37979</c:v>
                </c:pt>
                <c:pt idx="980">
                  <c:v>37984</c:v>
                </c:pt>
                <c:pt idx="981">
                  <c:v>37985</c:v>
                </c:pt>
                <c:pt idx="982">
                  <c:v>37986</c:v>
                </c:pt>
                <c:pt idx="983">
                  <c:v>37987</c:v>
                </c:pt>
                <c:pt idx="984">
                  <c:v>37988</c:v>
                </c:pt>
                <c:pt idx="985">
                  <c:v>37991</c:v>
                </c:pt>
                <c:pt idx="986">
                  <c:v>37992</c:v>
                </c:pt>
                <c:pt idx="987">
                  <c:v>37993</c:v>
                </c:pt>
                <c:pt idx="988">
                  <c:v>37994</c:v>
                </c:pt>
                <c:pt idx="989">
                  <c:v>37995</c:v>
                </c:pt>
                <c:pt idx="990">
                  <c:v>37998</c:v>
                </c:pt>
                <c:pt idx="991">
                  <c:v>37999</c:v>
                </c:pt>
                <c:pt idx="992">
                  <c:v>38000</c:v>
                </c:pt>
                <c:pt idx="993">
                  <c:v>38001</c:v>
                </c:pt>
                <c:pt idx="994">
                  <c:v>38002</c:v>
                </c:pt>
                <c:pt idx="995">
                  <c:v>38005</c:v>
                </c:pt>
                <c:pt idx="996">
                  <c:v>38006</c:v>
                </c:pt>
                <c:pt idx="997">
                  <c:v>38007</c:v>
                </c:pt>
                <c:pt idx="998">
                  <c:v>38008</c:v>
                </c:pt>
                <c:pt idx="999">
                  <c:v>38009</c:v>
                </c:pt>
                <c:pt idx="1000">
                  <c:v>38012</c:v>
                </c:pt>
                <c:pt idx="1001">
                  <c:v>38013</c:v>
                </c:pt>
                <c:pt idx="1002">
                  <c:v>38014</c:v>
                </c:pt>
                <c:pt idx="1003">
                  <c:v>38015</c:v>
                </c:pt>
                <c:pt idx="1004">
                  <c:v>38016</c:v>
                </c:pt>
                <c:pt idx="1005">
                  <c:v>38019</c:v>
                </c:pt>
                <c:pt idx="1006">
                  <c:v>38020</c:v>
                </c:pt>
                <c:pt idx="1007">
                  <c:v>38021</c:v>
                </c:pt>
                <c:pt idx="1008">
                  <c:v>38022</c:v>
                </c:pt>
                <c:pt idx="1009">
                  <c:v>38023</c:v>
                </c:pt>
                <c:pt idx="1010">
                  <c:v>38026</c:v>
                </c:pt>
                <c:pt idx="1011">
                  <c:v>38027</c:v>
                </c:pt>
                <c:pt idx="1012">
                  <c:v>38028</c:v>
                </c:pt>
                <c:pt idx="1013">
                  <c:v>38029</c:v>
                </c:pt>
                <c:pt idx="1014">
                  <c:v>38030</c:v>
                </c:pt>
                <c:pt idx="1015">
                  <c:v>38033</c:v>
                </c:pt>
                <c:pt idx="1016">
                  <c:v>38034</c:v>
                </c:pt>
                <c:pt idx="1017">
                  <c:v>38035</c:v>
                </c:pt>
                <c:pt idx="1018">
                  <c:v>38036</c:v>
                </c:pt>
                <c:pt idx="1019">
                  <c:v>38037</c:v>
                </c:pt>
                <c:pt idx="1020">
                  <c:v>38040</c:v>
                </c:pt>
                <c:pt idx="1021">
                  <c:v>38041</c:v>
                </c:pt>
                <c:pt idx="1022">
                  <c:v>38042</c:v>
                </c:pt>
                <c:pt idx="1023">
                  <c:v>38043</c:v>
                </c:pt>
                <c:pt idx="1024">
                  <c:v>38044</c:v>
                </c:pt>
                <c:pt idx="1025">
                  <c:v>38047</c:v>
                </c:pt>
                <c:pt idx="1026">
                  <c:v>38048</c:v>
                </c:pt>
                <c:pt idx="1027">
                  <c:v>38049</c:v>
                </c:pt>
                <c:pt idx="1028">
                  <c:v>38050</c:v>
                </c:pt>
                <c:pt idx="1029">
                  <c:v>38051</c:v>
                </c:pt>
                <c:pt idx="1030">
                  <c:v>38054</c:v>
                </c:pt>
                <c:pt idx="1031">
                  <c:v>38055</c:v>
                </c:pt>
                <c:pt idx="1032">
                  <c:v>38056</c:v>
                </c:pt>
                <c:pt idx="1033">
                  <c:v>38057</c:v>
                </c:pt>
                <c:pt idx="1034">
                  <c:v>38058</c:v>
                </c:pt>
                <c:pt idx="1035">
                  <c:v>38061</c:v>
                </c:pt>
                <c:pt idx="1036">
                  <c:v>38062</c:v>
                </c:pt>
                <c:pt idx="1037">
                  <c:v>38063</c:v>
                </c:pt>
                <c:pt idx="1038">
                  <c:v>38064</c:v>
                </c:pt>
                <c:pt idx="1039">
                  <c:v>38065</c:v>
                </c:pt>
                <c:pt idx="1040">
                  <c:v>38068</c:v>
                </c:pt>
                <c:pt idx="1041">
                  <c:v>38069</c:v>
                </c:pt>
                <c:pt idx="1042">
                  <c:v>38070</c:v>
                </c:pt>
                <c:pt idx="1043">
                  <c:v>38071</c:v>
                </c:pt>
                <c:pt idx="1044">
                  <c:v>38072</c:v>
                </c:pt>
                <c:pt idx="1045">
                  <c:v>38075</c:v>
                </c:pt>
                <c:pt idx="1046">
                  <c:v>38076</c:v>
                </c:pt>
                <c:pt idx="1047">
                  <c:v>38077</c:v>
                </c:pt>
                <c:pt idx="1048">
                  <c:v>38078</c:v>
                </c:pt>
                <c:pt idx="1049">
                  <c:v>38079</c:v>
                </c:pt>
                <c:pt idx="1050">
                  <c:v>38082</c:v>
                </c:pt>
                <c:pt idx="1051">
                  <c:v>38083</c:v>
                </c:pt>
                <c:pt idx="1052">
                  <c:v>38084</c:v>
                </c:pt>
                <c:pt idx="1053">
                  <c:v>38085</c:v>
                </c:pt>
                <c:pt idx="1054">
                  <c:v>38090</c:v>
                </c:pt>
                <c:pt idx="1055">
                  <c:v>38091</c:v>
                </c:pt>
                <c:pt idx="1056">
                  <c:v>38092</c:v>
                </c:pt>
                <c:pt idx="1057">
                  <c:v>38093</c:v>
                </c:pt>
                <c:pt idx="1058">
                  <c:v>38096</c:v>
                </c:pt>
                <c:pt idx="1059">
                  <c:v>38097</c:v>
                </c:pt>
                <c:pt idx="1060">
                  <c:v>38098</c:v>
                </c:pt>
                <c:pt idx="1061">
                  <c:v>38099</c:v>
                </c:pt>
                <c:pt idx="1062">
                  <c:v>38100</c:v>
                </c:pt>
                <c:pt idx="1063">
                  <c:v>38103</c:v>
                </c:pt>
                <c:pt idx="1064">
                  <c:v>38104</c:v>
                </c:pt>
                <c:pt idx="1065">
                  <c:v>38105</c:v>
                </c:pt>
                <c:pt idx="1066">
                  <c:v>38106</c:v>
                </c:pt>
                <c:pt idx="1067">
                  <c:v>38107</c:v>
                </c:pt>
                <c:pt idx="1068">
                  <c:v>38110</c:v>
                </c:pt>
                <c:pt idx="1069">
                  <c:v>38111</c:v>
                </c:pt>
                <c:pt idx="1070">
                  <c:v>38112</c:v>
                </c:pt>
                <c:pt idx="1071">
                  <c:v>38113</c:v>
                </c:pt>
                <c:pt idx="1072">
                  <c:v>38114</c:v>
                </c:pt>
                <c:pt idx="1073">
                  <c:v>38117</c:v>
                </c:pt>
                <c:pt idx="1074">
                  <c:v>38118</c:v>
                </c:pt>
                <c:pt idx="1075">
                  <c:v>38119</c:v>
                </c:pt>
                <c:pt idx="1076">
                  <c:v>38120</c:v>
                </c:pt>
                <c:pt idx="1077">
                  <c:v>38121</c:v>
                </c:pt>
                <c:pt idx="1078">
                  <c:v>38124</c:v>
                </c:pt>
                <c:pt idx="1079">
                  <c:v>38125</c:v>
                </c:pt>
                <c:pt idx="1080">
                  <c:v>38126</c:v>
                </c:pt>
                <c:pt idx="1081">
                  <c:v>38127</c:v>
                </c:pt>
                <c:pt idx="1082">
                  <c:v>38128</c:v>
                </c:pt>
                <c:pt idx="1083">
                  <c:v>38131</c:v>
                </c:pt>
                <c:pt idx="1084">
                  <c:v>38132</c:v>
                </c:pt>
                <c:pt idx="1085">
                  <c:v>38133</c:v>
                </c:pt>
                <c:pt idx="1086">
                  <c:v>38134</c:v>
                </c:pt>
                <c:pt idx="1087">
                  <c:v>38135</c:v>
                </c:pt>
                <c:pt idx="1088">
                  <c:v>38138</c:v>
                </c:pt>
                <c:pt idx="1089">
                  <c:v>38139</c:v>
                </c:pt>
                <c:pt idx="1090">
                  <c:v>38140</c:v>
                </c:pt>
                <c:pt idx="1091">
                  <c:v>38141</c:v>
                </c:pt>
                <c:pt idx="1092">
                  <c:v>38142</c:v>
                </c:pt>
                <c:pt idx="1093">
                  <c:v>38145</c:v>
                </c:pt>
                <c:pt idx="1094">
                  <c:v>38146</c:v>
                </c:pt>
                <c:pt idx="1095">
                  <c:v>38147</c:v>
                </c:pt>
                <c:pt idx="1096">
                  <c:v>38148</c:v>
                </c:pt>
                <c:pt idx="1097">
                  <c:v>38149</c:v>
                </c:pt>
                <c:pt idx="1098">
                  <c:v>38152</c:v>
                </c:pt>
                <c:pt idx="1099">
                  <c:v>38153</c:v>
                </c:pt>
                <c:pt idx="1100">
                  <c:v>38154</c:v>
                </c:pt>
                <c:pt idx="1101">
                  <c:v>38155</c:v>
                </c:pt>
                <c:pt idx="1102">
                  <c:v>38156</c:v>
                </c:pt>
                <c:pt idx="1103">
                  <c:v>38159</c:v>
                </c:pt>
                <c:pt idx="1104">
                  <c:v>38160</c:v>
                </c:pt>
                <c:pt idx="1105">
                  <c:v>38161</c:v>
                </c:pt>
                <c:pt idx="1106">
                  <c:v>38162</c:v>
                </c:pt>
                <c:pt idx="1107">
                  <c:v>38163</c:v>
                </c:pt>
                <c:pt idx="1108">
                  <c:v>38166</c:v>
                </c:pt>
                <c:pt idx="1109">
                  <c:v>38167</c:v>
                </c:pt>
                <c:pt idx="1110">
                  <c:v>38168</c:v>
                </c:pt>
                <c:pt idx="1111">
                  <c:v>38169</c:v>
                </c:pt>
                <c:pt idx="1112">
                  <c:v>38170</c:v>
                </c:pt>
                <c:pt idx="1113">
                  <c:v>38173</c:v>
                </c:pt>
                <c:pt idx="1114">
                  <c:v>38174</c:v>
                </c:pt>
                <c:pt idx="1115">
                  <c:v>38175</c:v>
                </c:pt>
                <c:pt idx="1116">
                  <c:v>38176</c:v>
                </c:pt>
                <c:pt idx="1117">
                  <c:v>38177</c:v>
                </c:pt>
                <c:pt idx="1118">
                  <c:v>38180</c:v>
                </c:pt>
                <c:pt idx="1119">
                  <c:v>38181</c:v>
                </c:pt>
                <c:pt idx="1120">
                  <c:v>38182</c:v>
                </c:pt>
                <c:pt idx="1121">
                  <c:v>38183</c:v>
                </c:pt>
                <c:pt idx="1122">
                  <c:v>38184</c:v>
                </c:pt>
                <c:pt idx="1123">
                  <c:v>38187</c:v>
                </c:pt>
                <c:pt idx="1124">
                  <c:v>38188</c:v>
                </c:pt>
                <c:pt idx="1125">
                  <c:v>38189</c:v>
                </c:pt>
                <c:pt idx="1126">
                  <c:v>38190</c:v>
                </c:pt>
                <c:pt idx="1127">
                  <c:v>38191</c:v>
                </c:pt>
                <c:pt idx="1128">
                  <c:v>38194</c:v>
                </c:pt>
                <c:pt idx="1129">
                  <c:v>38195</c:v>
                </c:pt>
                <c:pt idx="1130">
                  <c:v>38196</c:v>
                </c:pt>
                <c:pt idx="1131">
                  <c:v>38197</c:v>
                </c:pt>
                <c:pt idx="1132">
                  <c:v>38198</c:v>
                </c:pt>
                <c:pt idx="1133">
                  <c:v>38201</c:v>
                </c:pt>
                <c:pt idx="1134">
                  <c:v>38202</c:v>
                </c:pt>
                <c:pt idx="1135">
                  <c:v>38203</c:v>
                </c:pt>
                <c:pt idx="1136">
                  <c:v>38204</c:v>
                </c:pt>
                <c:pt idx="1137">
                  <c:v>38205</c:v>
                </c:pt>
                <c:pt idx="1138">
                  <c:v>38208</c:v>
                </c:pt>
                <c:pt idx="1139">
                  <c:v>38209</c:v>
                </c:pt>
                <c:pt idx="1140">
                  <c:v>38210</c:v>
                </c:pt>
                <c:pt idx="1141">
                  <c:v>38211</c:v>
                </c:pt>
                <c:pt idx="1142">
                  <c:v>38212</c:v>
                </c:pt>
                <c:pt idx="1143">
                  <c:v>38215</c:v>
                </c:pt>
                <c:pt idx="1144">
                  <c:v>38216</c:v>
                </c:pt>
                <c:pt idx="1145">
                  <c:v>38217</c:v>
                </c:pt>
                <c:pt idx="1146">
                  <c:v>38218</c:v>
                </c:pt>
                <c:pt idx="1147">
                  <c:v>38219</c:v>
                </c:pt>
                <c:pt idx="1148">
                  <c:v>38222</c:v>
                </c:pt>
                <c:pt idx="1149">
                  <c:v>38223</c:v>
                </c:pt>
                <c:pt idx="1150">
                  <c:v>38224</c:v>
                </c:pt>
                <c:pt idx="1151">
                  <c:v>38225</c:v>
                </c:pt>
                <c:pt idx="1152">
                  <c:v>38226</c:v>
                </c:pt>
                <c:pt idx="1153">
                  <c:v>38229</c:v>
                </c:pt>
                <c:pt idx="1154">
                  <c:v>38230</c:v>
                </c:pt>
                <c:pt idx="1155">
                  <c:v>38231</c:v>
                </c:pt>
                <c:pt idx="1156">
                  <c:v>38232</c:v>
                </c:pt>
                <c:pt idx="1157">
                  <c:v>38233</c:v>
                </c:pt>
                <c:pt idx="1158">
                  <c:v>38236</c:v>
                </c:pt>
                <c:pt idx="1159">
                  <c:v>38237</c:v>
                </c:pt>
                <c:pt idx="1160">
                  <c:v>38238</c:v>
                </c:pt>
                <c:pt idx="1161">
                  <c:v>38239</c:v>
                </c:pt>
                <c:pt idx="1162">
                  <c:v>38240</c:v>
                </c:pt>
                <c:pt idx="1163">
                  <c:v>38243</c:v>
                </c:pt>
                <c:pt idx="1164">
                  <c:v>38244</c:v>
                </c:pt>
                <c:pt idx="1165">
                  <c:v>38245</c:v>
                </c:pt>
                <c:pt idx="1166">
                  <c:v>38246</c:v>
                </c:pt>
                <c:pt idx="1167">
                  <c:v>38247</c:v>
                </c:pt>
                <c:pt idx="1168">
                  <c:v>38250</c:v>
                </c:pt>
                <c:pt idx="1169">
                  <c:v>38251</c:v>
                </c:pt>
                <c:pt idx="1170">
                  <c:v>38252</c:v>
                </c:pt>
                <c:pt idx="1171">
                  <c:v>38253</c:v>
                </c:pt>
                <c:pt idx="1172">
                  <c:v>38254</c:v>
                </c:pt>
                <c:pt idx="1173">
                  <c:v>38257</c:v>
                </c:pt>
                <c:pt idx="1174">
                  <c:v>38258</c:v>
                </c:pt>
                <c:pt idx="1175">
                  <c:v>38259</c:v>
                </c:pt>
                <c:pt idx="1176">
                  <c:v>38260</c:v>
                </c:pt>
                <c:pt idx="1177">
                  <c:v>38261</c:v>
                </c:pt>
                <c:pt idx="1178">
                  <c:v>38264</c:v>
                </c:pt>
                <c:pt idx="1179">
                  <c:v>38265</c:v>
                </c:pt>
                <c:pt idx="1180">
                  <c:v>38266</c:v>
                </c:pt>
                <c:pt idx="1181">
                  <c:v>38267</c:v>
                </c:pt>
                <c:pt idx="1182">
                  <c:v>38268</c:v>
                </c:pt>
                <c:pt idx="1183">
                  <c:v>38271</c:v>
                </c:pt>
                <c:pt idx="1184">
                  <c:v>38272</c:v>
                </c:pt>
                <c:pt idx="1185">
                  <c:v>38273</c:v>
                </c:pt>
                <c:pt idx="1186">
                  <c:v>38274</c:v>
                </c:pt>
                <c:pt idx="1187">
                  <c:v>38275</c:v>
                </c:pt>
                <c:pt idx="1188">
                  <c:v>38278</c:v>
                </c:pt>
                <c:pt idx="1189">
                  <c:v>38279</c:v>
                </c:pt>
                <c:pt idx="1190">
                  <c:v>38280</c:v>
                </c:pt>
                <c:pt idx="1191">
                  <c:v>38281</c:v>
                </c:pt>
                <c:pt idx="1192">
                  <c:v>38282</c:v>
                </c:pt>
                <c:pt idx="1193">
                  <c:v>38285</c:v>
                </c:pt>
                <c:pt idx="1194">
                  <c:v>38286</c:v>
                </c:pt>
                <c:pt idx="1195">
                  <c:v>38287</c:v>
                </c:pt>
                <c:pt idx="1196">
                  <c:v>38288</c:v>
                </c:pt>
                <c:pt idx="1197">
                  <c:v>38289</c:v>
                </c:pt>
                <c:pt idx="1198">
                  <c:v>38292</c:v>
                </c:pt>
                <c:pt idx="1199">
                  <c:v>38293</c:v>
                </c:pt>
                <c:pt idx="1200">
                  <c:v>38294</c:v>
                </c:pt>
                <c:pt idx="1201">
                  <c:v>38295</c:v>
                </c:pt>
                <c:pt idx="1202">
                  <c:v>38296</c:v>
                </c:pt>
                <c:pt idx="1203">
                  <c:v>38299</c:v>
                </c:pt>
                <c:pt idx="1204">
                  <c:v>38300</c:v>
                </c:pt>
                <c:pt idx="1205">
                  <c:v>38301</c:v>
                </c:pt>
                <c:pt idx="1206">
                  <c:v>38302</c:v>
                </c:pt>
                <c:pt idx="1207">
                  <c:v>38303</c:v>
                </c:pt>
                <c:pt idx="1208">
                  <c:v>38306</c:v>
                </c:pt>
                <c:pt idx="1209">
                  <c:v>38307</c:v>
                </c:pt>
                <c:pt idx="1210">
                  <c:v>38308</c:v>
                </c:pt>
                <c:pt idx="1211">
                  <c:v>38309</c:v>
                </c:pt>
                <c:pt idx="1212">
                  <c:v>38310</c:v>
                </c:pt>
                <c:pt idx="1213">
                  <c:v>38313</c:v>
                </c:pt>
                <c:pt idx="1214">
                  <c:v>38314</c:v>
                </c:pt>
                <c:pt idx="1215">
                  <c:v>38315</c:v>
                </c:pt>
                <c:pt idx="1216">
                  <c:v>38316</c:v>
                </c:pt>
                <c:pt idx="1217">
                  <c:v>38317</c:v>
                </c:pt>
                <c:pt idx="1218">
                  <c:v>38320</c:v>
                </c:pt>
                <c:pt idx="1219">
                  <c:v>38321</c:v>
                </c:pt>
                <c:pt idx="1220">
                  <c:v>38322</c:v>
                </c:pt>
                <c:pt idx="1221">
                  <c:v>38323</c:v>
                </c:pt>
                <c:pt idx="1222">
                  <c:v>38324</c:v>
                </c:pt>
                <c:pt idx="1223">
                  <c:v>38327</c:v>
                </c:pt>
                <c:pt idx="1224">
                  <c:v>38328</c:v>
                </c:pt>
                <c:pt idx="1225">
                  <c:v>38329</c:v>
                </c:pt>
                <c:pt idx="1226">
                  <c:v>38330</c:v>
                </c:pt>
                <c:pt idx="1227">
                  <c:v>38331</c:v>
                </c:pt>
                <c:pt idx="1228">
                  <c:v>38334</c:v>
                </c:pt>
                <c:pt idx="1229">
                  <c:v>38335</c:v>
                </c:pt>
                <c:pt idx="1230">
                  <c:v>38336</c:v>
                </c:pt>
                <c:pt idx="1231">
                  <c:v>38337</c:v>
                </c:pt>
                <c:pt idx="1232">
                  <c:v>38338</c:v>
                </c:pt>
                <c:pt idx="1233">
                  <c:v>38341</c:v>
                </c:pt>
                <c:pt idx="1234">
                  <c:v>38342</c:v>
                </c:pt>
                <c:pt idx="1235">
                  <c:v>38343</c:v>
                </c:pt>
                <c:pt idx="1236">
                  <c:v>38344</c:v>
                </c:pt>
                <c:pt idx="1237">
                  <c:v>38345</c:v>
                </c:pt>
                <c:pt idx="1238">
                  <c:v>38348</c:v>
                </c:pt>
                <c:pt idx="1239">
                  <c:v>38349</c:v>
                </c:pt>
                <c:pt idx="1240">
                  <c:v>38350</c:v>
                </c:pt>
                <c:pt idx="1241">
                  <c:v>38351</c:v>
                </c:pt>
                <c:pt idx="1242">
                  <c:v>38352</c:v>
                </c:pt>
                <c:pt idx="1243">
                  <c:v>38355</c:v>
                </c:pt>
                <c:pt idx="1244">
                  <c:v>38356</c:v>
                </c:pt>
                <c:pt idx="1245">
                  <c:v>38357</c:v>
                </c:pt>
                <c:pt idx="1246">
                  <c:v>38358</c:v>
                </c:pt>
                <c:pt idx="1247">
                  <c:v>38359</c:v>
                </c:pt>
                <c:pt idx="1248">
                  <c:v>38362</c:v>
                </c:pt>
                <c:pt idx="1249">
                  <c:v>38363</c:v>
                </c:pt>
                <c:pt idx="1250">
                  <c:v>38364</c:v>
                </c:pt>
                <c:pt idx="1251">
                  <c:v>38365</c:v>
                </c:pt>
                <c:pt idx="1252">
                  <c:v>38366</c:v>
                </c:pt>
                <c:pt idx="1253">
                  <c:v>38369</c:v>
                </c:pt>
                <c:pt idx="1254">
                  <c:v>38370</c:v>
                </c:pt>
                <c:pt idx="1255">
                  <c:v>38371</c:v>
                </c:pt>
                <c:pt idx="1256">
                  <c:v>38372</c:v>
                </c:pt>
                <c:pt idx="1257">
                  <c:v>38373</c:v>
                </c:pt>
                <c:pt idx="1258">
                  <c:v>38376</c:v>
                </c:pt>
                <c:pt idx="1259">
                  <c:v>38377</c:v>
                </c:pt>
                <c:pt idx="1260">
                  <c:v>38378</c:v>
                </c:pt>
                <c:pt idx="1261">
                  <c:v>38379</c:v>
                </c:pt>
                <c:pt idx="1262">
                  <c:v>38380</c:v>
                </c:pt>
                <c:pt idx="1263">
                  <c:v>38383</c:v>
                </c:pt>
                <c:pt idx="1264">
                  <c:v>38384</c:v>
                </c:pt>
                <c:pt idx="1265">
                  <c:v>38385</c:v>
                </c:pt>
                <c:pt idx="1266">
                  <c:v>38386</c:v>
                </c:pt>
                <c:pt idx="1267">
                  <c:v>38387</c:v>
                </c:pt>
                <c:pt idx="1268">
                  <c:v>38390</c:v>
                </c:pt>
                <c:pt idx="1269">
                  <c:v>38391</c:v>
                </c:pt>
                <c:pt idx="1270">
                  <c:v>38392</c:v>
                </c:pt>
                <c:pt idx="1271">
                  <c:v>38393</c:v>
                </c:pt>
                <c:pt idx="1272">
                  <c:v>38394</c:v>
                </c:pt>
                <c:pt idx="1273">
                  <c:v>38397</c:v>
                </c:pt>
                <c:pt idx="1274">
                  <c:v>38398</c:v>
                </c:pt>
                <c:pt idx="1275">
                  <c:v>38399</c:v>
                </c:pt>
                <c:pt idx="1276">
                  <c:v>38400</c:v>
                </c:pt>
                <c:pt idx="1277">
                  <c:v>38401</c:v>
                </c:pt>
                <c:pt idx="1278">
                  <c:v>38404</c:v>
                </c:pt>
                <c:pt idx="1279">
                  <c:v>38405</c:v>
                </c:pt>
                <c:pt idx="1280">
                  <c:v>38406</c:v>
                </c:pt>
                <c:pt idx="1281">
                  <c:v>38407</c:v>
                </c:pt>
                <c:pt idx="1282">
                  <c:v>38408</c:v>
                </c:pt>
                <c:pt idx="1283">
                  <c:v>38411</c:v>
                </c:pt>
                <c:pt idx="1284">
                  <c:v>38412</c:v>
                </c:pt>
                <c:pt idx="1285">
                  <c:v>38413</c:v>
                </c:pt>
                <c:pt idx="1286">
                  <c:v>38414</c:v>
                </c:pt>
                <c:pt idx="1287">
                  <c:v>38415</c:v>
                </c:pt>
                <c:pt idx="1288">
                  <c:v>38418</c:v>
                </c:pt>
                <c:pt idx="1289">
                  <c:v>38419</c:v>
                </c:pt>
                <c:pt idx="1290">
                  <c:v>38420</c:v>
                </c:pt>
                <c:pt idx="1291">
                  <c:v>38421</c:v>
                </c:pt>
                <c:pt idx="1292">
                  <c:v>38422</c:v>
                </c:pt>
                <c:pt idx="1293">
                  <c:v>38425</c:v>
                </c:pt>
                <c:pt idx="1294">
                  <c:v>38426</c:v>
                </c:pt>
                <c:pt idx="1295">
                  <c:v>38427</c:v>
                </c:pt>
                <c:pt idx="1296">
                  <c:v>38428</c:v>
                </c:pt>
                <c:pt idx="1297">
                  <c:v>38429</c:v>
                </c:pt>
                <c:pt idx="1298">
                  <c:v>38432</c:v>
                </c:pt>
                <c:pt idx="1299">
                  <c:v>38433</c:v>
                </c:pt>
                <c:pt idx="1300">
                  <c:v>38434</c:v>
                </c:pt>
                <c:pt idx="1301">
                  <c:v>38435</c:v>
                </c:pt>
                <c:pt idx="1302">
                  <c:v>38436</c:v>
                </c:pt>
                <c:pt idx="1303">
                  <c:v>38439</c:v>
                </c:pt>
                <c:pt idx="1304">
                  <c:v>38440</c:v>
                </c:pt>
                <c:pt idx="1305">
                  <c:v>38441</c:v>
                </c:pt>
                <c:pt idx="1306">
                  <c:v>38442</c:v>
                </c:pt>
                <c:pt idx="1307">
                  <c:v>38443</c:v>
                </c:pt>
                <c:pt idx="1308">
                  <c:v>38446</c:v>
                </c:pt>
                <c:pt idx="1309">
                  <c:v>38447</c:v>
                </c:pt>
                <c:pt idx="1310">
                  <c:v>38448</c:v>
                </c:pt>
                <c:pt idx="1311">
                  <c:v>38449</c:v>
                </c:pt>
                <c:pt idx="1312">
                  <c:v>38450</c:v>
                </c:pt>
                <c:pt idx="1313">
                  <c:v>38453</c:v>
                </c:pt>
                <c:pt idx="1314">
                  <c:v>38454</c:v>
                </c:pt>
                <c:pt idx="1315">
                  <c:v>38455</c:v>
                </c:pt>
                <c:pt idx="1316">
                  <c:v>38456</c:v>
                </c:pt>
                <c:pt idx="1317">
                  <c:v>38457</c:v>
                </c:pt>
                <c:pt idx="1318">
                  <c:v>38460</c:v>
                </c:pt>
                <c:pt idx="1319">
                  <c:v>38461</c:v>
                </c:pt>
                <c:pt idx="1320">
                  <c:v>38462</c:v>
                </c:pt>
                <c:pt idx="1321">
                  <c:v>38463</c:v>
                </c:pt>
                <c:pt idx="1322">
                  <c:v>38464</c:v>
                </c:pt>
                <c:pt idx="1323">
                  <c:v>38467</c:v>
                </c:pt>
                <c:pt idx="1324">
                  <c:v>38468</c:v>
                </c:pt>
                <c:pt idx="1325">
                  <c:v>38469</c:v>
                </c:pt>
                <c:pt idx="1326">
                  <c:v>38470</c:v>
                </c:pt>
                <c:pt idx="1327">
                  <c:v>38471</c:v>
                </c:pt>
                <c:pt idx="1328">
                  <c:v>38474</c:v>
                </c:pt>
                <c:pt idx="1329">
                  <c:v>38475</c:v>
                </c:pt>
                <c:pt idx="1330">
                  <c:v>38476</c:v>
                </c:pt>
                <c:pt idx="1331">
                  <c:v>38477</c:v>
                </c:pt>
                <c:pt idx="1332">
                  <c:v>38478</c:v>
                </c:pt>
                <c:pt idx="1333">
                  <c:v>38481</c:v>
                </c:pt>
                <c:pt idx="1334">
                  <c:v>38482</c:v>
                </c:pt>
                <c:pt idx="1335">
                  <c:v>38483</c:v>
                </c:pt>
                <c:pt idx="1336">
                  <c:v>38484</c:v>
                </c:pt>
                <c:pt idx="1337">
                  <c:v>38485</c:v>
                </c:pt>
                <c:pt idx="1338">
                  <c:v>38488</c:v>
                </c:pt>
                <c:pt idx="1339">
                  <c:v>38489</c:v>
                </c:pt>
                <c:pt idx="1340">
                  <c:v>38490</c:v>
                </c:pt>
                <c:pt idx="1341">
                  <c:v>38491</c:v>
                </c:pt>
                <c:pt idx="1342">
                  <c:v>38492</c:v>
                </c:pt>
                <c:pt idx="1343">
                  <c:v>38495</c:v>
                </c:pt>
                <c:pt idx="1344">
                  <c:v>38496</c:v>
                </c:pt>
                <c:pt idx="1345">
                  <c:v>38497</c:v>
                </c:pt>
                <c:pt idx="1346">
                  <c:v>38498</c:v>
                </c:pt>
                <c:pt idx="1347">
                  <c:v>38499</c:v>
                </c:pt>
                <c:pt idx="1348">
                  <c:v>38502</c:v>
                </c:pt>
                <c:pt idx="1349">
                  <c:v>38503</c:v>
                </c:pt>
                <c:pt idx="1350">
                  <c:v>38504</c:v>
                </c:pt>
                <c:pt idx="1351">
                  <c:v>38505</c:v>
                </c:pt>
                <c:pt idx="1352">
                  <c:v>38506</c:v>
                </c:pt>
                <c:pt idx="1353">
                  <c:v>38509</c:v>
                </c:pt>
                <c:pt idx="1354">
                  <c:v>38510</c:v>
                </c:pt>
                <c:pt idx="1355">
                  <c:v>38511</c:v>
                </c:pt>
                <c:pt idx="1356">
                  <c:v>38512</c:v>
                </c:pt>
                <c:pt idx="1357">
                  <c:v>38513</c:v>
                </c:pt>
                <c:pt idx="1358">
                  <c:v>38516</c:v>
                </c:pt>
                <c:pt idx="1359">
                  <c:v>38517</c:v>
                </c:pt>
                <c:pt idx="1360">
                  <c:v>38518</c:v>
                </c:pt>
                <c:pt idx="1361">
                  <c:v>38519</c:v>
                </c:pt>
                <c:pt idx="1362">
                  <c:v>38520</c:v>
                </c:pt>
                <c:pt idx="1363">
                  <c:v>38523</c:v>
                </c:pt>
                <c:pt idx="1364">
                  <c:v>38524</c:v>
                </c:pt>
                <c:pt idx="1365">
                  <c:v>38525</c:v>
                </c:pt>
                <c:pt idx="1366">
                  <c:v>38526</c:v>
                </c:pt>
                <c:pt idx="1367">
                  <c:v>38527</c:v>
                </c:pt>
                <c:pt idx="1368">
                  <c:v>38530</c:v>
                </c:pt>
                <c:pt idx="1369">
                  <c:v>38531</c:v>
                </c:pt>
                <c:pt idx="1370">
                  <c:v>38532</c:v>
                </c:pt>
                <c:pt idx="1371">
                  <c:v>38533</c:v>
                </c:pt>
                <c:pt idx="1372">
                  <c:v>38534</c:v>
                </c:pt>
                <c:pt idx="1373">
                  <c:v>38537</c:v>
                </c:pt>
                <c:pt idx="1374">
                  <c:v>38538</c:v>
                </c:pt>
                <c:pt idx="1375">
                  <c:v>38539</c:v>
                </c:pt>
                <c:pt idx="1376">
                  <c:v>38540</c:v>
                </c:pt>
                <c:pt idx="1377">
                  <c:v>38541</c:v>
                </c:pt>
                <c:pt idx="1378">
                  <c:v>38544</c:v>
                </c:pt>
                <c:pt idx="1379">
                  <c:v>38545</c:v>
                </c:pt>
                <c:pt idx="1380">
                  <c:v>38546</c:v>
                </c:pt>
                <c:pt idx="1381">
                  <c:v>38547</c:v>
                </c:pt>
                <c:pt idx="1382">
                  <c:v>38548</c:v>
                </c:pt>
                <c:pt idx="1383">
                  <c:v>38551</c:v>
                </c:pt>
                <c:pt idx="1384">
                  <c:v>38552</c:v>
                </c:pt>
                <c:pt idx="1385">
                  <c:v>38553</c:v>
                </c:pt>
                <c:pt idx="1386">
                  <c:v>38554</c:v>
                </c:pt>
                <c:pt idx="1387">
                  <c:v>38555</c:v>
                </c:pt>
                <c:pt idx="1388">
                  <c:v>38558</c:v>
                </c:pt>
                <c:pt idx="1389">
                  <c:v>38559</c:v>
                </c:pt>
                <c:pt idx="1390">
                  <c:v>38560</c:v>
                </c:pt>
                <c:pt idx="1391">
                  <c:v>38561</c:v>
                </c:pt>
                <c:pt idx="1392">
                  <c:v>38562</c:v>
                </c:pt>
                <c:pt idx="1393">
                  <c:v>38565</c:v>
                </c:pt>
                <c:pt idx="1394">
                  <c:v>38566</c:v>
                </c:pt>
                <c:pt idx="1395">
                  <c:v>38567</c:v>
                </c:pt>
                <c:pt idx="1396">
                  <c:v>38568</c:v>
                </c:pt>
                <c:pt idx="1397">
                  <c:v>38569</c:v>
                </c:pt>
                <c:pt idx="1398">
                  <c:v>38572</c:v>
                </c:pt>
                <c:pt idx="1399">
                  <c:v>38573</c:v>
                </c:pt>
                <c:pt idx="1400">
                  <c:v>38574</c:v>
                </c:pt>
                <c:pt idx="1401">
                  <c:v>38575</c:v>
                </c:pt>
                <c:pt idx="1402">
                  <c:v>38576</c:v>
                </c:pt>
                <c:pt idx="1403">
                  <c:v>38579</c:v>
                </c:pt>
                <c:pt idx="1404">
                  <c:v>38580</c:v>
                </c:pt>
                <c:pt idx="1405">
                  <c:v>38581</c:v>
                </c:pt>
                <c:pt idx="1406">
                  <c:v>38582</c:v>
                </c:pt>
                <c:pt idx="1407">
                  <c:v>38583</c:v>
                </c:pt>
                <c:pt idx="1408">
                  <c:v>38586</c:v>
                </c:pt>
                <c:pt idx="1409">
                  <c:v>38587</c:v>
                </c:pt>
                <c:pt idx="1410">
                  <c:v>38588</c:v>
                </c:pt>
                <c:pt idx="1411">
                  <c:v>38589</c:v>
                </c:pt>
                <c:pt idx="1412">
                  <c:v>38590</c:v>
                </c:pt>
                <c:pt idx="1413">
                  <c:v>38593</c:v>
                </c:pt>
                <c:pt idx="1414">
                  <c:v>38594</c:v>
                </c:pt>
                <c:pt idx="1415">
                  <c:v>38595</c:v>
                </c:pt>
                <c:pt idx="1416">
                  <c:v>38596</c:v>
                </c:pt>
                <c:pt idx="1417">
                  <c:v>38597</c:v>
                </c:pt>
                <c:pt idx="1418">
                  <c:v>38600</c:v>
                </c:pt>
                <c:pt idx="1419">
                  <c:v>38601</c:v>
                </c:pt>
                <c:pt idx="1420">
                  <c:v>38602</c:v>
                </c:pt>
                <c:pt idx="1421">
                  <c:v>38603</c:v>
                </c:pt>
                <c:pt idx="1422">
                  <c:v>38604</c:v>
                </c:pt>
                <c:pt idx="1423">
                  <c:v>38607</c:v>
                </c:pt>
                <c:pt idx="1424">
                  <c:v>38608</c:v>
                </c:pt>
                <c:pt idx="1425">
                  <c:v>38609</c:v>
                </c:pt>
                <c:pt idx="1426">
                  <c:v>38610</c:v>
                </c:pt>
                <c:pt idx="1427">
                  <c:v>38611</c:v>
                </c:pt>
                <c:pt idx="1428">
                  <c:v>38614</c:v>
                </c:pt>
                <c:pt idx="1429">
                  <c:v>38615</c:v>
                </c:pt>
                <c:pt idx="1430">
                  <c:v>38616</c:v>
                </c:pt>
                <c:pt idx="1431">
                  <c:v>38617</c:v>
                </c:pt>
                <c:pt idx="1432">
                  <c:v>38618</c:v>
                </c:pt>
                <c:pt idx="1433">
                  <c:v>38621</c:v>
                </c:pt>
                <c:pt idx="1434">
                  <c:v>38622</c:v>
                </c:pt>
                <c:pt idx="1435">
                  <c:v>38623</c:v>
                </c:pt>
                <c:pt idx="1436">
                  <c:v>38624</c:v>
                </c:pt>
                <c:pt idx="1437">
                  <c:v>38625</c:v>
                </c:pt>
                <c:pt idx="1438">
                  <c:v>38628</c:v>
                </c:pt>
                <c:pt idx="1439">
                  <c:v>38629</c:v>
                </c:pt>
                <c:pt idx="1440">
                  <c:v>38630</c:v>
                </c:pt>
                <c:pt idx="1441">
                  <c:v>38631</c:v>
                </c:pt>
                <c:pt idx="1442">
                  <c:v>38632</c:v>
                </c:pt>
                <c:pt idx="1443">
                  <c:v>38635</c:v>
                </c:pt>
                <c:pt idx="1444">
                  <c:v>38636</c:v>
                </c:pt>
                <c:pt idx="1445">
                  <c:v>38637</c:v>
                </c:pt>
                <c:pt idx="1446">
                  <c:v>38638</c:v>
                </c:pt>
                <c:pt idx="1447">
                  <c:v>38639</c:v>
                </c:pt>
                <c:pt idx="1448">
                  <c:v>38642</c:v>
                </c:pt>
                <c:pt idx="1449">
                  <c:v>38643</c:v>
                </c:pt>
                <c:pt idx="1450">
                  <c:v>38644</c:v>
                </c:pt>
                <c:pt idx="1451">
                  <c:v>38645</c:v>
                </c:pt>
                <c:pt idx="1452">
                  <c:v>38646</c:v>
                </c:pt>
                <c:pt idx="1453">
                  <c:v>38649</c:v>
                </c:pt>
                <c:pt idx="1454">
                  <c:v>38650</c:v>
                </c:pt>
                <c:pt idx="1455">
                  <c:v>38651</c:v>
                </c:pt>
                <c:pt idx="1456">
                  <c:v>38652</c:v>
                </c:pt>
                <c:pt idx="1457">
                  <c:v>38653</c:v>
                </c:pt>
                <c:pt idx="1458">
                  <c:v>38656</c:v>
                </c:pt>
                <c:pt idx="1459">
                  <c:v>38657</c:v>
                </c:pt>
                <c:pt idx="1460">
                  <c:v>38658</c:v>
                </c:pt>
                <c:pt idx="1461">
                  <c:v>38659</c:v>
                </c:pt>
                <c:pt idx="1462">
                  <c:v>38660</c:v>
                </c:pt>
                <c:pt idx="1463">
                  <c:v>38663</c:v>
                </c:pt>
                <c:pt idx="1464">
                  <c:v>38664</c:v>
                </c:pt>
                <c:pt idx="1465">
                  <c:v>38665</c:v>
                </c:pt>
                <c:pt idx="1466">
                  <c:v>38666</c:v>
                </c:pt>
                <c:pt idx="1467">
                  <c:v>38667</c:v>
                </c:pt>
                <c:pt idx="1468">
                  <c:v>38670</c:v>
                </c:pt>
                <c:pt idx="1469">
                  <c:v>38671</c:v>
                </c:pt>
                <c:pt idx="1470">
                  <c:v>38672</c:v>
                </c:pt>
                <c:pt idx="1471">
                  <c:v>38673</c:v>
                </c:pt>
                <c:pt idx="1472">
                  <c:v>38674</c:v>
                </c:pt>
                <c:pt idx="1473">
                  <c:v>38677</c:v>
                </c:pt>
                <c:pt idx="1474">
                  <c:v>38678</c:v>
                </c:pt>
                <c:pt idx="1475">
                  <c:v>38679</c:v>
                </c:pt>
                <c:pt idx="1476">
                  <c:v>38680</c:v>
                </c:pt>
                <c:pt idx="1477">
                  <c:v>38681</c:v>
                </c:pt>
                <c:pt idx="1478">
                  <c:v>38684</c:v>
                </c:pt>
                <c:pt idx="1479">
                  <c:v>38685</c:v>
                </c:pt>
                <c:pt idx="1480">
                  <c:v>38686</c:v>
                </c:pt>
                <c:pt idx="1481">
                  <c:v>38687</c:v>
                </c:pt>
                <c:pt idx="1482">
                  <c:v>38688</c:v>
                </c:pt>
                <c:pt idx="1483">
                  <c:v>38691</c:v>
                </c:pt>
                <c:pt idx="1484">
                  <c:v>38692</c:v>
                </c:pt>
                <c:pt idx="1485">
                  <c:v>38693</c:v>
                </c:pt>
                <c:pt idx="1486">
                  <c:v>38694</c:v>
                </c:pt>
                <c:pt idx="1487">
                  <c:v>38695</c:v>
                </c:pt>
                <c:pt idx="1488">
                  <c:v>38698</c:v>
                </c:pt>
                <c:pt idx="1489">
                  <c:v>38699</c:v>
                </c:pt>
                <c:pt idx="1490">
                  <c:v>38700</c:v>
                </c:pt>
                <c:pt idx="1491">
                  <c:v>38701</c:v>
                </c:pt>
                <c:pt idx="1492">
                  <c:v>38702</c:v>
                </c:pt>
                <c:pt idx="1493">
                  <c:v>38705</c:v>
                </c:pt>
                <c:pt idx="1494">
                  <c:v>38706</c:v>
                </c:pt>
                <c:pt idx="1495">
                  <c:v>38707</c:v>
                </c:pt>
                <c:pt idx="1496">
                  <c:v>38708</c:v>
                </c:pt>
                <c:pt idx="1497">
                  <c:v>38709</c:v>
                </c:pt>
                <c:pt idx="1498">
                  <c:v>38712</c:v>
                </c:pt>
                <c:pt idx="1499">
                  <c:v>38713</c:v>
                </c:pt>
                <c:pt idx="1500">
                  <c:v>38714</c:v>
                </c:pt>
                <c:pt idx="1501">
                  <c:v>38715</c:v>
                </c:pt>
                <c:pt idx="1502">
                  <c:v>38716</c:v>
                </c:pt>
                <c:pt idx="1503">
                  <c:v>38719</c:v>
                </c:pt>
                <c:pt idx="1504">
                  <c:v>38720</c:v>
                </c:pt>
                <c:pt idx="1505">
                  <c:v>38721</c:v>
                </c:pt>
                <c:pt idx="1506">
                  <c:v>38722</c:v>
                </c:pt>
                <c:pt idx="1507">
                  <c:v>38723</c:v>
                </c:pt>
                <c:pt idx="1508">
                  <c:v>38726</c:v>
                </c:pt>
                <c:pt idx="1509">
                  <c:v>38727</c:v>
                </c:pt>
                <c:pt idx="1510">
                  <c:v>38728</c:v>
                </c:pt>
                <c:pt idx="1511">
                  <c:v>38729</c:v>
                </c:pt>
                <c:pt idx="1512">
                  <c:v>38730</c:v>
                </c:pt>
                <c:pt idx="1513">
                  <c:v>38733</c:v>
                </c:pt>
                <c:pt idx="1514">
                  <c:v>38734</c:v>
                </c:pt>
                <c:pt idx="1515">
                  <c:v>38735</c:v>
                </c:pt>
                <c:pt idx="1516">
                  <c:v>38736</c:v>
                </c:pt>
                <c:pt idx="1517">
                  <c:v>38737</c:v>
                </c:pt>
                <c:pt idx="1518">
                  <c:v>38740</c:v>
                </c:pt>
                <c:pt idx="1519">
                  <c:v>38741</c:v>
                </c:pt>
                <c:pt idx="1520">
                  <c:v>38742</c:v>
                </c:pt>
                <c:pt idx="1521">
                  <c:v>38743</c:v>
                </c:pt>
                <c:pt idx="1522">
                  <c:v>38744</c:v>
                </c:pt>
                <c:pt idx="1523">
                  <c:v>38747</c:v>
                </c:pt>
                <c:pt idx="1524">
                  <c:v>38748</c:v>
                </c:pt>
                <c:pt idx="1525">
                  <c:v>38749</c:v>
                </c:pt>
                <c:pt idx="1526">
                  <c:v>38750</c:v>
                </c:pt>
                <c:pt idx="1527">
                  <c:v>38751</c:v>
                </c:pt>
                <c:pt idx="1528">
                  <c:v>38754</c:v>
                </c:pt>
                <c:pt idx="1529">
                  <c:v>38755</c:v>
                </c:pt>
                <c:pt idx="1530">
                  <c:v>38756</c:v>
                </c:pt>
                <c:pt idx="1531">
                  <c:v>38757</c:v>
                </c:pt>
                <c:pt idx="1532">
                  <c:v>38758</c:v>
                </c:pt>
                <c:pt idx="1533">
                  <c:v>38761</c:v>
                </c:pt>
                <c:pt idx="1534">
                  <c:v>38762</c:v>
                </c:pt>
                <c:pt idx="1535">
                  <c:v>38763</c:v>
                </c:pt>
                <c:pt idx="1536">
                  <c:v>38764</c:v>
                </c:pt>
                <c:pt idx="1537">
                  <c:v>38765</c:v>
                </c:pt>
                <c:pt idx="1538">
                  <c:v>38768</c:v>
                </c:pt>
                <c:pt idx="1539">
                  <c:v>38769</c:v>
                </c:pt>
                <c:pt idx="1540">
                  <c:v>38770</c:v>
                </c:pt>
                <c:pt idx="1541">
                  <c:v>38771</c:v>
                </c:pt>
                <c:pt idx="1542">
                  <c:v>38772</c:v>
                </c:pt>
                <c:pt idx="1543">
                  <c:v>38775</c:v>
                </c:pt>
                <c:pt idx="1544">
                  <c:v>38776</c:v>
                </c:pt>
                <c:pt idx="1545">
                  <c:v>38777</c:v>
                </c:pt>
                <c:pt idx="1546">
                  <c:v>38778</c:v>
                </c:pt>
                <c:pt idx="1547">
                  <c:v>38779</c:v>
                </c:pt>
                <c:pt idx="1548">
                  <c:v>38782</c:v>
                </c:pt>
                <c:pt idx="1549">
                  <c:v>38783</c:v>
                </c:pt>
                <c:pt idx="1550">
                  <c:v>38784</c:v>
                </c:pt>
                <c:pt idx="1551">
                  <c:v>38785</c:v>
                </c:pt>
                <c:pt idx="1552">
                  <c:v>38786</c:v>
                </c:pt>
                <c:pt idx="1553">
                  <c:v>38789</c:v>
                </c:pt>
                <c:pt idx="1554">
                  <c:v>38790</c:v>
                </c:pt>
                <c:pt idx="1555">
                  <c:v>38791</c:v>
                </c:pt>
                <c:pt idx="1556">
                  <c:v>38792</c:v>
                </c:pt>
                <c:pt idx="1557">
                  <c:v>38793</c:v>
                </c:pt>
                <c:pt idx="1558">
                  <c:v>38796</c:v>
                </c:pt>
                <c:pt idx="1559">
                  <c:v>38797</c:v>
                </c:pt>
                <c:pt idx="1560">
                  <c:v>38798</c:v>
                </c:pt>
                <c:pt idx="1561">
                  <c:v>38799</c:v>
                </c:pt>
                <c:pt idx="1562">
                  <c:v>38800</c:v>
                </c:pt>
                <c:pt idx="1563">
                  <c:v>38803</c:v>
                </c:pt>
                <c:pt idx="1564">
                  <c:v>38804</c:v>
                </c:pt>
                <c:pt idx="1565">
                  <c:v>38805</c:v>
                </c:pt>
                <c:pt idx="1566">
                  <c:v>38806</c:v>
                </c:pt>
                <c:pt idx="1567">
                  <c:v>38807</c:v>
                </c:pt>
                <c:pt idx="1568">
                  <c:v>38810</c:v>
                </c:pt>
                <c:pt idx="1569">
                  <c:v>38811</c:v>
                </c:pt>
                <c:pt idx="1570">
                  <c:v>38812</c:v>
                </c:pt>
                <c:pt idx="1571">
                  <c:v>38813</c:v>
                </c:pt>
                <c:pt idx="1572">
                  <c:v>38814</c:v>
                </c:pt>
                <c:pt idx="1573">
                  <c:v>38817</c:v>
                </c:pt>
                <c:pt idx="1574">
                  <c:v>38818</c:v>
                </c:pt>
                <c:pt idx="1575">
                  <c:v>38819</c:v>
                </c:pt>
                <c:pt idx="1576">
                  <c:v>38820</c:v>
                </c:pt>
                <c:pt idx="1577">
                  <c:v>38821</c:v>
                </c:pt>
                <c:pt idx="1578">
                  <c:v>38824</c:v>
                </c:pt>
                <c:pt idx="1579">
                  <c:v>38825</c:v>
                </c:pt>
                <c:pt idx="1580">
                  <c:v>38826</c:v>
                </c:pt>
                <c:pt idx="1581">
                  <c:v>38827</c:v>
                </c:pt>
                <c:pt idx="1582">
                  <c:v>38828</c:v>
                </c:pt>
                <c:pt idx="1583">
                  <c:v>38831</c:v>
                </c:pt>
                <c:pt idx="1584">
                  <c:v>38832</c:v>
                </c:pt>
                <c:pt idx="1585">
                  <c:v>38833</c:v>
                </c:pt>
                <c:pt idx="1586">
                  <c:v>38834</c:v>
                </c:pt>
                <c:pt idx="1587">
                  <c:v>38835</c:v>
                </c:pt>
                <c:pt idx="1588">
                  <c:v>38838</c:v>
                </c:pt>
                <c:pt idx="1589">
                  <c:v>38839</c:v>
                </c:pt>
                <c:pt idx="1590">
                  <c:v>38840</c:v>
                </c:pt>
                <c:pt idx="1591">
                  <c:v>38841</c:v>
                </c:pt>
                <c:pt idx="1592">
                  <c:v>38842</c:v>
                </c:pt>
                <c:pt idx="1593">
                  <c:v>38845</c:v>
                </c:pt>
                <c:pt idx="1594">
                  <c:v>38846</c:v>
                </c:pt>
                <c:pt idx="1595">
                  <c:v>38847</c:v>
                </c:pt>
                <c:pt idx="1596">
                  <c:v>38848</c:v>
                </c:pt>
                <c:pt idx="1597">
                  <c:v>38849</c:v>
                </c:pt>
                <c:pt idx="1598">
                  <c:v>38852</c:v>
                </c:pt>
                <c:pt idx="1599">
                  <c:v>38853</c:v>
                </c:pt>
                <c:pt idx="1600">
                  <c:v>38854</c:v>
                </c:pt>
                <c:pt idx="1601">
                  <c:v>38855</c:v>
                </c:pt>
                <c:pt idx="1602">
                  <c:v>38856</c:v>
                </c:pt>
                <c:pt idx="1603">
                  <c:v>38859</c:v>
                </c:pt>
                <c:pt idx="1604">
                  <c:v>38860</c:v>
                </c:pt>
                <c:pt idx="1605">
                  <c:v>38861</c:v>
                </c:pt>
                <c:pt idx="1606">
                  <c:v>38862</c:v>
                </c:pt>
                <c:pt idx="1607">
                  <c:v>38863</c:v>
                </c:pt>
                <c:pt idx="1608">
                  <c:v>38866</c:v>
                </c:pt>
                <c:pt idx="1609">
                  <c:v>38867</c:v>
                </c:pt>
                <c:pt idx="1610">
                  <c:v>38868</c:v>
                </c:pt>
                <c:pt idx="1611">
                  <c:v>38869</c:v>
                </c:pt>
                <c:pt idx="1612">
                  <c:v>38870</c:v>
                </c:pt>
                <c:pt idx="1613">
                  <c:v>38873</c:v>
                </c:pt>
                <c:pt idx="1614">
                  <c:v>38874</c:v>
                </c:pt>
                <c:pt idx="1615">
                  <c:v>38875</c:v>
                </c:pt>
                <c:pt idx="1616">
                  <c:v>38876</c:v>
                </c:pt>
                <c:pt idx="1617">
                  <c:v>38877</c:v>
                </c:pt>
                <c:pt idx="1618">
                  <c:v>38880</c:v>
                </c:pt>
                <c:pt idx="1619">
                  <c:v>38881</c:v>
                </c:pt>
                <c:pt idx="1620">
                  <c:v>38882</c:v>
                </c:pt>
                <c:pt idx="1621">
                  <c:v>38883</c:v>
                </c:pt>
                <c:pt idx="1622">
                  <c:v>38884</c:v>
                </c:pt>
                <c:pt idx="1623">
                  <c:v>38887</c:v>
                </c:pt>
                <c:pt idx="1624">
                  <c:v>38888</c:v>
                </c:pt>
                <c:pt idx="1625">
                  <c:v>38889</c:v>
                </c:pt>
                <c:pt idx="1626">
                  <c:v>38890</c:v>
                </c:pt>
                <c:pt idx="1627">
                  <c:v>38891</c:v>
                </c:pt>
                <c:pt idx="1628">
                  <c:v>38894</c:v>
                </c:pt>
                <c:pt idx="1629">
                  <c:v>38895</c:v>
                </c:pt>
                <c:pt idx="1630">
                  <c:v>38896</c:v>
                </c:pt>
                <c:pt idx="1631">
                  <c:v>38897</c:v>
                </c:pt>
                <c:pt idx="1632">
                  <c:v>38898</c:v>
                </c:pt>
                <c:pt idx="1633">
                  <c:v>38901</c:v>
                </c:pt>
                <c:pt idx="1634">
                  <c:v>38902</c:v>
                </c:pt>
                <c:pt idx="1635">
                  <c:v>38903</c:v>
                </c:pt>
                <c:pt idx="1636">
                  <c:v>38904</c:v>
                </c:pt>
                <c:pt idx="1637">
                  <c:v>38905</c:v>
                </c:pt>
                <c:pt idx="1638">
                  <c:v>38908</c:v>
                </c:pt>
                <c:pt idx="1639">
                  <c:v>38909</c:v>
                </c:pt>
                <c:pt idx="1640">
                  <c:v>38910</c:v>
                </c:pt>
                <c:pt idx="1641">
                  <c:v>38911</c:v>
                </c:pt>
                <c:pt idx="1642">
                  <c:v>38912</c:v>
                </c:pt>
                <c:pt idx="1643">
                  <c:v>38915</c:v>
                </c:pt>
                <c:pt idx="1644">
                  <c:v>38916</c:v>
                </c:pt>
                <c:pt idx="1645">
                  <c:v>38917</c:v>
                </c:pt>
                <c:pt idx="1646">
                  <c:v>38918</c:v>
                </c:pt>
                <c:pt idx="1647">
                  <c:v>38919</c:v>
                </c:pt>
                <c:pt idx="1648">
                  <c:v>38922</c:v>
                </c:pt>
                <c:pt idx="1649">
                  <c:v>38923</c:v>
                </c:pt>
                <c:pt idx="1650">
                  <c:v>38924</c:v>
                </c:pt>
                <c:pt idx="1651">
                  <c:v>38925</c:v>
                </c:pt>
                <c:pt idx="1652">
                  <c:v>38926</c:v>
                </c:pt>
                <c:pt idx="1653">
                  <c:v>38929</c:v>
                </c:pt>
                <c:pt idx="1654">
                  <c:v>38930</c:v>
                </c:pt>
                <c:pt idx="1655">
                  <c:v>38931</c:v>
                </c:pt>
                <c:pt idx="1656">
                  <c:v>38932</c:v>
                </c:pt>
                <c:pt idx="1657">
                  <c:v>38933</c:v>
                </c:pt>
                <c:pt idx="1658">
                  <c:v>38936</c:v>
                </c:pt>
                <c:pt idx="1659">
                  <c:v>38937</c:v>
                </c:pt>
                <c:pt idx="1660">
                  <c:v>38938</c:v>
                </c:pt>
                <c:pt idx="1661">
                  <c:v>38939</c:v>
                </c:pt>
                <c:pt idx="1662">
                  <c:v>38940</c:v>
                </c:pt>
                <c:pt idx="1663">
                  <c:v>38943</c:v>
                </c:pt>
                <c:pt idx="1664">
                  <c:v>38944</c:v>
                </c:pt>
                <c:pt idx="1665">
                  <c:v>38945</c:v>
                </c:pt>
                <c:pt idx="1666">
                  <c:v>38946</c:v>
                </c:pt>
                <c:pt idx="1667">
                  <c:v>38947</c:v>
                </c:pt>
                <c:pt idx="1668">
                  <c:v>38950</c:v>
                </c:pt>
                <c:pt idx="1669">
                  <c:v>38951</c:v>
                </c:pt>
                <c:pt idx="1670">
                  <c:v>38952</c:v>
                </c:pt>
                <c:pt idx="1671">
                  <c:v>38953</c:v>
                </c:pt>
                <c:pt idx="1672">
                  <c:v>38954</c:v>
                </c:pt>
                <c:pt idx="1673">
                  <c:v>38957</c:v>
                </c:pt>
                <c:pt idx="1674">
                  <c:v>38958</c:v>
                </c:pt>
                <c:pt idx="1675">
                  <c:v>38959</c:v>
                </c:pt>
                <c:pt idx="1676">
                  <c:v>38960</c:v>
                </c:pt>
                <c:pt idx="1677">
                  <c:v>38961</c:v>
                </c:pt>
                <c:pt idx="1678">
                  <c:v>38964</c:v>
                </c:pt>
                <c:pt idx="1679">
                  <c:v>38965</c:v>
                </c:pt>
                <c:pt idx="1680">
                  <c:v>38966</c:v>
                </c:pt>
                <c:pt idx="1681">
                  <c:v>38967</c:v>
                </c:pt>
                <c:pt idx="1682">
                  <c:v>38968</c:v>
                </c:pt>
                <c:pt idx="1683">
                  <c:v>38971</c:v>
                </c:pt>
                <c:pt idx="1684">
                  <c:v>38972</c:v>
                </c:pt>
                <c:pt idx="1685">
                  <c:v>38973</c:v>
                </c:pt>
                <c:pt idx="1686">
                  <c:v>38974</c:v>
                </c:pt>
                <c:pt idx="1687">
                  <c:v>38975</c:v>
                </c:pt>
                <c:pt idx="1688">
                  <c:v>38978</c:v>
                </c:pt>
                <c:pt idx="1689">
                  <c:v>38979</c:v>
                </c:pt>
                <c:pt idx="1690">
                  <c:v>38980</c:v>
                </c:pt>
                <c:pt idx="1691">
                  <c:v>38981</c:v>
                </c:pt>
                <c:pt idx="1692">
                  <c:v>38982</c:v>
                </c:pt>
                <c:pt idx="1693">
                  <c:v>38985</c:v>
                </c:pt>
                <c:pt idx="1694">
                  <c:v>38986</c:v>
                </c:pt>
                <c:pt idx="1695">
                  <c:v>38987</c:v>
                </c:pt>
                <c:pt idx="1696">
                  <c:v>38988</c:v>
                </c:pt>
                <c:pt idx="1697">
                  <c:v>38989</c:v>
                </c:pt>
                <c:pt idx="1698">
                  <c:v>38992</c:v>
                </c:pt>
                <c:pt idx="1699">
                  <c:v>38993</c:v>
                </c:pt>
                <c:pt idx="1700">
                  <c:v>38994</c:v>
                </c:pt>
                <c:pt idx="1701">
                  <c:v>38995</c:v>
                </c:pt>
                <c:pt idx="1702">
                  <c:v>38996</c:v>
                </c:pt>
                <c:pt idx="1703">
                  <c:v>38999</c:v>
                </c:pt>
                <c:pt idx="1704">
                  <c:v>39000</c:v>
                </c:pt>
                <c:pt idx="1705">
                  <c:v>39001</c:v>
                </c:pt>
                <c:pt idx="1706">
                  <c:v>39002</c:v>
                </c:pt>
                <c:pt idx="1707">
                  <c:v>39003</c:v>
                </c:pt>
                <c:pt idx="1708">
                  <c:v>39006</c:v>
                </c:pt>
                <c:pt idx="1709">
                  <c:v>39007</c:v>
                </c:pt>
                <c:pt idx="1710">
                  <c:v>39008</c:v>
                </c:pt>
                <c:pt idx="1711">
                  <c:v>39009</c:v>
                </c:pt>
                <c:pt idx="1712">
                  <c:v>39010</c:v>
                </c:pt>
                <c:pt idx="1713">
                  <c:v>39013</c:v>
                </c:pt>
                <c:pt idx="1714">
                  <c:v>39014</c:v>
                </c:pt>
                <c:pt idx="1715">
                  <c:v>39015</c:v>
                </c:pt>
                <c:pt idx="1716">
                  <c:v>39016</c:v>
                </c:pt>
                <c:pt idx="1717">
                  <c:v>39017</c:v>
                </c:pt>
                <c:pt idx="1718">
                  <c:v>39020</c:v>
                </c:pt>
                <c:pt idx="1719">
                  <c:v>39021</c:v>
                </c:pt>
                <c:pt idx="1720">
                  <c:v>39022</c:v>
                </c:pt>
                <c:pt idx="1721">
                  <c:v>39023</c:v>
                </c:pt>
                <c:pt idx="1722">
                  <c:v>39024</c:v>
                </c:pt>
                <c:pt idx="1723">
                  <c:v>39027</c:v>
                </c:pt>
                <c:pt idx="1724">
                  <c:v>39028</c:v>
                </c:pt>
                <c:pt idx="1725">
                  <c:v>39029</c:v>
                </c:pt>
                <c:pt idx="1726">
                  <c:v>39030</c:v>
                </c:pt>
                <c:pt idx="1727">
                  <c:v>39031</c:v>
                </c:pt>
                <c:pt idx="1728">
                  <c:v>39034</c:v>
                </c:pt>
                <c:pt idx="1729">
                  <c:v>39035</c:v>
                </c:pt>
                <c:pt idx="1730">
                  <c:v>39036</c:v>
                </c:pt>
                <c:pt idx="1731">
                  <c:v>39037</c:v>
                </c:pt>
                <c:pt idx="1732">
                  <c:v>39038</c:v>
                </c:pt>
                <c:pt idx="1733">
                  <c:v>39041</c:v>
                </c:pt>
                <c:pt idx="1734">
                  <c:v>39042</c:v>
                </c:pt>
                <c:pt idx="1735">
                  <c:v>39043</c:v>
                </c:pt>
                <c:pt idx="1736">
                  <c:v>39044</c:v>
                </c:pt>
                <c:pt idx="1737">
                  <c:v>39045</c:v>
                </c:pt>
                <c:pt idx="1738">
                  <c:v>39048</c:v>
                </c:pt>
                <c:pt idx="1739">
                  <c:v>39049</c:v>
                </c:pt>
                <c:pt idx="1740">
                  <c:v>39050</c:v>
                </c:pt>
                <c:pt idx="1741">
                  <c:v>39051</c:v>
                </c:pt>
                <c:pt idx="1742">
                  <c:v>39052</c:v>
                </c:pt>
                <c:pt idx="1743">
                  <c:v>39055</c:v>
                </c:pt>
                <c:pt idx="1744">
                  <c:v>39056</c:v>
                </c:pt>
                <c:pt idx="1745">
                  <c:v>39057</c:v>
                </c:pt>
                <c:pt idx="1746">
                  <c:v>39058</c:v>
                </c:pt>
                <c:pt idx="1747">
                  <c:v>39059</c:v>
                </c:pt>
                <c:pt idx="1748">
                  <c:v>39062</c:v>
                </c:pt>
                <c:pt idx="1749">
                  <c:v>39063</c:v>
                </c:pt>
                <c:pt idx="1750">
                  <c:v>39064</c:v>
                </c:pt>
                <c:pt idx="1751">
                  <c:v>39065</c:v>
                </c:pt>
                <c:pt idx="1752">
                  <c:v>39066</c:v>
                </c:pt>
                <c:pt idx="1753">
                  <c:v>39069</c:v>
                </c:pt>
                <c:pt idx="1754">
                  <c:v>39070</c:v>
                </c:pt>
                <c:pt idx="1755">
                  <c:v>39071</c:v>
                </c:pt>
                <c:pt idx="1756">
                  <c:v>39072</c:v>
                </c:pt>
                <c:pt idx="1757">
                  <c:v>39073</c:v>
                </c:pt>
                <c:pt idx="1758">
                  <c:v>39076</c:v>
                </c:pt>
                <c:pt idx="1759">
                  <c:v>39077</c:v>
                </c:pt>
                <c:pt idx="1760">
                  <c:v>39078</c:v>
                </c:pt>
                <c:pt idx="1761">
                  <c:v>39079</c:v>
                </c:pt>
                <c:pt idx="1762">
                  <c:v>39080</c:v>
                </c:pt>
                <c:pt idx="1763">
                  <c:v>39083</c:v>
                </c:pt>
                <c:pt idx="1764">
                  <c:v>39084</c:v>
                </c:pt>
                <c:pt idx="1765">
                  <c:v>39085</c:v>
                </c:pt>
                <c:pt idx="1766">
                  <c:v>39086</c:v>
                </c:pt>
                <c:pt idx="1767">
                  <c:v>39087</c:v>
                </c:pt>
                <c:pt idx="1768">
                  <c:v>39090</c:v>
                </c:pt>
                <c:pt idx="1769">
                  <c:v>39091</c:v>
                </c:pt>
                <c:pt idx="1770">
                  <c:v>39092</c:v>
                </c:pt>
                <c:pt idx="1771">
                  <c:v>39093</c:v>
                </c:pt>
                <c:pt idx="1772">
                  <c:v>39094</c:v>
                </c:pt>
                <c:pt idx="1773">
                  <c:v>39097</c:v>
                </c:pt>
                <c:pt idx="1774">
                  <c:v>39098</c:v>
                </c:pt>
                <c:pt idx="1775">
                  <c:v>39099</c:v>
                </c:pt>
                <c:pt idx="1776">
                  <c:v>39100</c:v>
                </c:pt>
                <c:pt idx="1777">
                  <c:v>39101</c:v>
                </c:pt>
                <c:pt idx="1778">
                  <c:v>39104</c:v>
                </c:pt>
                <c:pt idx="1779">
                  <c:v>39105</c:v>
                </c:pt>
                <c:pt idx="1780">
                  <c:v>39106</c:v>
                </c:pt>
                <c:pt idx="1781">
                  <c:v>39107</c:v>
                </c:pt>
                <c:pt idx="1782">
                  <c:v>39108</c:v>
                </c:pt>
                <c:pt idx="1783">
                  <c:v>39111</c:v>
                </c:pt>
                <c:pt idx="1784">
                  <c:v>39112</c:v>
                </c:pt>
                <c:pt idx="1785">
                  <c:v>39113</c:v>
                </c:pt>
                <c:pt idx="1786">
                  <c:v>39114</c:v>
                </c:pt>
                <c:pt idx="1787">
                  <c:v>39115</c:v>
                </c:pt>
                <c:pt idx="1788">
                  <c:v>39118</c:v>
                </c:pt>
                <c:pt idx="1789">
                  <c:v>39119</c:v>
                </c:pt>
                <c:pt idx="1790">
                  <c:v>39120</c:v>
                </c:pt>
                <c:pt idx="1791">
                  <c:v>39121</c:v>
                </c:pt>
                <c:pt idx="1792">
                  <c:v>39122</c:v>
                </c:pt>
                <c:pt idx="1793">
                  <c:v>39125</c:v>
                </c:pt>
                <c:pt idx="1794">
                  <c:v>39126</c:v>
                </c:pt>
                <c:pt idx="1795">
                  <c:v>39127</c:v>
                </c:pt>
                <c:pt idx="1796">
                  <c:v>39128</c:v>
                </c:pt>
                <c:pt idx="1797">
                  <c:v>39129</c:v>
                </c:pt>
                <c:pt idx="1798">
                  <c:v>39132</c:v>
                </c:pt>
                <c:pt idx="1799">
                  <c:v>39133</c:v>
                </c:pt>
                <c:pt idx="1800">
                  <c:v>39134</c:v>
                </c:pt>
                <c:pt idx="1801">
                  <c:v>39135</c:v>
                </c:pt>
                <c:pt idx="1802">
                  <c:v>39136</c:v>
                </c:pt>
                <c:pt idx="1803">
                  <c:v>39139</c:v>
                </c:pt>
                <c:pt idx="1804">
                  <c:v>39140</c:v>
                </c:pt>
                <c:pt idx="1805">
                  <c:v>39141</c:v>
                </c:pt>
                <c:pt idx="1806">
                  <c:v>39142</c:v>
                </c:pt>
                <c:pt idx="1807">
                  <c:v>39143</c:v>
                </c:pt>
                <c:pt idx="1808">
                  <c:v>39146</c:v>
                </c:pt>
                <c:pt idx="1809">
                  <c:v>39147</c:v>
                </c:pt>
                <c:pt idx="1810">
                  <c:v>39148</c:v>
                </c:pt>
                <c:pt idx="1811">
                  <c:v>39149</c:v>
                </c:pt>
                <c:pt idx="1812">
                  <c:v>39150</c:v>
                </c:pt>
                <c:pt idx="1813">
                  <c:v>39153</c:v>
                </c:pt>
                <c:pt idx="1814">
                  <c:v>39154</c:v>
                </c:pt>
                <c:pt idx="1815">
                  <c:v>39155</c:v>
                </c:pt>
                <c:pt idx="1816">
                  <c:v>39156</c:v>
                </c:pt>
                <c:pt idx="1817">
                  <c:v>39157</c:v>
                </c:pt>
                <c:pt idx="1818">
                  <c:v>39160</c:v>
                </c:pt>
                <c:pt idx="1819">
                  <c:v>39161</c:v>
                </c:pt>
                <c:pt idx="1820">
                  <c:v>39162</c:v>
                </c:pt>
                <c:pt idx="1821">
                  <c:v>39163</c:v>
                </c:pt>
                <c:pt idx="1822">
                  <c:v>39164</c:v>
                </c:pt>
                <c:pt idx="1823">
                  <c:v>39167</c:v>
                </c:pt>
                <c:pt idx="1824">
                  <c:v>39168</c:v>
                </c:pt>
                <c:pt idx="1825">
                  <c:v>39169</c:v>
                </c:pt>
                <c:pt idx="1826">
                  <c:v>39170</c:v>
                </c:pt>
                <c:pt idx="1827">
                  <c:v>39171</c:v>
                </c:pt>
                <c:pt idx="1828">
                  <c:v>39174</c:v>
                </c:pt>
                <c:pt idx="1829">
                  <c:v>39175</c:v>
                </c:pt>
                <c:pt idx="1830">
                  <c:v>39176</c:v>
                </c:pt>
                <c:pt idx="1831">
                  <c:v>39177</c:v>
                </c:pt>
                <c:pt idx="1832">
                  <c:v>39178</c:v>
                </c:pt>
                <c:pt idx="1833">
                  <c:v>39181</c:v>
                </c:pt>
                <c:pt idx="1834">
                  <c:v>39182</c:v>
                </c:pt>
                <c:pt idx="1835">
                  <c:v>39183</c:v>
                </c:pt>
                <c:pt idx="1836">
                  <c:v>39184</c:v>
                </c:pt>
                <c:pt idx="1837">
                  <c:v>39185</c:v>
                </c:pt>
                <c:pt idx="1838">
                  <c:v>39188</c:v>
                </c:pt>
                <c:pt idx="1839">
                  <c:v>39189</c:v>
                </c:pt>
                <c:pt idx="1840">
                  <c:v>39190</c:v>
                </c:pt>
                <c:pt idx="1841">
                  <c:v>39191</c:v>
                </c:pt>
                <c:pt idx="1842">
                  <c:v>39192</c:v>
                </c:pt>
                <c:pt idx="1843">
                  <c:v>39195</c:v>
                </c:pt>
                <c:pt idx="1844">
                  <c:v>39196</c:v>
                </c:pt>
                <c:pt idx="1845">
                  <c:v>39197</c:v>
                </c:pt>
                <c:pt idx="1846">
                  <c:v>39198</c:v>
                </c:pt>
                <c:pt idx="1847">
                  <c:v>39199</c:v>
                </c:pt>
                <c:pt idx="1848">
                  <c:v>39202</c:v>
                </c:pt>
                <c:pt idx="1849">
                  <c:v>39203</c:v>
                </c:pt>
                <c:pt idx="1850">
                  <c:v>39204</c:v>
                </c:pt>
                <c:pt idx="1851">
                  <c:v>39205</c:v>
                </c:pt>
                <c:pt idx="1852">
                  <c:v>39206</c:v>
                </c:pt>
                <c:pt idx="1853">
                  <c:v>39209</c:v>
                </c:pt>
                <c:pt idx="1854">
                  <c:v>39210</c:v>
                </c:pt>
                <c:pt idx="1855">
                  <c:v>39211</c:v>
                </c:pt>
                <c:pt idx="1856">
                  <c:v>39212</c:v>
                </c:pt>
                <c:pt idx="1857">
                  <c:v>39213</c:v>
                </c:pt>
                <c:pt idx="1858">
                  <c:v>39216</c:v>
                </c:pt>
                <c:pt idx="1859">
                  <c:v>39217</c:v>
                </c:pt>
                <c:pt idx="1860">
                  <c:v>39218</c:v>
                </c:pt>
                <c:pt idx="1861">
                  <c:v>39219</c:v>
                </c:pt>
                <c:pt idx="1862">
                  <c:v>39220</c:v>
                </c:pt>
                <c:pt idx="1863">
                  <c:v>39223</c:v>
                </c:pt>
                <c:pt idx="1864">
                  <c:v>39224</c:v>
                </c:pt>
                <c:pt idx="1865">
                  <c:v>39225</c:v>
                </c:pt>
                <c:pt idx="1866">
                  <c:v>39226</c:v>
                </c:pt>
                <c:pt idx="1867">
                  <c:v>39227</c:v>
                </c:pt>
                <c:pt idx="1868">
                  <c:v>39230</c:v>
                </c:pt>
                <c:pt idx="1869">
                  <c:v>39231</c:v>
                </c:pt>
                <c:pt idx="1870">
                  <c:v>39232</c:v>
                </c:pt>
                <c:pt idx="1871">
                  <c:v>39233</c:v>
                </c:pt>
                <c:pt idx="1872">
                  <c:v>39234</c:v>
                </c:pt>
                <c:pt idx="1873">
                  <c:v>39237</c:v>
                </c:pt>
                <c:pt idx="1874">
                  <c:v>39238</c:v>
                </c:pt>
                <c:pt idx="1875">
                  <c:v>39239</c:v>
                </c:pt>
                <c:pt idx="1876">
                  <c:v>39240</c:v>
                </c:pt>
                <c:pt idx="1877">
                  <c:v>39241</c:v>
                </c:pt>
                <c:pt idx="1878">
                  <c:v>39244</c:v>
                </c:pt>
                <c:pt idx="1879">
                  <c:v>39245</c:v>
                </c:pt>
                <c:pt idx="1880">
                  <c:v>39246</c:v>
                </c:pt>
                <c:pt idx="1881">
                  <c:v>39247</c:v>
                </c:pt>
                <c:pt idx="1882">
                  <c:v>39248</c:v>
                </c:pt>
                <c:pt idx="1883">
                  <c:v>39251</c:v>
                </c:pt>
                <c:pt idx="1884">
                  <c:v>39252</c:v>
                </c:pt>
                <c:pt idx="1885">
                  <c:v>39253</c:v>
                </c:pt>
                <c:pt idx="1886">
                  <c:v>39254</c:v>
                </c:pt>
                <c:pt idx="1887">
                  <c:v>39255</c:v>
                </c:pt>
                <c:pt idx="1888">
                  <c:v>39258</c:v>
                </c:pt>
                <c:pt idx="1889">
                  <c:v>39259</c:v>
                </c:pt>
                <c:pt idx="1890">
                  <c:v>39260</c:v>
                </c:pt>
                <c:pt idx="1891">
                  <c:v>39261</c:v>
                </c:pt>
                <c:pt idx="1892">
                  <c:v>39262</c:v>
                </c:pt>
                <c:pt idx="1893">
                  <c:v>39265</c:v>
                </c:pt>
                <c:pt idx="1894">
                  <c:v>39266</c:v>
                </c:pt>
                <c:pt idx="1895">
                  <c:v>39267</c:v>
                </c:pt>
                <c:pt idx="1896">
                  <c:v>39268</c:v>
                </c:pt>
                <c:pt idx="1897">
                  <c:v>39269</c:v>
                </c:pt>
                <c:pt idx="1898">
                  <c:v>39272</c:v>
                </c:pt>
                <c:pt idx="1899">
                  <c:v>39273</c:v>
                </c:pt>
                <c:pt idx="1900">
                  <c:v>39274</c:v>
                </c:pt>
                <c:pt idx="1901">
                  <c:v>39275</c:v>
                </c:pt>
                <c:pt idx="1902">
                  <c:v>39276</c:v>
                </c:pt>
                <c:pt idx="1903">
                  <c:v>39279</c:v>
                </c:pt>
                <c:pt idx="1904">
                  <c:v>39280</c:v>
                </c:pt>
                <c:pt idx="1905">
                  <c:v>39281</c:v>
                </c:pt>
                <c:pt idx="1906">
                  <c:v>39282</c:v>
                </c:pt>
                <c:pt idx="1907">
                  <c:v>39283</c:v>
                </c:pt>
                <c:pt idx="1908">
                  <c:v>39286</c:v>
                </c:pt>
                <c:pt idx="1909">
                  <c:v>39287</c:v>
                </c:pt>
                <c:pt idx="1910">
                  <c:v>39288</c:v>
                </c:pt>
                <c:pt idx="1911">
                  <c:v>39289</c:v>
                </c:pt>
                <c:pt idx="1912">
                  <c:v>39290</c:v>
                </c:pt>
                <c:pt idx="1913">
                  <c:v>39293</c:v>
                </c:pt>
                <c:pt idx="1914">
                  <c:v>39294</c:v>
                </c:pt>
                <c:pt idx="1915">
                  <c:v>39295</c:v>
                </c:pt>
                <c:pt idx="1916">
                  <c:v>39296</c:v>
                </c:pt>
                <c:pt idx="1917">
                  <c:v>39297</c:v>
                </c:pt>
                <c:pt idx="1918">
                  <c:v>39300</c:v>
                </c:pt>
                <c:pt idx="1919">
                  <c:v>39301</c:v>
                </c:pt>
                <c:pt idx="1920">
                  <c:v>39302</c:v>
                </c:pt>
                <c:pt idx="1921">
                  <c:v>39303</c:v>
                </c:pt>
                <c:pt idx="1922">
                  <c:v>39304</c:v>
                </c:pt>
                <c:pt idx="1923">
                  <c:v>39307</c:v>
                </c:pt>
                <c:pt idx="1924">
                  <c:v>39308</c:v>
                </c:pt>
                <c:pt idx="1925">
                  <c:v>39309</c:v>
                </c:pt>
                <c:pt idx="1926">
                  <c:v>39310</c:v>
                </c:pt>
                <c:pt idx="1927">
                  <c:v>39311</c:v>
                </c:pt>
                <c:pt idx="1928">
                  <c:v>39314</c:v>
                </c:pt>
                <c:pt idx="1929">
                  <c:v>39315</c:v>
                </c:pt>
                <c:pt idx="1930">
                  <c:v>39316</c:v>
                </c:pt>
                <c:pt idx="1931">
                  <c:v>39317</c:v>
                </c:pt>
                <c:pt idx="1932">
                  <c:v>39318</c:v>
                </c:pt>
                <c:pt idx="1933">
                  <c:v>39321</c:v>
                </c:pt>
                <c:pt idx="1934">
                  <c:v>39322</c:v>
                </c:pt>
                <c:pt idx="1935">
                  <c:v>39323</c:v>
                </c:pt>
                <c:pt idx="1936">
                  <c:v>39324</c:v>
                </c:pt>
                <c:pt idx="1937">
                  <c:v>39325</c:v>
                </c:pt>
                <c:pt idx="1938">
                  <c:v>39328</c:v>
                </c:pt>
                <c:pt idx="1939">
                  <c:v>39329</c:v>
                </c:pt>
                <c:pt idx="1940">
                  <c:v>39330</c:v>
                </c:pt>
                <c:pt idx="1941">
                  <c:v>39331</c:v>
                </c:pt>
                <c:pt idx="1942">
                  <c:v>39332</c:v>
                </c:pt>
                <c:pt idx="1943">
                  <c:v>39335</c:v>
                </c:pt>
                <c:pt idx="1944">
                  <c:v>39336</c:v>
                </c:pt>
                <c:pt idx="1945">
                  <c:v>39337</c:v>
                </c:pt>
                <c:pt idx="1946">
                  <c:v>39338</c:v>
                </c:pt>
                <c:pt idx="1947">
                  <c:v>39339</c:v>
                </c:pt>
                <c:pt idx="1948">
                  <c:v>39342</c:v>
                </c:pt>
                <c:pt idx="1949">
                  <c:v>39343</c:v>
                </c:pt>
                <c:pt idx="1950">
                  <c:v>39344</c:v>
                </c:pt>
                <c:pt idx="1951">
                  <c:v>39345</c:v>
                </c:pt>
                <c:pt idx="1952">
                  <c:v>39346</c:v>
                </c:pt>
                <c:pt idx="1953">
                  <c:v>39349</c:v>
                </c:pt>
                <c:pt idx="1954">
                  <c:v>39350</c:v>
                </c:pt>
                <c:pt idx="1955">
                  <c:v>39351</c:v>
                </c:pt>
                <c:pt idx="1956">
                  <c:v>39352</c:v>
                </c:pt>
                <c:pt idx="1957">
                  <c:v>39353</c:v>
                </c:pt>
                <c:pt idx="1958">
                  <c:v>39356</c:v>
                </c:pt>
                <c:pt idx="1959">
                  <c:v>39357</c:v>
                </c:pt>
                <c:pt idx="1960">
                  <c:v>39358</c:v>
                </c:pt>
                <c:pt idx="1961">
                  <c:v>39359</c:v>
                </c:pt>
                <c:pt idx="1962">
                  <c:v>39360</c:v>
                </c:pt>
                <c:pt idx="1963">
                  <c:v>39363</c:v>
                </c:pt>
                <c:pt idx="1964">
                  <c:v>39364</c:v>
                </c:pt>
                <c:pt idx="1965">
                  <c:v>39365</c:v>
                </c:pt>
                <c:pt idx="1966">
                  <c:v>39366</c:v>
                </c:pt>
                <c:pt idx="1967">
                  <c:v>39367</c:v>
                </c:pt>
                <c:pt idx="1968">
                  <c:v>39370</c:v>
                </c:pt>
                <c:pt idx="1969">
                  <c:v>39371</c:v>
                </c:pt>
                <c:pt idx="1970">
                  <c:v>39372</c:v>
                </c:pt>
                <c:pt idx="1971">
                  <c:v>39373</c:v>
                </c:pt>
                <c:pt idx="1972">
                  <c:v>39374</c:v>
                </c:pt>
                <c:pt idx="1973">
                  <c:v>39377</c:v>
                </c:pt>
                <c:pt idx="1974">
                  <c:v>39378</c:v>
                </c:pt>
                <c:pt idx="1975">
                  <c:v>39379</c:v>
                </c:pt>
                <c:pt idx="1976">
                  <c:v>39380</c:v>
                </c:pt>
                <c:pt idx="1977">
                  <c:v>39381</c:v>
                </c:pt>
                <c:pt idx="1978">
                  <c:v>39384</c:v>
                </c:pt>
                <c:pt idx="1979">
                  <c:v>39385</c:v>
                </c:pt>
                <c:pt idx="1980">
                  <c:v>39386</c:v>
                </c:pt>
                <c:pt idx="1981">
                  <c:v>39387</c:v>
                </c:pt>
                <c:pt idx="1982">
                  <c:v>39388</c:v>
                </c:pt>
                <c:pt idx="1983">
                  <c:v>39391</c:v>
                </c:pt>
                <c:pt idx="1984">
                  <c:v>39392</c:v>
                </c:pt>
                <c:pt idx="1985">
                  <c:v>39393</c:v>
                </c:pt>
                <c:pt idx="1986">
                  <c:v>39394</c:v>
                </c:pt>
                <c:pt idx="1987">
                  <c:v>39395</c:v>
                </c:pt>
                <c:pt idx="1988">
                  <c:v>39398</c:v>
                </c:pt>
                <c:pt idx="1989">
                  <c:v>39399</c:v>
                </c:pt>
                <c:pt idx="1990">
                  <c:v>39400</c:v>
                </c:pt>
                <c:pt idx="1991">
                  <c:v>39401</c:v>
                </c:pt>
                <c:pt idx="1992">
                  <c:v>39402</c:v>
                </c:pt>
                <c:pt idx="1993">
                  <c:v>39405</c:v>
                </c:pt>
                <c:pt idx="1994">
                  <c:v>39406</c:v>
                </c:pt>
                <c:pt idx="1995">
                  <c:v>39407</c:v>
                </c:pt>
                <c:pt idx="1996">
                  <c:v>39408</c:v>
                </c:pt>
                <c:pt idx="1997">
                  <c:v>39409</c:v>
                </c:pt>
                <c:pt idx="1998">
                  <c:v>39412</c:v>
                </c:pt>
                <c:pt idx="1999">
                  <c:v>39413</c:v>
                </c:pt>
                <c:pt idx="2000">
                  <c:v>39414</c:v>
                </c:pt>
                <c:pt idx="2001">
                  <c:v>39415</c:v>
                </c:pt>
                <c:pt idx="2002">
                  <c:v>39416</c:v>
                </c:pt>
                <c:pt idx="2003">
                  <c:v>39419</c:v>
                </c:pt>
                <c:pt idx="2004">
                  <c:v>39420</c:v>
                </c:pt>
                <c:pt idx="2005">
                  <c:v>39421</c:v>
                </c:pt>
                <c:pt idx="2006">
                  <c:v>39422</c:v>
                </c:pt>
                <c:pt idx="2007">
                  <c:v>39423</c:v>
                </c:pt>
                <c:pt idx="2008">
                  <c:v>39426</c:v>
                </c:pt>
                <c:pt idx="2009">
                  <c:v>39427</c:v>
                </c:pt>
                <c:pt idx="2010">
                  <c:v>39428</c:v>
                </c:pt>
                <c:pt idx="2011">
                  <c:v>39429</c:v>
                </c:pt>
                <c:pt idx="2012">
                  <c:v>39430</c:v>
                </c:pt>
                <c:pt idx="2013">
                  <c:v>39433</c:v>
                </c:pt>
                <c:pt idx="2014">
                  <c:v>39434</c:v>
                </c:pt>
                <c:pt idx="2015">
                  <c:v>39435</c:v>
                </c:pt>
                <c:pt idx="2016">
                  <c:v>39436</c:v>
                </c:pt>
                <c:pt idx="2017">
                  <c:v>39437</c:v>
                </c:pt>
                <c:pt idx="2018">
                  <c:v>39443</c:v>
                </c:pt>
                <c:pt idx="2019">
                  <c:v>39444</c:v>
                </c:pt>
                <c:pt idx="2020">
                  <c:v>39447</c:v>
                </c:pt>
                <c:pt idx="2021">
                  <c:v>39449</c:v>
                </c:pt>
                <c:pt idx="2022">
                  <c:v>39450</c:v>
                </c:pt>
                <c:pt idx="2023">
                  <c:v>39451</c:v>
                </c:pt>
                <c:pt idx="2024">
                  <c:v>39454</c:v>
                </c:pt>
                <c:pt idx="2025">
                  <c:v>39455</c:v>
                </c:pt>
                <c:pt idx="2026">
                  <c:v>39456</c:v>
                </c:pt>
                <c:pt idx="2027">
                  <c:v>39457</c:v>
                </c:pt>
                <c:pt idx="2028">
                  <c:v>39458</c:v>
                </c:pt>
                <c:pt idx="2029">
                  <c:v>39461</c:v>
                </c:pt>
                <c:pt idx="2030">
                  <c:v>39462</c:v>
                </c:pt>
                <c:pt idx="2031">
                  <c:v>39463</c:v>
                </c:pt>
                <c:pt idx="2032">
                  <c:v>39464</c:v>
                </c:pt>
                <c:pt idx="2033">
                  <c:v>39465</c:v>
                </c:pt>
                <c:pt idx="2034">
                  <c:v>39468</c:v>
                </c:pt>
                <c:pt idx="2035">
                  <c:v>39469</c:v>
                </c:pt>
                <c:pt idx="2036">
                  <c:v>39470</c:v>
                </c:pt>
                <c:pt idx="2037">
                  <c:v>39471</c:v>
                </c:pt>
                <c:pt idx="2038">
                  <c:v>39472</c:v>
                </c:pt>
                <c:pt idx="2039">
                  <c:v>39475</c:v>
                </c:pt>
                <c:pt idx="2040">
                  <c:v>39476</c:v>
                </c:pt>
                <c:pt idx="2041">
                  <c:v>39477</c:v>
                </c:pt>
                <c:pt idx="2042">
                  <c:v>39478</c:v>
                </c:pt>
                <c:pt idx="2043">
                  <c:v>39479</c:v>
                </c:pt>
                <c:pt idx="2044">
                  <c:v>39482</c:v>
                </c:pt>
                <c:pt idx="2045">
                  <c:v>39483</c:v>
                </c:pt>
                <c:pt idx="2046">
                  <c:v>39484</c:v>
                </c:pt>
                <c:pt idx="2047">
                  <c:v>39485</c:v>
                </c:pt>
                <c:pt idx="2048">
                  <c:v>39486</c:v>
                </c:pt>
                <c:pt idx="2049">
                  <c:v>39489</c:v>
                </c:pt>
                <c:pt idx="2050">
                  <c:v>39490</c:v>
                </c:pt>
                <c:pt idx="2051">
                  <c:v>39491</c:v>
                </c:pt>
                <c:pt idx="2052">
                  <c:v>39492</c:v>
                </c:pt>
                <c:pt idx="2053">
                  <c:v>39493</c:v>
                </c:pt>
                <c:pt idx="2054">
                  <c:v>39496</c:v>
                </c:pt>
                <c:pt idx="2055">
                  <c:v>39497</c:v>
                </c:pt>
                <c:pt idx="2056">
                  <c:v>39498</c:v>
                </c:pt>
                <c:pt idx="2057">
                  <c:v>39499</c:v>
                </c:pt>
                <c:pt idx="2058">
                  <c:v>39500</c:v>
                </c:pt>
                <c:pt idx="2059">
                  <c:v>39503</c:v>
                </c:pt>
                <c:pt idx="2060">
                  <c:v>39504</c:v>
                </c:pt>
                <c:pt idx="2061">
                  <c:v>39505</c:v>
                </c:pt>
                <c:pt idx="2062">
                  <c:v>39506</c:v>
                </c:pt>
                <c:pt idx="2063">
                  <c:v>39507</c:v>
                </c:pt>
                <c:pt idx="2064">
                  <c:v>39510</c:v>
                </c:pt>
                <c:pt idx="2065">
                  <c:v>39511</c:v>
                </c:pt>
                <c:pt idx="2066">
                  <c:v>39512</c:v>
                </c:pt>
                <c:pt idx="2067">
                  <c:v>39513</c:v>
                </c:pt>
                <c:pt idx="2068">
                  <c:v>39514</c:v>
                </c:pt>
                <c:pt idx="2069">
                  <c:v>39517</c:v>
                </c:pt>
                <c:pt idx="2070">
                  <c:v>39518</c:v>
                </c:pt>
                <c:pt idx="2071">
                  <c:v>39519</c:v>
                </c:pt>
                <c:pt idx="2072">
                  <c:v>39520</c:v>
                </c:pt>
                <c:pt idx="2073">
                  <c:v>39521</c:v>
                </c:pt>
                <c:pt idx="2074">
                  <c:v>39524</c:v>
                </c:pt>
                <c:pt idx="2075">
                  <c:v>39525</c:v>
                </c:pt>
                <c:pt idx="2076">
                  <c:v>39526</c:v>
                </c:pt>
                <c:pt idx="2077">
                  <c:v>39527</c:v>
                </c:pt>
                <c:pt idx="2078">
                  <c:v>39532</c:v>
                </c:pt>
                <c:pt idx="2079">
                  <c:v>39533</c:v>
                </c:pt>
                <c:pt idx="2080">
                  <c:v>39534</c:v>
                </c:pt>
                <c:pt idx="2081">
                  <c:v>39535</c:v>
                </c:pt>
                <c:pt idx="2082">
                  <c:v>39538</c:v>
                </c:pt>
                <c:pt idx="2083">
                  <c:v>39539</c:v>
                </c:pt>
                <c:pt idx="2084">
                  <c:v>39540</c:v>
                </c:pt>
                <c:pt idx="2085">
                  <c:v>39541</c:v>
                </c:pt>
                <c:pt idx="2086">
                  <c:v>39542</c:v>
                </c:pt>
                <c:pt idx="2087">
                  <c:v>39545</c:v>
                </c:pt>
                <c:pt idx="2088">
                  <c:v>39546</c:v>
                </c:pt>
                <c:pt idx="2089">
                  <c:v>39547</c:v>
                </c:pt>
                <c:pt idx="2090">
                  <c:v>39548</c:v>
                </c:pt>
                <c:pt idx="2091">
                  <c:v>39549</c:v>
                </c:pt>
                <c:pt idx="2092">
                  <c:v>39552</c:v>
                </c:pt>
                <c:pt idx="2093">
                  <c:v>39553</c:v>
                </c:pt>
                <c:pt idx="2094">
                  <c:v>39554</c:v>
                </c:pt>
                <c:pt idx="2095">
                  <c:v>39555</c:v>
                </c:pt>
                <c:pt idx="2096">
                  <c:v>39556</c:v>
                </c:pt>
                <c:pt idx="2097">
                  <c:v>39559</c:v>
                </c:pt>
                <c:pt idx="2098">
                  <c:v>39560</c:v>
                </c:pt>
                <c:pt idx="2099">
                  <c:v>39561</c:v>
                </c:pt>
                <c:pt idx="2100">
                  <c:v>39562</c:v>
                </c:pt>
                <c:pt idx="2101">
                  <c:v>39563</c:v>
                </c:pt>
                <c:pt idx="2102">
                  <c:v>39566</c:v>
                </c:pt>
                <c:pt idx="2103">
                  <c:v>39567</c:v>
                </c:pt>
                <c:pt idx="2104">
                  <c:v>39568</c:v>
                </c:pt>
                <c:pt idx="2105">
                  <c:v>39569</c:v>
                </c:pt>
                <c:pt idx="2106">
                  <c:v>39570</c:v>
                </c:pt>
                <c:pt idx="2107">
                  <c:v>39573</c:v>
                </c:pt>
                <c:pt idx="2108">
                  <c:v>39574</c:v>
                </c:pt>
                <c:pt idx="2109">
                  <c:v>39575</c:v>
                </c:pt>
                <c:pt idx="2110">
                  <c:v>39576</c:v>
                </c:pt>
                <c:pt idx="2111">
                  <c:v>39577</c:v>
                </c:pt>
                <c:pt idx="2112">
                  <c:v>39580</c:v>
                </c:pt>
                <c:pt idx="2113">
                  <c:v>39581</c:v>
                </c:pt>
                <c:pt idx="2114">
                  <c:v>39582</c:v>
                </c:pt>
                <c:pt idx="2115">
                  <c:v>39583</c:v>
                </c:pt>
                <c:pt idx="2116">
                  <c:v>39584</c:v>
                </c:pt>
                <c:pt idx="2117">
                  <c:v>39587</c:v>
                </c:pt>
                <c:pt idx="2118">
                  <c:v>39588</c:v>
                </c:pt>
                <c:pt idx="2119">
                  <c:v>39589</c:v>
                </c:pt>
                <c:pt idx="2120">
                  <c:v>39590</c:v>
                </c:pt>
                <c:pt idx="2121">
                  <c:v>39591</c:v>
                </c:pt>
                <c:pt idx="2122">
                  <c:v>39594</c:v>
                </c:pt>
                <c:pt idx="2123">
                  <c:v>39595</c:v>
                </c:pt>
                <c:pt idx="2124">
                  <c:v>39596</c:v>
                </c:pt>
                <c:pt idx="2125">
                  <c:v>39597</c:v>
                </c:pt>
                <c:pt idx="2126">
                  <c:v>39598</c:v>
                </c:pt>
                <c:pt idx="2127">
                  <c:v>39601</c:v>
                </c:pt>
                <c:pt idx="2128">
                  <c:v>39602</c:v>
                </c:pt>
                <c:pt idx="2129">
                  <c:v>39603</c:v>
                </c:pt>
                <c:pt idx="2130">
                  <c:v>39604</c:v>
                </c:pt>
                <c:pt idx="2131">
                  <c:v>39605</c:v>
                </c:pt>
                <c:pt idx="2132">
                  <c:v>39608</c:v>
                </c:pt>
                <c:pt idx="2133">
                  <c:v>39609</c:v>
                </c:pt>
                <c:pt idx="2134">
                  <c:v>39610</c:v>
                </c:pt>
                <c:pt idx="2135">
                  <c:v>39611</c:v>
                </c:pt>
                <c:pt idx="2136">
                  <c:v>39612</c:v>
                </c:pt>
                <c:pt idx="2137">
                  <c:v>39615</c:v>
                </c:pt>
                <c:pt idx="2138">
                  <c:v>39616</c:v>
                </c:pt>
                <c:pt idx="2139">
                  <c:v>39617</c:v>
                </c:pt>
                <c:pt idx="2140">
                  <c:v>39618</c:v>
                </c:pt>
                <c:pt idx="2141">
                  <c:v>39619</c:v>
                </c:pt>
                <c:pt idx="2142">
                  <c:v>39622</c:v>
                </c:pt>
                <c:pt idx="2143">
                  <c:v>39623</c:v>
                </c:pt>
                <c:pt idx="2144">
                  <c:v>39624</c:v>
                </c:pt>
                <c:pt idx="2145">
                  <c:v>39625</c:v>
                </c:pt>
                <c:pt idx="2146">
                  <c:v>39626</c:v>
                </c:pt>
                <c:pt idx="2147">
                  <c:v>39629</c:v>
                </c:pt>
                <c:pt idx="2148">
                  <c:v>39630</c:v>
                </c:pt>
                <c:pt idx="2149">
                  <c:v>39631</c:v>
                </c:pt>
                <c:pt idx="2150">
                  <c:v>39632</c:v>
                </c:pt>
                <c:pt idx="2151">
                  <c:v>39633</c:v>
                </c:pt>
                <c:pt idx="2152">
                  <c:v>39636</c:v>
                </c:pt>
                <c:pt idx="2153">
                  <c:v>39637</c:v>
                </c:pt>
                <c:pt idx="2154">
                  <c:v>39638</c:v>
                </c:pt>
                <c:pt idx="2155">
                  <c:v>39639</c:v>
                </c:pt>
                <c:pt idx="2156">
                  <c:v>39640</c:v>
                </c:pt>
                <c:pt idx="2157">
                  <c:v>39643</c:v>
                </c:pt>
                <c:pt idx="2158">
                  <c:v>39644</c:v>
                </c:pt>
                <c:pt idx="2159">
                  <c:v>39645</c:v>
                </c:pt>
                <c:pt idx="2160">
                  <c:v>39646</c:v>
                </c:pt>
                <c:pt idx="2161">
                  <c:v>39647</c:v>
                </c:pt>
                <c:pt idx="2162">
                  <c:v>39650</c:v>
                </c:pt>
                <c:pt idx="2163">
                  <c:v>39651</c:v>
                </c:pt>
                <c:pt idx="2164">
                  <c:v>39652</c:v>
                </c:pt>
                <c:pt idx="2165">
                  <c:v>39653</c:v>
                </c:pt>
                <c:pt idx="2166">
                  <c:v>39654</c:v>
                </c:pt>
                <c:pt idx="2167">
                  <c:v>39657</c:v>
                </c:pt>
                <c:pt idx="2168">
                  <c:v>39658</c:v>
                </c:pt>
                <c:pt idx="2169">
                  <c:v>39659</c:v>
                </c:pt>
                <c:pt idx="2170">
                  <c:v>39660</c:v>
                </c:pt>
                <c:pt idx="2171">
                  <c:v>39661</c:v>
                </c:pt>
                <c:pt idx="2172">
                  <c:v>39664</c:v>
                </c:pt>
                <c:pt idx="2173">
                  <c:v>39665</c:v>
                </c:pt>
                <c:pt idx="2174">
                  <c:v>39666</c:v>
                </c:pt>
                <c:pt idx="2175">
                  <c:v>39667</c:v>
                </c:pt>
                <c:pt idx="2176">
                  <c:v>39668</c:v>
                </c:pt>
                <c:pt idx="2177">
                  <c:v>39671</c:v>
                </c:pt>
                <c:pt idx="2178">
                  <c:v>39672</c:v>
                </c:pt>
                <c:pt idx="2179">
                  <c:v>39673</c:v>
                </c:pt>
                <c:pt idx="2180">
                  <c:v>39674</c:v>
                </c:pt>
                <c:pt idx="2181">
                  <c:v>39675</c:v>
                </c:pt>
                <c:pt idx="2182">
                  <c:v>39678</c:v>
                </c:pt>
                <c:pt idx="2183">
                  <c:v>39679</c:v>
                </c:pt>
                <c:pt idx="2184">
                  <c:v>39680</c:v>
                </c:pt>
                <c:pt idx="2185">
                  <c:v>39681</c:v>
                </c:pt>
                <c:pt idx="2186">
                  <c:v>39682</c:v>
                </c:pt>
                <c:pt idx="2187">
                  <c:v>39685</c:v>
                </c:pt>
                <c:pt idx="2188">
                  <c:v>39686</c:v>
                </c:pt>
                <c:pt idx="2189">
                  <c:v>39687</c:v>
                </c:pt>
                <c:pt idx="2190">
                  <c:v>39688</c:v>
                </c:pt>
                <c:pt idx="2191">
                  <c:v>39689</c:v>
                </c:pt>
                <c:pt idx="2192">
                  <c:v>39692</c:v>
                </c:pt>
                <c:pt idx="2193">
                  <c:v>39693</c:v>
                </c:pt>
                <c:pt idx="2194">
                  <c:v>39694</c:v>
                </c:pt>
                <c:pt idx="2195">
                  <c:v>39695</c:v>
                </c:pt>
                <c:pt idx="2196">
                  <c:v>39696</c:v>
                </c:pt>
                <c:pt idx="2197">
                  <c:v>39699</c:v>
                </c:pt>
                <c:pt idx="2198">
                  <c:v>39700</c:v>
                </c:pt>
                <c:pt idx="2199">
                  <c:v>39701</c:v>
                </c:pt>
                <c:pt idx="2200">
                  <c:v>39702</c:v>
                </c:pt>
                <c:pt idx="2201">
                  <c:v>39703</c:v>
                </c:pt>
                <c:pt idx="2202">
                  <c:v>39706</c:v>
                </c:pt>
                <c:pt idx="2203">
                  <c:v>39707</c:v>
                </c:pt>
                <c:pt idx="2204">
                  <c:v>39708</c:v>
                </c:pt>
                <c:pt idx="2205">
                  <c:v>39709</c:v>
                </c:pt>
                <c:pt idx="2206">
                  <c:v>39710</c:v>
                </c:pt>
                <c:pt idx="2207">
                  <c:v>39713</c:v>
                </c:pt>
                <c:pt idx="2208">
                  <c:v>39714</c:v>
                </c:pt>
                <c:pt idx="2209">
                  <c:v>39715</c:v>
                </c:pt>
                <c:pt idx="2210">
                  <c:v>39716</c:v>
                </c:pt>
                <c:pt idx="2211">
                  <c:v>39717</c:v>
                </c:pt>
                <c:pt idx="2212">
                  <c:v>39720</c:v>
                </c:pt>
                <c:pt idx="2213">
                  <c:v>39721</c:v>
                </c:pt>
                <c:pt idx="2214">
                  <c:v>39722</c:v>
                </c:pt>
                <c:pt idx="2215">
                  <c:v>39723</c:v>
                </c:pt>
                <c:pt idx="2216">
                  <c:v>39724</c:v>
                </c:pt>
                <c:pt idx="2217">
                  <c:v>39727</c:v>
                </c:pt>
                <c:pt idx="2218">
                  <c:v>39728</c:v>
                </c:pt>
                <c:pt idx="2219">
                  <c:v>39729</c:v>
                </c:pt>
                <c:pt idx="2220">
                  <c:v>39730</c:v>
                </c:pt>
                <c:pt idx="2221">
                  <c:v>39731</c:v>
                </c:pt>
                <c:pt idx="2222">
                  <c:v>39734</c:v>
                </c:pt>
                <c:pt idx="2223">
                  <c:v>39735</c:v>
                </c:pt>
                <c:pt idx="2224">
                  <c:v>39736</c:v>
                </c:pt>
                <c:pt idx="2225">
                  <c:v>39737</c:v>
                </c:pt>
                <c:pt idx="2226">
                  <c:v>39738</c:v>
                </c:pt>
                <c:pt idx="2227">
                  <c:v>39741</c:v>
                </c:pt>
                <c:pt idx="2228">
                  <c:v>39742</c:v>
                </c:pt>
                <c:pt idx="2229">
                  <c:v>39743</c:v>
                </c:pt>
                <c:pt idx="2230">
                  <c:v>39744</c:v>
                </c:pt>
                <c:pt idx="2231">
                  <c:v>39745</c:v>
                </c:pt>
                <c:pt idx="2232">
                  <c:v>39748</c:v>
                </c:pt>
                <c:pt idx="2233">
                  <c:v>39749</c:v>
                </c:pt>
                <c:pt idx="2234">
                  <c:v>39750</c:v>
                </c:pt>
                <c:pt idx="2235">
                  <c:v>39751</c:v>
                </c:pt>
                <c:pt idx="2236">
                  <c:v>39752</c:v>
                </c:pt>
                <c:pt idx="2237">
                  <c:v>39755</c:v>
                </c:pt>
                <c:pt idx="2238">
                  <c:v>39756</c:v>
                </c:pt>
                <c:pt idx="2239">
                  <c:v>39757</c:v>
                </c:pt>
                <c:pt idx="2240">
                  <c:v>39758</c:v>
                </c:pt>
                <c:pt idx="2241">
                  <c:v>39759</c:v>
                </c:pt>
                <c:pt idx="2242">
                  <c:v>39762</c:v>
                </c:pt>
                <c:pt idx="2243">
                  <c:v>39763</c:v>
                </c:pt>
                <c:pt idx="2244">
                  <c:v>39764</c:v>
                </c:pt>
                <c:pt idx="2245">
                  <c:v>39765</c:v>
                </c:pt>
                <c:pt idx="2246">
                  <c:v>39766</c:v>
                </c:pt>
                <c:pt idx="2247">
                  <c:v>39769</c:v>
                </c:pt>
                <c:pt idx="2248">
                  <c:v>39770</c:v>
                </c:pt>
                <c:pt idx="2249">
                  <c:v>39771</c:v>
                </c:pt>
                <c:pt idx="2250">
                  <c:v>39772</c:v>
                </c:pt>
                <c:pt idx="2251">
                  <c:v>39773</c:v>
                </c:pt>
                <c:pt idx="2252">
                  <c:v>39776</c:v>
                </c:pt>
                <c:pt idx="2253">
                  <c:v>39777</c:v>
                </c:pt>
                <c:pt idx="2254">
                  <c:v>39778</c:v>
                </c:pt>
                <c:pt idx="2255">
                  <c:v>39779</c:v>
                </c:pt>
                <c:pt idx="2256">
                  <c:v>39780</c:v>
                </c:pt>
                <c:pt idx="2257">
                  <c:v>39783</c:v>
                </c:pt>
                <c:pt idx="2258">
                  <c:v>39784</c:v>
                </c:pt>
                <c:pt idx="2259">
                  <c:v>39785</c:v>
                </c:pt>
                <c:pt idx="2260">
                  <c:v>39786</c:v>
                </c:pt>
                <c:pt idx="2261">
                  <c:v>39787</c:v>
                </c:pt>
                <c:pt idx="2262">
                  <c:v>39790</c:v>
                </c:pt>
                <c:pt idx="2263">
                  <c:v>39791</c:v>
                </c:pt>
                <c:pt idx="2264">
                  <c:v>39792</c:v>
                </c:pt>
                <c:pt idx="2265">
                  <c:v>39793</c:v>
                </c:pt>
                <c:pt idx="2266">
                  <c:v>39794</c:v>
                </c:pt>
                <c:pt idx="2267">
                  <c:v>39797</c:v>
                </c:pt>
                <c:pt idx="2268">
                  <c:v>39798</c:v>
                </c:pt>
                <c:pt idx="2269">
                  <c:v>39799</c:v>
                </c:pt>
                <c:pt idx="2270">
                  <c:v>39800</c:v>
                </c:pt>
                <c:pt idx="2271">
                  <c:v>39801</c:v>
                </c:pt>
                <c:pt idx="2272">
                  <c:v>39804</c:v>
                </c:pt>
                <c:pt idx="2273">
                  <c:v>39805</c:v>
                </c:pt>
                <c:pt idx="2274">
                  <c:v>39806</c:v>
                </c:pt>
                <c:pt idx="2275">
                  <c:v>39811</c:v>
                </c:pt>
                <c:pt idx="2276">
                  <c:v>39812</c:v>
                </c:pt>
                <c:pt idx="2277">
                  <c:v>39813</c:v>
                </c:pt>
                <c:pt idx="2278">
                  <c:v>39815</c:v>
                </c:pt>
                <c:pt idx="2279">
                  <c:v>39818</c:v>
                </c:pt>
                <c:pt idx="2280">
                  <c:v>39819</c:v>
                </c:pt>
                <c:pt idx="2281">
                  <c:v>39820</c:v>
                </c:pt>
                <c:pt idx="2282">
                  <c:v>39821</c:v>
                </c:pt>
                <c:pt idx="2283">
                  <c:v>39822</c:v>
                </c:pt>
                <c:pt idx="2284">
                  <c:v>39825</c:v>
                </c:pt>
                <c:pt idx="2285">
                  <c:v>39826</c:v>
                </c:pt>
                <c:pt idx="2286">
                  <c:v>39827</c:v>
                </c:pt>
                <c:pt idx="2287">
                  <c:v>39828</c:v>
                </c:pt>
                <c:pt idx="2288">
                  <c:v>39829</c:v>
                </c:pt>
                <c:pt idx="2289">
                  <c:v>39832</c:v>
                </c:pt>
                <c:pt idx="2290">
                  <c:v>39833</c:v>
                </c:pt>
                <c:pt idx="2291">
                  <c:v>39834</c:v>
                </c:pt>
                <c:pt idx="2292">
                  <c:v>39835</c:v>
                </c:pt>
                <c:pt idx="2293">
                  <c:v>39836</c:v>
                </c:pt>
                <c:pt idx="2294">
                  <c:v>39839</c:v>
                </c:pt>
                <c:pt idx="2295">
                  <c:v>39840</c:v>
                </c:pt>
                <c:pt idx="2296">
                  <c:v>39841</c:v>
                </c:pt>
                <c:pt idx="2297">
                  <c:v>39842</c:v>
                </c:pt>
                <c:pt idx="2298">
                  <c:v>39843</c:v>
                </c:pt>
                <c:pt idx="2299">
                  <c:v>39846</c:v>
                </c:pt>
                <c:pt idx="2300">
                  <c:v>39847</c:v>
                </c:pt>
                <c:pt idx="2301">
                  <c:v>39848</c:v>
                </c:pt>
                <c:pt idx="2302">
                  <c:v>39849</c:v>
                </c:pt>
                <c:pt idx="2303">
                  <c:v>39850</c:v>
                </c:pt>
                <c:pt idx="2304">
                  <c:v>39853</c:v>
                </c:pt>
                <c:pt idx="2305">
                  <c:v>39854</c:v>
                </c:pt>
                <c:pt idx="2306">
                  <c:v>39855</c:v>
                </c:pt>
                <c:pt idx="2307">
                  <c:v>39856</c:v>
                </c:pt>
                <c:pt idx="2308">
                  <c:v>39857</c:v>
                </c:pt>
                <c:pt idx="2309">
                  <c:v>39860</c:v>
                </c:pt>
                <c:pt idx="2310">
                  <c:v>39861</c:v>
                </c:pt>
                <c:pt idx="2311">
                  <c:v>39862</c:v>
                </c:pt>
                <c:pt idx="2312">
                  <c:v>39863</c:v>
                </c:pt>
                <c:pt idx="2313">
                  <c:v>39864</c:v>
                </c:pt>
                <c:pt idx="2314">
                  <c:v>39867</c:v>
                </c:pt>
                <c:pt idx="2315">
                  <c:v>39868</c:v>
                </c:pt>
                <c:pt idx="2316">
                  <c:v>39869</c:v>
                </c:pt>
                <c:pt idx="2317">
                  <c:v>39870</c:v>
                </c:pt>
                <c:pt idx="2318">
                  <c:v>39871</c:v>
                </c:pt>
                <c:pt idx="2319">
                  <c:v>39874</c:v>
                </c:pt>
                <c:pt idx="2320">
                  <c:v>39875</c:v>
                </c:pt>
                <c:pt idx="2321">
                  <c:v>39876</c:v>
                </c:pt>
                <c:pt idx="2322">
                  <c:v>39877</c:v>
                </c:pt>
                <c:pt idx="2323">
                  <c:v>39878</c:v>
                </c:pt>
                <c:pt idx="2324">
                  <c:v>39881</c:v>
                </c:pt>
                <c:pt idx="2325">
                  <c:v>39882</c:v>
                </c:pt>
                <c:pt idx="2326">
                  <c:v>39883</c:v>
                </c:pt>
                <c:pt idx="2327">
                  <c:v>39884</c:v>
                </c:pt>
                <c:pt idx="2328">
                  <c:v>39885</c:v>
                </c:pt>
                <c:pt idx="2329">
                  <c:v>39888</c:v>
                </c:pt>
                <c:pt idx="2330">
                  <c:v>39889</c:v>
                </c:pt>
                <c:pt idx="2331">
                  <c:v>39890</c:v>
                </c:pt>
                <c:pt idx="2332">
                  <c:v>39891</c:v>
                </c:pt>
                <c:pt idx="2333">
                  <c:v>39892</c:v>
                </c:pt>
                <c:pt idx="2334">
                  <c:v>39895</c:v>
                </c:pt>
                <c:pt idx="2335">
                  <c:v>39896</c:v>
                </c:pt>
                <c:pt idx="2336">
                  <c:v>39897</c:v>
                </c:pt>
                <c:pt idx="2337">
                  <c:v>39898</c:v>
                </c:pt>
                <c:pt idx="2338">
                  <c:v>39899</c:v>
                </c:pt>
                <c:pt idx="2339">
                  <c:v>39902</c:v>
                </c:pt>
                <c:pt idx="2340">
                  <c:v>39903</c:v>
                </c:pt>
                <c:pt idx="2341">
                  <c:v>39904</c:v>
                </c:pt>
                <c:pt idx="2342">
                  <c:v>39905</c:v>
                </c:pt>
                <c:pt idx="2343">
                  <c:v>39906</c:v>
                </c:pt>
                <c:pt idx="2344">
                  <c:v>39909</c:v>
                </c:pt>
                <c:pt idx="2345">
                  <c:v>39910</c:v>
                </c:pt>
                <c:pt idx="2346">
                  <c:v>39911</c:v>
                </c:pt>
                <c:pt idx="2347">
                  <c:v>39912</c:v>
                </c:pt>
                <c:pt idx="2348">
                  <c:v>39917</c:v>
                </c:pt>
                <c:pt idx="2349">
                  <c:v>39918</c:v>
                </c:pt>
                <c:pt idx="2350">
                  <c:v>39919</c:v>
                </c:pt>
                <c:pt idx="2351">
                  <c:v>39920</c:v>
                </c:pt>
                <c:pt idx="2352">
                  <c:v>39923</c:v>
                </c:pt>
                <c:pt idx="2353">
                  <c:v>39924</c:v>
                </c:pt>
                <c:pt idx="2354">
                  <c:v>39925</c:v>
                </c:pt>
                <c:pt idx="2355">
                  <c:v>39926</c:v>
                </c:pt>
                <c:pt idx="2356">
                  <c:v>39927</c:v>
                </c:pt>
                <c:pt idx="2357">
                  <c:v>39930</c:v>
                </c:pt>
                <c:pt idx="2358">
                  <c:v>39931</c:v>
                </c:pt>
                <c:pt idx="2359">
                  <c:v>39932</c:v>
                </c:pt>
                <c:pt idx="2360">
                  <c:v>39933</c:v>
                </c:pt>
                <c:pt idx="2361">
                  <c:v>39934</c:v>
                </c:pt>
                <c:pt idx="2362">
                  <c:v>39937</c:v>
                </c:pt>
                <c:pt idx="2363">
                  <c:v>39938</c:v>
                </c:pt>
                <c:pt idx="2364">
                  <c:v>39939</c:v>
                </c:pt>
                <c:pt idx="2365">
                  <c:v>39940</c:v>
                </c:pt>
                <c:pt idx="2366">
                  <c:v>39941</c:v>
                </c:pt>
                <c:pt idx="2367">
                  <c:v>39944</c:v>
                </c:pt>
                <c:pt idx="2368">
                  <c:v>39945</c:v>
                </c:pt>
                <c:pt idx="2369">
                  <c:v>39946</c:v>
                </c:pt>
                <c:pt idx="2370">
                  <c:v>39947</c:v>
                </c:pt>
                <c:pt idx="2371">
                  <c:v>39948</c:v>
                </c:pt>
                <c:pt idx="2372">
                  <c:v>39951</c:v>
                </c:pt>
                <c:pt idx="2373">
                  <c:v>39952</c:v>
                </c:pt>
                <c:pt idx="2374">
                  <c:v>39953</c:v>
                </c:pt>
                <c:pt idx="2375">
                  <c:v>39954</c:v>
                </c:pt>
                <c:pt idx="2376">
                  <c:v>39955</c:v>
                </c:pt>
                <c:pt idx="2377">
                  <c:v>39958</c:v>
                </c:pt>
                <c:pt idx="2378">
                  <c:v>39959</c:v>
                </c:pt>
                <c:pt idx="2379">
                  <c:v>39960</c:v>
                </c:pt>
                <c:pt idx="2380">
                  <c:v>39961</c:v>
                </c:pt>
                <c:pt idx="2381">
                  <c:v>39962</c:v>
                </c:pt>
                <c:pt idx="2382">
                  <c:v>39965</c:v>
                </c:pt>
                <c:pt idx="2383">
                  <c:v>39966</c:v>
                </c:pt>
                <c:pt idx="2384">
                  <c:v>39967</c:v>
                </c:pt>
                <c:pt idx="2385">
                  <c:v>39968</c:v>
                </c:pt>
                <c:pt idx="2386">
                  <c:v>39969</c:v>
                </c:pt>
                <c:pt idx="2387">
                  <c:v>39972</c:v>
                </c:pt>
                <c:pt idx="2388">
                  <c:v>39973</c:v>
                </c:pt>
                <c:pt idx="2389">
                  <c:v>39974</c:v>
                </c:pt>
                <c:pt idx="2390">
                  <c:v>39975</c:v>
                </c:pt>
                <c:pt idx="2391">
                  <c:v>39976</c:v>
                </c:pt>
                <c:pt idx="2392">
                  <c:v>39979</c:v>
                </c:pt>
                <c:pt idx="2393">
                  <c:v>39980</c:v>
                </c:pt>
                <c:pt idx="2394">
                  <c:v>39981</c:v>
                </c:pt>
                <c:pt idx="2395">
                  <c:v>39982</c:v>
                </c:pt>
                <c:pt idx="2396">
                  <c:v>39983</c:v>
                </c:pt>
                <c:pt idx="2397">
                  <c:v>39986</c:v>
                </c:pt>
                <c:pt idx="2398">
                  <c:v>39987</c:v>
                </c:pt>
                <c:pt idx="2399">
                  <c:v>39988</c:v>
                </c:pt>
                <c:pt idx="2400">
                  <c:v>39989</c:v>
                </c:pt>
                <c:pt idx="2401">
                  <c:v>39990</c:v>
                </c:pt>
                <c:pt idx="2402">
                  <c:v>39993</c:v>
                </c:pt>
                <c:pt idx="2403">
                  <c:v>39994</c:v>
                </c:pt>
                <c:pt idx="2404">
                  <c:v>39995</c:v>
                </c:pt>
                <c:pt idx="2405">
                  <c:v>39996</c:v>
                </c:pt>
                <c:pt idx="2406">
                  <c:v>39997</c:v>
                </c:pt>
                <c:pt idx="2407">
                  <c:v>40000</c:v>
                </c:pt>
                <c:pt idx="2408">
                  <c:v>40001</c:v>
                </c:pt>
                <c:pt idx="2409">
                  <c:v>40002</c:v>
                </c:pt>
                <c:pt idx="2410">
                  <c:v>40003</c:v>
                </c:pt>
                <c:pt idx="2411">
                  <c:v>40004</c:v>
                </c:pt>
                <c:pt idx="2412">
                  <c:v>40007</c:v>
                </c:pt>
                <c:pt idx="2413">
                  <c:v>40008</c:v>
                </c:pt>
                <c:pt idx="2414">
                  <c:v>40009</c:v>
                </c:pt>
                <c:pt idx="2415">
                  <c:v>40010</c:v>
                </c:pt>
                <c:pt idx="2416">
                  <c:v>40011</c:v>
                </c:pt>
                <c:pt idx="2417">
                  <c:v>40014</c:v>
                </c:pt>
                <c:pt idx="2418">
                  <c:v>40015</c:v>
                </c:pt>
                <c:pt idx="2419">
                  <c:v>40016</c:v>
                </c:pt>
                <c:pt idx="2420">
                  <c:v>40017</c:v>
                </c:pt>
                <c:pt idx="2421">
                  <c:v>40018</c:v>
                </c:pt>
                <c:pt idx="2422">
                  <c:v>40021</c:v>
                </c:pt>
                <c:pt idx="2423">
                  <c:v>40022</c:v>
                </c:pt>
                <c:pt idx="2424">
                  <c:v>40023</c:v>
                </c:pt>
                <c:pt idx="2425">
                  <c:v>40024</c:v>
                </c:pt>
                <c:pt idx="2426">
                  <c:v>40025</c:v>
                </c:pt>
                <c:pt idx="2427">
                  <c:v>40028</c:v>
                </c:pt>
                <c:pt idx="2428">
                  <c:v>40029</c:v>
                </c:pt>
                <c:pt idx="2429">
                  <c:v>40030</c:v>
                </c:pt>
                <c:pt idx="2430">
                  <c:v>40031</c:v>
                </c:pt>
                <c:pt idx="2431">
                  <c:v>40032</c:v>
                </c:pt>
                <c:pt idx="2432">
                  <c:v>40035</c:v>
                </c:pt>
                <c:pt idx="2433">
                  <c:v>40036</c:v>
                </c:pt>
                <c:pt idx="2434">
                  <c:v>40037</c:v>
                </c:pt>
                <c:pt idx="2435">
                  <c:v>40038</c:v>
                </c:pt>
                <c:pt idx="2436">
                  <c:v>40039</c:v>
                </c:pt>
                <c:pt idx="2437">
                  <c:v>40042</c:v>
                </c:pt>
                <c:pt idx="2438">
                  <c:v>40043</c:v>
                </c:pt>
                <c:pt idx="2439">
                  <c:v>40044</c:v>
                </c:pt>
                <c:pt idx="2440">
                  <c:v>40045</c:v>
                </c:pt>
                <c:pt idx="2441">
                  <c:v>40046</c:v>
                </c:pt>
                <c:pt idx="2442">
                  <c:v>40049</c:v>
                </c:pt>
                <c:pt idx="2443">
                  <c:v>40050</c:v>
                </c:pt>
                <c:pt idx="2444">
                  <c:v>40051</c:v>
                </c:pt>
                <c:pt idx="2445">
                  <c:v>40052</c:v>
                </c:pt>
                <c:pt idx="2446">
                  <c:v>40053</c:v>
                </c:pt>
                <c:pt idx="2447">
                  <c:v>40056</c:v>
                </c:pt>
                <c:pt idx="2448">
                  <c:v>40057</c:v>
                </c:pt>
                <c:pt idx="2449">
                  <c:v>40058</c:v>
                </c:pt>
                <c:pt idx="2450">
                  <c:v>40059</c:v>
                </c:pt>
                <c:pt idx="2451">
                  <c:v>40060</c:v>
                </c:pt>
                <c:pt idx="2452">
                  <c:v>40063</c:v>
                </c:pt>
                <c:pt idx="2453">
                  <c:v>40064</c:v>
                </c:pt>
                <c:pt idx="2454">
                  <c:v>40065</c:v>
                </c:pt>
                <c:pt idx="2455">
                  <c:v>40066</c:v>
                </c:pt>
                <c:pt idx="2456">
                  <c:v>40067</c:v>
                </c:pt>
                <c:pt idx="2457">
                  <c:v>40070</c:v>
                </c:pt>
                <c:pt idx="2458">
                  <c:v>40071</c:v>
                </c:pt>
                <c:pt idx="2459">
                  <c:v>40072</c:v>
                </c:pt>
                <c:pt idx="2460">
                  <c:v>40073</c:v>
                </c:pt>
                <c:pt idx="2461">
                  <c:v>40074</c:v>
                </c:pt>
                <c:pt idx="2462">
                  <c:v>40077</c:v>
                </c:pt>
                <c:pt idx="2463">
                  <c:v>40078</c:v>
                </c:pt>
                <c:pt idx="2464">
                  <c:v>40079</c:v>
                </c:pt>
                <c:pt idx="2465">
                  <c:v>40080</c:v>
                </c:pt>
                <c:pt idx="2466">
                  <c:v>40081</c:v>
                </c:pt>
                <c:pt idx="2467">
                  <c:v>40084</c:v>
                </c:pt>
                <c:pt idx="2468">
                  <c:v>40085</c:v>
                </c:pt>
                <c:pt idx="2469">
                  <c:v>40086</c:v>
                </c:pt>
                <c:pt idx="2470">
                  <c:v>40087</c:v>
                </c:pt>
                <c:pt idx="2471">
                  <c:v>40088</c:v>
                </c:pt>
                <c:pt idx="2472">
                  <c:v>40091</c:v>
                </c:pt>
                <c:pt idx="2473">
                  <c:v>40092</c:v>
                </c:pt>
                <c:pt idx="2474">
                  <c:v>40093</c:v>
                </c:pt>
                <c:pt idx="2475">
                  <c:v>40094</c:v>
                </c:pt>
                <c:pt idx="2476">
                  <c:v>40095</c:v>
                </c:pt>
                <c:pt idx="2477">
                  <c:v>40098</c:v>
                </c:pt>
                <c:pt idx="2478">
                  <c:v>40099</c:v>
                </c:pt>
                <c:pt idx="2479">
                  <c:v>40100</c:v>
                </c:pt>
                <c:pt idx="2480">
                  <c:v>40101</c:v>
                </c:pt>
                <c:pt idx="2481">
                  <c:v>40102</c:v>
                </c:pt>
                <c:pt idx="2482">
                  <c:v>40105</c:v>
                </c:pt>
                <c:pt idx="2483">
                  <c:v>40106</c:v>
                </c:pt>
                <c:pt idx="2484">
                  <c:v>40107</c:v>
                </c:pt>
                <c:pt idx="2485">
                  <c:v>40108</c:v>
                </c:pt>
                <c:pt idx="2486">
                  <c:v>40109</c:v>
                </c:pt>
                <c:pt idx="2487">
                  <c:v>40112</c:v>
                </c:pt>
                <c:pt idx="2488">
                  <c:v>40113</c:v>
                </c:pt>
                <c:pt idx="2489">
                  <c:v>40114</c:v>
                </c:pt>
                <c:pt idx="2490">
                  <c:v>40115</c:v>
                </c:pt>
                <c:pt idx="2491">
                  <c:v>40116</c:v>
                </c:pt>
                <c:pt idx="2492">
                  <c:v>40119</c:v>
                </c:pt>
                <c:pt idx="2493">
                  <c:v>40120</c:v>
                </c:pt>
                <c:pt idx="2494">
                  <c:v>40121</c:v>
                </c:pt>
                <c:pt idx="2495">
                  <c:v>40122</c:v>
                </c:pt>
                <c:pt idx="2496">
                  <c:v>40123</c:v>
                </c:pt>
                <c:pt idx="2497">
                  <c:v>40126</c:v>
                </c:pt>
                <c:pt idx="2498">
                  <c:v>40127</c:v>
                </c:pt>
                <c:pt idx="2499">
                  <c:v>40128</c:v>
                </c:pt>
                <c:pt idx="2500">
                  <c:v>40129</c:v>
                </c:pt>
                <c:pt idx="2501">
                  <c:v>40130</c:v>
                </c:pt>
                <c:pt idx="2502">
                  <c:v>40133</c:v>
                </c:pt>
                <c:pt idx="2503">
                  <c:v>40134</c:v>
                </c:pt>
                <c:pt idx="2504">
                  <c:v>40135</c:v>
                </c:pt>
                <c:pt idx="2505">
                  <c:v>40136</c:v>
                </c:pt>
                <c:pt idx="2506">
                  <c:v>40137</c:v>
                </c:pt>
                <c:pt idx="2507">
                  <c:v>40140</c:v>
                </c:pt>
                <c:pt idx="2508">
                  <c:v>40141</c:v>
                </c:pt>
                <c:pt idx="2509">
                  <c:v>40142</c:v>
                </c:pt>
                <c:pt idx="2510">
                  <c:v>40143</c:v>
                </c:pt>
                <c:pt idx="2511">
                  <c:v>40144</c:v>
                </c:pt>
                <c:pt idx="2512">
                  <c:v>40147</c:v>
                </c:pt>
                <c:pt idx="2513">
                  <c:v>40148</c:v>
                </c:pt>
                <c:pt idx="2514">
                  <c:v>40149</c:v>
                </c:pt>
                <c:pt idx="2515">
                  <c:v>40150</c:v>
                </c:pt>
                <c:pt idx="2516">
                  <c:v>40151</c:v>
                </c:pt>
                <c:pt idx="2517">
                  <c:v>40154</c:v>
                </c:pt>
                <c:pt idx="2518">
                  <c:v>40155</c:v>
                </c:pt>
                <c:pt idx="2519">
                  <c:v>40156</c:v>
                </c:pt>
                <c:pt idx="2520">
                  <c:v>40157</c:v>
                </c:pt>
                <c:pt idx="2521">
                  <c:v>40158</c:v>
                </c:pt>
                <c:pt idx="2522">
                  <c:v>40161</c:v>
                </c:pt>
                <c:pt idx="2523">
                  <c:v>40162</c:v>
                </c:pt>
                <c:pt idx="2524">
                  <c:v>40163</c:v>
                </c:pt>
                <c:pt idx="2525">
                  <c:v>40164</c:v>
                </c:pt>
                <c:pt idx="2526">
                  <c:v>40165</c:v>
                </c:pt>
                <c:pt idx="2527">
                  <c:v>40168</c:v>
                </c:pt>
                <c:pt idx="2528">
                  <c:v>40169</c:v>
                </c:pt>
                <c:pt idx="2529">
                  <c:v>40170</c:v>
                </c:pt>
                <c:pt idx="2530">
                  <c:v>40171</c:v>
                </c:pt>
                <c:pt idx="2531">
                  <c:v>40175</c:v>
                </c:pt>
                <c:pt idx="2532">
                  <c:v>40176</c:v>
                </c:pt>
                <c:pt idx="2533">
                  <c:v>40177</c:v>
                </c:pt>
                <c:pt idx="2534">
                  <c:v>40178</c:v>
                </c:pt>
                <c:pt idx="2535">
                  <c:v>40182</c:v>
                </c:pt>
                <c:pt idx="2536">
                  <c:v>40183</c:v>
                </c:pt>
                <c:pt idx="2537">
                  <c:v>40184</c:v>
                </c:pt>
                <c:pt idx="2538">
                  <c:v>40185</c:v>
                </c:pt>
                <c:pt idx="2539">
                  <c:v>40186</c:v>
                </c:pt>
                <c:pt idx="2540">
                  <c:v>40189</c:v>
                </c:pt>
                <c:pt idx="2541">
                  <c:v>40190</c:v>
                </c:pt>
                <c:pt idx="2542">
                  <c:v>40191</c:v>
                </c:pt>
                <c:pt idx="2543">
                  <c:v>40192</c:v>
                </c:pt>
                <c:pt idx="2544">
                  <c:v>40193</c:v>
                </c:pt>
                <c:pt idx="2545">
                  <c:v>40196</c:v>
                </c:pt>
                <c:pt idx="2546">
                  <c:v>40197</c:v>
                </c:pt>
                <c:pt idx="2547">
                  <c:v>40198</c:v>
                </c:pt>
                <c:pt idx="2548">
                  <c:v>40199</c:v>
                </c:pt>
                <c:pt idx="2549">
                  <c:v>40200</c:v>
                </c:pt>
                <c:pt idx="2550">
                  <c:v>40203</c:v>
                </c:pt>
                <c:pt idx="2551">
                  <c:v>40204</c:v>
                </c:pt>
                <c:pt idx="2552">
                  <c:v>40205</c:v>
                </c:pt>
                <c:pt idx="2553">
                  <c:v>40206</c:v>
                </c:pt>
                <c:pt idx="2554">
                  <c:v>40207</c:v>
                </c:pt>
                <c:pt idx="2555">
                  <c:v>40210</c:v>
                </c:pt>
                <c:pt idx="2556">
                  <c:v>40211</c:v>
                </c:pt>
                <c:pt idx="2557">
                  <c:v>40212</c:v>
                </c:pt>
                <c:pt idx="2558">
                  <c:v>40213</c:v>
                </c:pt>
                <c:pt idx="2559">
                  <c:v>40214</c:v>
                </c:pt>
                <c:pt idx="2560">
                  <c:v>40217</c:v>
                </c:pt>
                <c:pt idx="2561">
                  <c:v>40218</c:v>
                </c:pt>
                <c:pt idx="2562">
                  <c:v>40219</c:v>
                </c:pt>
                <c:pt idx="2563">
                  <c:v>40220</c:v>
                </c:pt>
                <c:pt idx="2564">
                  <c:v>40221</c:v>
                </c:pt>
                <c:pt idx="2565">
                  <c:v>40224</c:v>
                </c:pt>
                <c:pt idx="2566">
                  <c:v>40225</c:v>
                </c:pt>
                <c:pt idx="2567">
                  <c:v>40226</c:v>
                </c:pt>
                <c:pt idx="2568">
                  <c:v>40227</c:v>
                </c:pt>
                <c:pt idx="2569">
                  <c:v>40228</c:v>
                </c:pt>
                <c:pt idx="2570">
                  <c:v>40231</c:v>
                </c:pt>
                <c:pt idx="2571">
                  <c:v>40232</c:v>
                </c:pt>
                <c:pt idx="2572">
                  <c:v>40233</c:v>
                </c:pt>
                <c:pt idx="2573">
                  <c:v>40234</c:v>
                </c:pt>
                <c:pt idx="2574">
                  <c:v>40235</c:v>
                </c:pt>
                <c:pt idx="2575">
                  <c:v>40238</c:v>
                </c:pt>
                <c:pt idx="2576">
                  <c:v>40239</c:v>
                </c:pt>
                <c:pt idx="2577">
                  <c:v>40240</c:v>
                </c:pt>
                <c:pt idx="2578">
                  <c:v>40241</c:v>
                </c:pt>
                <c:pt idx="2579">
                  <c:v>40242</c:v>
                </c:pt>
                <c:pt idx="2580">
                  <c:v>40245</c:v>
                </c:pt>
                <c:pt idx="2581">
                  <c:v>40246</c:v>
                </c:pt>
                <c:pt idx="2582">
                  <c:v>40247</c:v>
                </c:pt>
                <c:pt idx="2583">
                  <c:v>40248</c:v>
                </c:pt>
                <c:pt idx="2584">
                  <c:v>40249</c:v>
                </c:pt>
                <c:pt idx="2585">
                  <c:v>40252</c:v>
                </c:pt>
                <c:pt idx="2586">
                  <c:v>40253</c:v>
                </c:pt>
                <c:pt idx="2587">
                  <c:v>40254</c:v>
                </c:pt>
                <c:pt idx="2588">
                  <c:v>40255</c:v>
                </c:pt>
                <c:pt idx="2589">
                  <c:v>40256</c:v>
                </c:pt>
                <c:pt idx="2590">
                  <c:v>40259</c:v>
                </c:pt>
                <c:pt idx="2591">
                  <c:v>40260</c:v>
                </c:pt>
                <c:pt idx="2592">
                  <c:v>40261</c:v>
                </c:pt>
                <c:pt idx="2593">
                  <c:v>40262</c:v>
                </c:pt>
                <c:pt idx="2594">
                  <c:v>40263</c:v>
                </c:pt>
                <c:pt idx="2595">
                  <c:v>40266</c:v>
                </c:pt>
                <c:pt idx="2596">
                  <c:v>40267</c:v>
                </c:pt>
                <c:pt idx="2597">
                  <c:v>40268</c:v>
                </c:pt>
                <c:pt idx="2598">
                  <c:v>40269</c:v>
                </c:pt>
                <c:pt idx="2599">
                  <c:v>40274</c:v>
                </c:pt>
                <c:pt idx="2600">
                  <c:v>40275</c:v>
                </c:pt>
                <c:pt idx="2601">
                  <c:v>40276</c:v>
                </c:pt>
                <c:pt idx="2602">
                  <c:v>40277</c:v>
                </c:pt>
                <c:pt idx="2603">
                  <c:v>40280</c:v>
                </c:pt>
                <c:pt idx="2604">
                  <c:v>40281</c:v>
                </c:pt>
                <c:pt idx="2605">
                  <c:v>40282</c:v>
                </c:pt>
                <c:pt idx="2606">
                  <c:v>40283</c:v>
                </c:pt>
                <c:pt idx="2607">
                  <c:v>40284</c:v>
                </c:pt>
                <c:pt idx="2608">
                  <c:v>40287</c:v>
                </c:pt>
                <c:pt idx="2609">
                  <c:v>40288</c:v>
                </c:pt>
                <c:pt idx="2610">
                  <c:v>40289</c:v>
                </c:pt>
                <c:pt idx="2611">
                  <c:v>40290</c:v>
                </c:pt>
                <c:pt idx="2612">
                  <c:v>40291</c:v>
                </c:pt>
                <c:pt idx="2613">
                  <c:v>40294</c:v>
                </c:pt>
                <c:pt idx="2614">
                  <c:v>40295</c:v>
                </c:pt>
                <c:pt idx="2615">
                  <c:v>40296</c:v>
                </c:pt>
                <c:pt idx="2616">
                  <c:v>40297</c:v>
                </c:pt>
                <c:pt idx="2617">
                  <c:v>40298</c:v>
                </c:pt>
                <c:pt idx="2618">
                  <c:v>40301</c:v>
                </c:pt>
                <c:pt idx="2619">
                  <c:v>40302</c:v>
                </c:pt>
                <c:pt idx="2620">
                  <c:v>40303</c:v>
                </c:pt>
                <c:pt idx="2621">
                  <c:v>40304</c:v>
                </c:pt>
                <c:pt idx="2622">
                  <c:v>40305</c:v>
                </c:pt>
                <c:pt idx="2623">
                  <c:v>40308</c:v>
                </c:pt>
                <c:pt idx="2624">
                  <c:v>40309</c:v>
                </c:pt>
                <c:pt idx="2625">
                  <c:v>40310</c:v>
                </c:pt>
                <c:pt idx="2626">
                  <c:v>40311</c:v>
                </c:pt>
                <c:pt idx="2627">
                  <c:v>40312</c:v>
                </c:pt>
                <c:pt idx="2628">
                  <c:v>40315</c:v>
                </c:pt>
                <c:pt idx="2629">
                  <c:v>40316</c:v>
                </c:pt>
                <c:pt idx="2630">
                  <c:v>40317</c:v>
                </c:pt>
                <c:pt idx="2631">
                  <c:v>40318</c:v>
                </c:pt>
                <c:pt idx="2632">
                  <c:v>40319</c:v>
                </c:pt>
                <c:pt idx="2633">
                  <c:v>40322</c:v>
                </c:pt>
                <c:pt idx="2634">
                  <c:v>40323</c:v>
                </c:pt>
                <c:pt idx="2635">
                  <c:v>40324</c:v>
                </c:pt>
                <c:pt idx="2636">
                  <c:v>40325</c:v>
                </c:pt>
                <c:pt idx="2637">
                  <c:v>40326</c:v>
                </c:pt>
                <c:pt idx="2638">
                  <c:v>40329</c:v>
                </c:pt>
                <c:pt idx="2639">
                  <c:v>40330</c:v>
                </c:pt>
                <c:pt idx="2640">
                  <c:v>40331</c:v>
                </c:pt>
                <c:pt idx="2641">
                  <c:v>40332</c:v>
                </c:pt>
                <c:pt idx="2642">
                  <c:v>40333</c:v>
                </c:pt>
                <c:pt idx="2643">
                  <c:v>40336</c:v>
                </c:pt>
                <c:pt idx="2644">
                  <c:v>40337</c:v>
                </c:pt>
                <c:pt idx="2645">
                  <c:v>40338</c:v>
                </c:pt>
                <c:pt idx="2646">
                  <c:v>40339</c:v>
                </c:pt>
                <c:pt idx="2647">
                  <c:v>40340</c:v>
                </c:pt>
                <c:pt idx="2648">
                  <c:v>40343</c:v>
                </c:pt>
                <c:pt idx="2649">
                  <c:v>40344</c:v>
                </c:pt>
                <c:pt idx="2650">
                  <c:v>40345</c:v>
                </c:pt>
                <c:pt idx="2651">
                  <c:v>40346</c:v>
                </c:pt>
                <c:pt idx="2652">
                  <c:v>40347</c:v>
                </c:pt>
                <c:pt idx="2653">
                  <c:v>40350</c:v>
                </c:pt>
                <c:pt idx="2654">
                  <c:v>40351</c:v>
                </c:pt>
                <c:pt idx="2655">
                  <c:v>40352</c:v>
                </c:pt>
                <c:pt idx="2656">
                  <c:v>40353</c:v>
                </c:pt>
                <c:pt idx="2657">
                  <c:v>40354</c:v>
                </c:pt>
                <c:pt idx="2658">
                  <c:v>40357</c:v>
                </c:pt>
                <c:pt idx="2659">
                  <c:v>40358</c:v>
                </c:pt>
                <c:pt idx="2660">
                  <c:v>40359</c:v>
                </c:pt>
                <c:pt idx="2661">
                  <c:v>40360</c:v>
                </c:pt>
                <c:pt idx="2662">
                  <c:v>40361</c:v>
                </c:pt>
                <c:pt idx="2663">
                  <c:v>40364</c:v>
                </c:pt>
                <c:pt idx="2664">
                  <c:v>40365</c:v>
                </c:pt>
                <c:pt idx="2665">
                  <c:v>40366</c:v>
                </c:pt>
                <c:pt idx="2666">
                  <c:v>40367</c:v>
                </c:pt>
                <c:pt idx="2667">
                  <c:v>40368</c:v>
                </c:pt>
                <c:pt idx="2668">
                  <c:v>40371</c:v>
                </c:pt>
                <c:pt idx="2669">
                  <c:v>40372</c:v>
                </c:pt>
                <c:pt idx="2670">
                  <c:v>40373</c:v>
                </c:pt>
                <c:pt idx="2671">
                  <c:v>40374</c:v>
                </c:pt>
                <c:pt idx="2672">
                  <c:v>40375</c:v>
                </c:pt>
                <c:pt idx="2673">
                  <c:v>40378</c:v>
                </c:pt>
                <c:pt idx="2674">
                  <c:v>40379</c:v>
                </c:pt>
                <c:pt idx="2675">
                  <c:v>40380</c:v>
                </c:pt>
                <c:pt idx="2676">
                  <c:v>40381</c:v>
                </c:pt>
                <c:pt idx="2677">
                  <c:v>40382</c:v>
                </c:pt>
                <c:pt idx="2678">
                  <c:v>40385</c:v>
                </c:pt>
                <c:pt idx="2679">
                  <c:v>40386</c:v>
                </c:pt>
                <c:pt idx="2680">
                  <c:v>40387</c:v>
                </c:pt>
                <c:pt idx="2681">
                  <c:v>40388</c:v>
                </c:pt>
                <c:pt idx="2682">
                  <c:v>40389</c:v>
                </c:pt>
                <c:pt idx="2683">
                  <c:v>40392</c:v>
                </c:pt>
                <c:pt idx="2684">
                  <c:v>40393</c:v>
                </c:pt>
                <c:pt idx="2685">
                  <c:v>40394</c:v>
                </c:pt>
                <c:pt idx="2686">
                  <c:v>40395</c:v>
                </c:pt>
                <c:pt idx="2687">
                  <c:v>40396</c:v>
                </c:pt>
                <c:pt idx="2688">
                  <c:v>40399</c:v>
                </c:pt>
                <c:pt idx="2689">
                  <c:v>40400</c:v>
                </c:pt>
                <c:pt idx="2690">
                  <c:v>40401</c:v>
                </c:pt>
                <c:pt idx="2691">
                  <c:v>40402</c:v>
                </c:pt>
                <c:pt idx="2692">
                  <c:v>40403</c:v>
                </c:pt>
                <c:pt idx="2693">
                  <c:v>40406</c:v>
                </c:pt>
                <c:pt idx="2694">
                  <c:v>40407</c:v>
                </c:pt>
                <c:pt idx="2695">
                  <c:v>40408</c:v>
                </c:pt>
                <c:pt idx="2696">
                  <c:v>40409</c:v>
                </c:pt>
                <c:pt idx="2697">
                  <c:v>40410</c:v>
                </c:pt>
                <c:pt idx="2698">
                  <c:v>40413</c:v>
                </c:pt>
                <c:pt idx="2699">
                  <c:v>40414</c:v>
                </c:pt>
                <c:pt idx="2700">
                  <c:v>40415</c:v>
                </c:pt>
                <c:pt idx="2701">
                  <c:v>40416</c:v>
                </c:pt>
                <c:pt idx="2702">
                  <c:v>40417</c:v>
                </c:pt>
                <c:pt idx="2703">
                  <c:v>40420</c:v>
                </c:pt>
                <c:pt idx="2704">
                  <c:v>40421</c:v>
                </c:pt>
                <c:pt idx="2705">
                  <c:v>40422</c:v>
                </c:pt>
                <c:pt idx="2706">
                  <c:v>40423</c:v>
                </c:pt>
                <c:pt idx="2707">
                  <c:v>40424</c:v>
                </c:pt>
                <c:pt idx="2708">
                  <c:v>40427</c:v>
                </c:pt>
                <c:pt idx="2709">
                  <c:v>40428</c:v>
                </c:pt>
                <c:pt idx="2710">
                  <c:v>40429</c:v>
                </c:pt>
                <c:pt idx="2711">
                  <c:v>40430</c:v>
                </c:pt>
                <c:pt idx="2712">
                  <c:v>40431</c:v>
                </c:pt>
                <c:pt idx="2713">
                  <c:v>40434</c:v>
                </c:pt>
                <c:pt idx="2714">
                  <c:v>40435</c:v>
                </c:pt>
                <c:pt idx="2715">
                  <c:v>40436</c:v>
                </c:pt>
                <c:pt idx="2716">
                  <c:v>40437</c:v>
                </c:pt>
                <c:pt idx="2717">
                  <c:v>40438</c:v>
                </c:pt>
                <c:pt idx="2718">
                  <c:v>40441</c:v>
                </c:pt>
                <c:pt idx="2719">
                  <c:v>40442</c:v>
                </c:pt>
                <c:pt idx="2720">
                  <c:v>40443</c:v>
                </c:pt>
                <c:pt idx="2721">
                  <c:v>40444</c:v>
                </c:pt>
                <c:pt idx="2722">
                  <c:v>40445</c:v>
                </c:pt>
                <c:pt idx="2723">
                  <c:v>40448</c:v>
                </c:pt>
                <c:pt idx="2724">
                  <c:v>40449</c:v>
                </c:pt>
                <c:pt idx="2725">
                  <c:v>40450</c:v>
                </c:pt>
                <c:pt idx="2726">
                  <c:v>40451</c:v>
                </c:pt>
                <c:pt idx="2727">
                  <c:v>40452</c:v>
                </c:pt>
                <c:pt idx="2728">
                  <c:v>40455</c:v>
                </c:pt>
                <c:pt idx="2729">
                  <c:v>40456</c:v>
                </c:pt>
                <c:pt idx="2730">
                  <c:v>40457</c:v>
                </c:pt>
                <c:pt idx="2731">
                  <c:v>40458</c:v>
                </c:pt>
                <c:pt idx="2732">
                  <c:v>40459</c:v>
                </c:pt>
                <c:pt idx="2733">
                  <c:v>40462</c:v>
                </c:pt>
                <c:pt idx="2734">
                  <c:v>40463</c:v>
                </c:pt>
                <c:pt idx="2735">
                  <c:v>40464</c:v>
                </c:pt>
                <c:pt idx="2736">
                  <c:v>40465</c:v>
                </c:pt>
                <c:pt idx="2737">
                  <c:v>40466</c:v>
                </c:pt>
                <c:pt idx="2738">
                  <c:v>40469</c:v>
                </c:pt>
                <c:pt idx="2739">
                  <c:v>40470</c:v>
                </c:pt>
                <c:pt idx="2740">
                  <c:v>40471</c:v>
                </c:pt>
                <c:pt idx="2741">
                  <c:v>40472</c:v>
                </c:pt>
                <c:pt idx="2742">
                  <c:v>40473</c:v>
                </c:pt>
                <c:pt idx="2743">
                  <c:v>40476</c:v>
                </c:pt>
                <c:pt idx="2744">
                  <c:v>40477</c:v>
                </c:pt>
                <c:pt idx="2745">
                  <c:v>40478</c:v>
                </c:pt>
                <c:pt idx="2746">
                  <c:v>40479</c:v>
                </c:pt>
                <c:pt idx="2747">
                  <c:v>40480</c:v>
                </c:pt>
                <c:pt idx="2748">
                  <c:v>40483</c:v>
                </c:pt>
                <c:pt idx="2749">
                  <c:v>40484</c:v>
                </c:pt>
                <c:pt idx="2750">
                  <c:v>40485</c:v>
                </c:pt>
                <c:pt idx="2751">
                  <c:v>40486</c:v>
                </c:pt>
                <c:pt idx="2752">
                  <c:v>40487</c:v>
                </c:pt>
                <c:pt idx="2753">
                  <c:v>40490</c:v>
                </c:pt>
                <c:pt idx="2754">
                  <c:v>40491</c:v>
                </c:pt>
                <c:pt idx="2755">
                  <c:v>40492</c:v>
                </c:pt>
                <c:pt idx="2756">
                  <c:v>40493</c:v>
                </c:pt>
                <c:pt idx="2757">
                  <c:v>40494</c:v>
                </c:pt>
                <c:pt idx="2758">
                  <c:v>40497</c:v>
                </c:pt>
                <c:pt idx="2759">
                  <c:v>40498</c:v>
                </c:pt>
                <c:pt idx="2760">
                  <c:v>40499</c:v>
                </c:pt>
                <c:pt idx="2761">
                  <c:v>40500</c:v>
                </c:pt>
                <c:pt idx="2762">
                  <c:v>40501</c:v>
                </c:pt>
                <c:pt idx="2763">
                  <c:v>40504</c:v>
                </c:pt>
                <c:pt idx="2764">
                  <c:v>40505</c:v>
                </c:pt>
                <c:pt idx="2765">
                  <c:v>40506</c:v>
                </c:pt>
                <c:pt idx="2766">
                  <c:v>40507</c:v>
                </c:pt>
                <c:pt idx="2767">
                  <c:v>40508</c:v>
                </c:pt>
                <c:pt idx="2768">
                  <c:v>40511</c:v>
                </c:pt>
                <c:pt idx="2769">
                  <c:v>40512</c:v>
                </c:pt>
                <c:pt idx="2770">
                  <c:v>40513</c:v>
                </c:pt>
                <c:pt idx="2771">
                  <c:v>40514</c:v>
                </c:pt>
                <c:pt idx="2772">
                  <c:v>40515</c:v>
                </c:pt>
                <c:pt idx="2773">
                  <c:v>40518</c:v>
                </c:pt>
                <c:pt idx="2774">
                  <c:v>40519</c:v>
                </c:pt>
                <c:pt idx="2775">
                  <c:v>40520</c:v>
                </c:pt>
                <c:pt idx="2776">
                  <c:v>40521</c:v>
                </c:pt>
                <c:pt idx="2777">
                  <c:v>40522</c:v>
                </c:pt>
                <c:pt idx="2778">
                  <c:v>40525</c:v>
                </c:pt>
                <c:pt idx="2779">
                  <c:v>40526</c:v>
                </c:pt>
                <c:pt idx="2780">
                  <c:v>40527</c:v>
                </c:pt>
                <c:pt idx="2781">
                  <c:v>40528</c:v>
                </c:pt>
                <c:pt idx="2782">
                  <c:v>40529</c:v>
                </c:pt>
                <c:pt idx="2783">
                  <c:v>40532</c:v>
                </c:pt>
                <c:pt idx="2784">
                  <c:v>40533</c:v>
                </c:pt>
                <c:pt idx="2785">
                  <c:v>40534</c:v>
                </c:pt>
                <c:pt idx="2786">
                  <c:v>40535</c:v>
                </c:pt>
                <c:pt idx="2787">
                  <c:v>40536</c:v>
                </c:pt>
                <c:pt idx="2788">
                  <c:v>40539</c:v>
                </c:pt>
                <c:pt idx="2789">
                  <c:v>40540</c:v>
                </c:pt>
                <c:pt idx="2790">
                  <c:v>40541</c:v>
                </c:pt>
                <c:pt idx="2791">
                  <c:v>40542</c:v>
                </c:pt>
                <c:pt idx="2792">
                  <c:v>40543</c:v>
                </c:pt>
                <c:pt idx="2793">
                  <c:v>40546</c:v>
                </c:pt>
                <c:pt idx="2794">
                  <c:v>40547</c:v>
                </c:pt>
                <c:pt idx="2795">
                  <c:v>40548</c:v>
                </c:pt>
                <c:pt idx="2796">
                  <c:v>40549</c:v>
                </c:pt>
                <c:pt idx="2797">
                  <c:v>40550</c:v>
                </c:pt>
                <c:pt idx="2798">
                  <c:v>40553</c:v>
                </c:pt>
                <c:pt idx="2799">
                  <c:v>40554</c:v>
                </c:pt>
                <c:pt idx="2800">
                  <c:v>40555</c:v>
                </c:pt>
                <c:pt idx="2801">
                  <c:v>40556</c:v>
                </c:pt>
                <c:pt idx="2802">
                  <c:v>40557</c:v>
                </c:pt>
                <c:pt idx="2803">
                  <c:v>40560</c:v>
                </c:pt>
                <c:pt idx="2804">
                  <c:v>40561</c:v>
                </c:pt>
                <c:pt idx="2805">
                  <c:v>40562</c:v>
                </c:pt>
                <c:pt idx="2806">
                  <c:v>40563</c:v>
                </c:pt>
                <c:pt idx="2807">
                  <c:v>40564</c:v>
                </c:pt>
                <c:pt idx="2808">
                  <c:v>40567</c:v>
                </c:pt>
                <c:pt idx="2809">
                  <c:v>40568</c:v>
                </c:pt>
                <c:pt idx="2810">
                  <c:v>40569</c:v>
                </c:pt>
                <c:pt idx="2811">
                  <c:v>40570</c:v>
                </c:pt>
                <c:pt idx="2812">
                  <c:v>40571</c:v>
                </c:pt>
                <c:pt idx="2813">
                  <c:v>40574</c:v>
                </c:pt>
                <c:pt idx="2814">
                  <c:v>40575</c:v>
                </c:pt>
                <c:pt idx="2815">
                  <c:v>40576</c:v>
                </c:pt>
                <c:pt idx="2816">
                  <c:v>40577</c:v>
                </c:pt>
                <c:pt idx="2817">
                  <c:v>40578</c:v>
                </c:pt>
                <c:pt idx="2818">
                  <c:v>40581</c:v>
                </c:pt>
                <c:pt idx="2819">
                  <c:v>40582</c:v>
                </c:pt>
                <c:pt idx="2820">
                  <c:v>40583</c:v>
                </c:pt>
                <c:pt idx="2821">
                  <c:v>40584</c:v>
                </c:pt>
                <c:pt idx="2822">
                  <c:v>40585</c:v>
                </c:pt>
                <c:pt idx="2823">
                  <c:v>40588</c:v>
                </c:pt>
                <c:pt idx="2824">
                  <c:v>40589</c:v>
                </c:pt>
                <c:pt idx="2825">
                  <c:v>40590</c:v>
                </c:pt>
                <c:pt idx="2826">
                  <c:v>40591</c:v>
                </c:pt>
                <c:pt idx="2827">
                  <c:v>40592</c:v>
                </c:pt>
                <c:pt idx="2828">
                  <c:v>40595</c:v>
                </c:pt>
                <c:pt idx="2829">
                  <c:v>40596</c:v>
                </c:pt>
                <c:pt idx="2830">
                  <c:v>40597</c:v>
                </c:pt>
                <c:pt idx="2831">
                  <c:v>40598</c:v>
                </c:pt>
                <c:pt idx="2832">
                  <c:v>40599</c:v>
                </c:pt>
                <c:pt idx="2833">
                  <c:v>40602</c:v>
                </c:pt>
                <c:pt idx="2834">
                  <c:v>40603</c:v>
                </c:pt>
                <c:pt idx="2835">
                  <c:v>40604</c:v>
                </c:pt>
                <c:pt idx="2836">
                  <c:v>40605</c:v>
                </c:pt>
                <c:pt idx="2837">
                  <c:v>40606</c:v>
                </c:pt>
                <c:pt idx="2838">
                  <c:v>40609</c:v>
                </c:pt>
                <c:pt idx="2839">
                  <c:v>40610</c:v>
                </c:pt>
                <c:pt idx="2840">
                  <c:v>40611</c:v>
                </c:pt>
                <c:pt idx="2841">
                  <c:v>40612</c:v>
                </c:pt>
                <c:pt idx="2842">
                  <c:v>40613</c:v>
                </c:pt>
                <c:pt idx="2843">
                  <c:v>40616</c:v>
                </c:pt>
                <c:pt idx="2844">
                  <c:v>40617</c:v>
                </c:pt>
                <c:pt idx="2845">
                  <c:v>40618</c:v>
                </c:pt>
                <c:pt idx="2846">
                  <c:v>40619</c:v>
                </c:pt>
                <c:pt idx="2847">
                  <c:v>40620</c:v>
                </c:pt>
                <c:pt idx="2848">
                  <c:v>40623</c:v>
                </c:pt>
                <c:pt idx="2849">
                  <c:v>40624</c:v>
                </c:pt>
                <c:pt idx="2850">
                  <c:v>40625</c:v>
                </c:pt>
                <c:pt idx="2851">
                  <c:v>40626</c:v>
                </c:pt>
                <c:pt idx="2852">
                  <c:v>40627</c:v>
                </c:pt>
                <c:pt idx="2853">
                  <c:v>40630</c:v>
                </c:pt>
                <c:pt idx="2854">
                  <c:v>40631</c:v>
                </c:pt>
                <c:pt idx="2855">
                  <c:v>40632</c:v>
                </c:pt>
                <c:pt idx="2856">
                  <c:v>40633</c:v>
                </c:pt>
                <c:pt idx="2857">
                  <c:v>40634</c:v>
                </c:pt>
                <c:pt idx="2858">
                  <c:v>40637</c:v>
                </c:pt>
                <c:pt idx="2859">
                  <c:v>40638</c:v>
                </c:pt>
                <c:pt idx="2860">
                  <c:v>40639</c:v>
                </c:pt>
                <c:pt idx="2861">
                  <c:v>40640</c:v>
                </c:pt>
                <c:pt idx="2862">
                  <c:v>40641</c:v>
                </c:pt>
                <c:pt idx="2863">
                  <c:v>40644</c:v>
                </c:pt>
                <c:pt idx="2864">
                  <c:v>40645</c:v>
                </c:pt>
                <c:pt idx="2865">
                  <c:v>40646</c:v>
                </c:pt>
                <c:pt idx="2866">
                  <c:v>40647</c:v>
                </c:pt>
                <c:pt idx="2867">
                  <c:v>40648</c:v>
                </c:pt>
                <c:pt idx="2868">
                  <c:v>40651</c:v>
                </c:pt>
                <c:pt idx="2869">
                  <c:v>40652</c:v>
                </c:pt>
                <c:pt idx="2870">
                  <c:v>40653</c:v>
                </c:pt>
                <c:pt idx="2871">
                  <c:v>40654</c:v>
                </c:pt>
                <c:pt idx="2872">
                  <c:v>40659</c:v>
                </c:pt>
                <c:pt idx="2873">
                  <c:v>40660</c:v>
                </c:pt>
                <c:pt idx="2874">
                  <c:v>40661</c:v>
                </c:pt>
                <c:pt idx="2875">
                  <c:v>40662</c:v>
                </c:pt>
                <c:pt idx="2876">
                  <c:v>40665</c:v>
                </c:pt>
                <c:pt idx="2877">
                  <c:v>40666</c:v>
                </c:pt>
                <c:pt idx="2878">
                  <c:v>40667</c:v>
                </c:pt>
                <c:pt idx="2879">
                  <c:v>40668</c:v>
                </c:pt>
                <c:pt idx="2880">
                  <c:v>40669</c:v>
                </c:pt>
                <c:pt idx="2881">
                  <c:v>40672</c:v>
                </c:pt>
                <c:pt idx="2882">
                  <c:v>40673</c:v>
                </c:pt>
                <c:pt idx="2883">
                  <c:v>40674</c:v>
                </c:pt>
                <c:pt idx="2884">
                  <c:v>40675</c:v>
                </c:pt>
                <c:pt idx="2885">
                  <c:v>40676</c:v>
                </c:pt>
                <c:pt idx="2886">
                  <c:v>40679</c:v>
                </c:pt>
                <c:pt idx="2887">
                  <c:v>40680</c:v>
                </c:pt>
                <c:pt idx="2888">
                  <c:v>40681</c:v>
                </c:pt>
                <c:pt idx="2889">
                  <c:v>40682</c:v>
                </c:pt>
                <c:pt idx="2890">
                  <c:v>40683</c:v>
                </c:pt>
                <c:pt idx="2891">
                  <c:v>40686</c:v>
                </c:pt>
                <c:pt idx="2892">
                  <c:v>40687</c:v>
                </c:pt>
                <c:pt idx="2893">
                  <c:v>40688</c:v>
                </c:pt>
                <c:pt idx="2894">
                  <c:v>40689</c:v>
                </c:pt>
                <c:pt idx="2895">
                  <c:v>40690</c:v>
                </c:pt>
                <c:pt idx="2896">
                  <c:v>40693</c:v>
                </c:pt>
                <c:pt idx="2897">
                  <c:v>40694</c:v>
                </c:pt>
                <c:pt idx="2898">
                  <c:v>40695</c:v>
                </c:pt>
                <c:pt idx="2899">
                  <c:v>40696</c:v>
                </c:pt>
                <c:pt idx="2900">
                  <c:v>40697</c:v>
                </c:pt>
                <c:pt idx="2901">
                  <c:v>40700</c:v>
                </c:pt>
                <c:pt idx="2902">
                  <c:v>40701</c:v>
                </c:pt>
                <c:pt idx="2903">
                  <c:v>40702</c:v>
                </c:pt>
                <c:pt idx="2904">
                  <c:v>40703</c:v>
                </c:pt>
                <c:pt idx="2905">
                  <c:v>40704</c:v>
                </c:pt>
                <c:pt idx="2906">
                  <c:v>40707</c:v>
                </c:pt>
                <c:pt idx="2907">
                  <c:v>40708</c:v>
                </c:pt>
                <c:pt idx="2908">
                  <c:v>40709</c:v>
                </c:pt>
                <c:pt idx="2909">
                  <c:v>40710</c:v>
                </c:pt>
                <c:pt idx="2910">
                  <c:v>40711</c:v>
                </c:pt>
                <c:pt idx="2911">
                  <c:v>40714</c:v>
                </c:pt>
                <c:pt idx="2912">
                  <c:v>40715</c:v>
                </c:pt>
                <c:pt idx="2913">
                  <c:v>40716</c:v>
                </c:pt>
                <c:pt idx="2914">
                  <c:v>40717</c:v>
                </c:pt>
                <c:pt idx="2915">
                  <c:v>40718</c:v>
                </c:pt>
                <c:pt idx="2916">
                  <c:v>40721</c:v>
                </c:pt>
                <c:pt idx="2917">
                  <c:v>40722</c:v>
                </c:pt>
                <c:pt idx="2918">
                  <c:v>40723</c:v>
                </c:pt>
                <c:pt idx="2919">
                  <c:v>40724</c:v>
                </c:pt>
                <c:pt idx="2920">
                  <c:v>40725</c:v>
                </c:pt>
                <c:pt idx="2921">
                  <c:v>40728</c:v>
                </c:pt>
                <c:pt idx="2922">
                  <c:v>40729</c:v>
                </c:pt>
                <c:pt idx="2923">
                  <c:v>40730</c:v>
                </c:pt>
                <c:pt idx="2924">
                  <c:v>40731</c:v>
                </c:pt>
                <c:pt idx="2925">
                  <c:v>40732</c:v>
                </c:pt>
                <c:pt idx="2926">
                  <c:v>40735</c:v>
                </c:pt>
                <c:pt idx="2927">
                  <c:v>40736</c:v>
                </c:pt>
                <c:pt idx="2928">
                  <c:v>40737</c:v>
                </c:pt>
                <c:pt idx="2929">
                  <c:v>40738</c:v>
                </c:pt>
                <c:pt idx="2930">
                  <c:v>40739</c:v>
                </c:pt>
                <c:pt idx="2931">
                  <c:v>40742</c:v>
                </c:pt>
                <c:pt idx="2932">
                  <c:v>40743</c:v>
                </c:pt>
                <c:pt idx="2933">
                  <c:v>40744</c:v>
                </c:pt>
                <c:pt idx="2934">
                  <c:v>40745</c:v>
                </c:pt>
                <c:pt idx="2935">
                  <c:v>40746</c:v>
                </c:pt>
                <c:pt idx="2936">
                  <c:v>40749</c:v>
                </c:pt>
                <c:pt idx="2937">
                  <c:v>40750</c:v>
                </c:pt>
                <c:pt idx="2938">
                  <c:v>40751</c:v>
                </c:pt>
                <c:pt idx="2939">
                  <c:v>40752</c:v>
                </c:pt>
                <c:pt idx="2940">
                  <c:v>40753</c:v>
                </c:pt>
                <c:pt idx="2941">
                  <c:v>40756</c:v>
                </c:pt>
                <c:pt idx="2942">
                  <c:v>40757</c:v>
                </c:pt>
                <c:pt idx="2943">
                  <c:v>40758</c:v>
                </c:pt>
                <c:pt idx="2944">
                  <c:v>40759</c:v>
                </c:pt>
                <c:pt idx="2945">
                  <c:v>40760</c:v>
                </c:pt>
                <c:pt idx="2946">
                  <c:v>40763</c:v>
                </c:pt>
                <c:pt idx="2947">
                  <c:v>40764</c:v>
                </c:pt>
                <c:pt idx="2948">
                  <c:v>40765</c:v>
                </c:pt>
                <c:pt idx="2949">
                  <c:v>40766</c:v>
                </c:pt>
                <c:pt idx="2950">
                  <c:v>40767</c:v>
                </c:pt>
                <c:pt idx="2951">
                  <c:v>40770</c:v>
                </c:pt>
                <c:pt idx="2952">
                  <c:v>40771</c:v>
                </c:pt>
                <c:pt idx="2953">
                  <c:v>40772</c:v>
                </c:pt>
                <c:pt idx="2954">
                  <c:v>40773</c:v>
                </c:pt>
                <c:pt idx="2955">
                  <c:v>40774</c:v>
                </c:pt>
                <c:pt idx="2956">
                  <c:v>40777</c:v>
                </c:pt>
                <c:pt idx="2957">
                  <c:v>40778</c:v>
                </c:pt>
                <c:pt idx="2958">
                  <c:v>40779</c:v>
                </c:pt>
                <c:pt idx="2959">
                  <c:v>40780</c:v>
                </c:pt>
                <c:pt idx="2960">
                  <c:v>40781</c:v>
                </c:pt>
                <c:pt idx="2961">
                  <c:v>40784</c:v>
                </c:pt>
                <c:pt idx="2962">
                  <c:v>40785</c:v>
                </c:pt>
                <c:pt idx="2963">
                  <c:v>40786</c:v>
                </c:pt>
                <c:pt idx="2964">
                  <c:v>40787</c:v>
                </c:pt>
                <c:pt idx="2965">
                  <c:v>40788</c:v>
                </c:pt>
                <c:pt idx="2966">
                  <c:v>40791</c:v>
                </c:pt>
                <c:pt idx="2967">
                  <c:v>40792</c:v>
                </c:pt>
                <c:pt idx="2968">
                  <c:v>40793</c:v>
                </c:pt>
                <c:pt idx="2969">
                  <c:v>40794</c:v>
                </c:pt>
                <c:pt idx="2970">
                  <c:v>40795</c:v>
                </c:pt>
                <c:pt idx="2971">
                  <c:v>40798</c:v>
                </c:pt>
                <c:pt idx="2972">
                  <c:v>40799</c:v>
                </c:pt>
                <c:pt idx="2973">
                  <c:v>40800</c:v>
                </c:pt>
                <c:pt idx="2974">
                  <c:v>40801</c:v>
                </c:pt>
                <c:pt idx="2975">
                  <c:v>40802</c:v>
                </c:pt>
                <c:pt idx="2976">
                  <c:v>40805</c:v>
                </c:pt>
                <c:pt idx="2977">
                  <c:v>40806</c:v>
                </c:pt>
                <c:pt idx="2978">
                  <c:v>40807</c:v>
                </c:pt>
                <c:pt idx="2979">
                  <c:v>40808</c:v>
                </c:pt>
                <c:pt idx="2980">
                  <c:v>40809</c:v>
                </c:pt>
                <c:pt idx="2981">
                  <c:v>40812</c:v>
                </c:pt>
                <c:pt idx="2982">
                  <c:v>40813</c:v>
                </c:pt>
                <c:pt idx="2983">
                  <c:v>40814</c:v>
                </c:pt>
                <c:pt idx="2984">
                  <c:v>40815</c:v>
                </c:pt>
                <c:pt idx="2985">
                  <c:v>40816</c:v>
                </c:pt>
                <c:pt idx="2986">
                  <c:v>40819</c:v>
                </c:pt>
                <c:pt idx="2987">
                  <c:v>40820</c:v>
                </c:pt>
                <c:pt idx="2988">
                  <c:v>40821</c:v>
                </c:pt>
                <c:pt idx="2989">
                  <c:v>40822</c:v>
                </c:pt>
                <c:pt idx="2990">
                  <c:v>40823</c:v>
                </c:pt>
                <c:pt idx="2991">
                  <c:v>40826</c:v>
                </c:pt>
                <c:pt idx="2992">
                  <c:v>40827</c:v>
                </c:pt>
                <c:pt idx="2993">
                  <c:v>40828</c:v>
                </c:pt>
                <c:pt idx="2994">
                  <c:v>40829</c:v>
                </c:pt>
                <c:pt idx="2995">
                  <c:v>40830</c:v>
                </c:pt>
                <c:pt idx="2996">
                  <c:v>40833</c:v>
                </c:pt>
                <c:pt idx="2997">
                  <c:v>40834</c:v>
                </c:pt>
                <c:pt idx="2998">
                  <c:v>40835</c:v>
                </c:pt>
                <c:pt idx="2999">
                  <c:v>40836</c:v>
                </c:pt>
                <c:pt idx="3000">
                  <c:v>40837</c:v>
                </c:pt>
                <c:pt idx="3001">
                  <c:v>40840</c:v>
                </c:pt>
                <c:pt idx="3002">
                  <c:v>40841</c:v>
                </c:pt>
                <c:pt idx="3003">
                  <c:v>40842</c:v>
                </c:pt>
                <c:pt idx="3004">
                  <c:v>40843</c:v>
                </c:pt>
                <c:pt idx="3005">
                  <c:v>40844</c:v>
                </c:pt>
                <c:pt idx="3006">
                  <c:v>40847</c:v>
                </c:pt>
                <c:pt idx="3007">
                  <c:v>40848</c:v>
                </c:pt>
                <c:pt idx="3008">
                  <c:v>40849</c:v>
                </c:pt>
                <c:pt idx="3009">
                  <c:v>40850</c:v>
                </c:pt>
                <c:pt idx="3010">
                  <c:v>40851</c:v>
                </c:pt>
                <c:pt idx="3011">
                  <c:v>40854</c:v>
                </c:pt>
                <c:pt idx="3012">
                  <c:v>40855</c:v>
                </c:pt>
                <c:pt idx="3013">
                  <c:v>40856</c:v>
                </c:pt>
                <c:pt idx="3014">
                  <c:v>40857</c:v>
                </c:pt>
                <c:pt idx="3015">
                  <c:v>40858</c:v>
                </c:pt>
                <c:pt idx="3016">
                  <c:v>40861</c:v>
                </c:pt>
                <c:pt idx="3017">
                  <c:v>40862</c:v>
                </c:pt>
                <c:pt idx="3018">
                  <c:v>40863</c:v>
                </c:pt>
                <c:pt idx="3019">
                  <c:v>40864</c:v>
                </c:pt>
                <c:pt idx="3020">
                  <c:v>40865</c:v>
                </c:pt>
                <c:pt idx="3021">
                  <c:v>40868</c:v>
                </c:pt>
                <c:pt idx="3022">
                  <c:v>40869</c:v>
                </c:pt>
                <c:pt idx="3023">
                  <c:v>40870</c:v>
                </c:pt>
                <c:pt idx="3024">
                  <c:v>40871</c:v>
                </c:pt>
                <c:pt idx="3025">
                  <c:v>40872</c:v>
                </c:pt>
                <c:pt idx="3026">
                  <c:v>40875</c:v>
                </c:pt>
                <c:pt idx="3027">
                  <c:v>40876</c:v>
                </c:pt>
                <c:pt idx="3028">
                  <c:v>40877</c:v>
                </c:pt>
                <c:pt idx="3029">
                  <c:v>40878</c:v>
                </c:pt>
                <c:pt idx="3030">
                  <c:v>40879</c:v>
                </c:pt>
                <c:pt idx="3031">
                  <c:v>40882</c:v>
                </c:pt>
                <c:pt idx="3032">
                  <c:v>40883</c:v>
                </c:pt>
                <c:pt idx="3033">
                  <c:v>40884</c:v>
                </c:pt>
                <c:pt idx="3034">
                  <c:v>40885</c:v>
                </c:pt>
                <c:pt idx="3035">
                  <c:v>40886</c:v>
                </c:pt>
                <c:pt idx="3036">
                  <c:v>40889</c:v>
                </c:pt>
                <c:pt idx="3037">
                  <c:v>40890</c:v>
                </c:pt>
                <c:pt idx="3038">
                  <c:v>40891</c:v>
                </c:pt>
                <c:pt idx="3039">
                  <c:v>40892</c:v>
                </c:pt>
                <c:pt idx="3040">
                  <c:v>40893</c:v>
                </c:pt>
                <c:pt idx="3041">
                  <c:v>40896</c:v>
                </c:pt>
                <c:pt idx="3042">
                  <c:v>40897</c:v>
                </c:pt>
                <c:pt idx="3043">
                  <c:v>40898</c:v>
                </c:pt>
                <c:pt idx="3044">
                  <c:v>40899</c:v>
                </c:pt>
                <c:pt idx="3045">
                  <c:v>40900</c:v>
                </c:pt>
                <c:pt idx="3046">
                  <c:v>40904</c:v>
                </c:pt>
                <c:pt idx="3047">
                  <c:v>40905</c:v>
                </c:pt>
                <c:pt idx="3048">
                  <c:v>40906</c:v>
                </c:pt>
                <c:pt idx="3049">
                  <c:v>40907</c:v>
                </c:pt>
                <c:pt idx="3050">
                  <c:v>40910</c:v>
                </c:pt>
                <c:pt idx="3051">
                  <c:v>40911</c:v>
                </c:pt>
                <c:pt idx="3052">
                  <c:v>40912</c:v>
                </c:pt>
                <c:pt idx="3053">
                  <c:v>40913</c:v>
                </c:pt>
                <c:pt idx="3054">
                  <c:v>40914</c:v>
                </c:pt>
                <c:pt idx="3055">
                  <c:v>40917</c:v>
                </c:pt>
                <c:pt idx="3056">
                  <c:v>40918</c:v>
                </c:pt>
                <c:pt idx="3057">
                  <c:v>40919</c:v>
                </c:pt>
                <c:pt idx="3058">
                  <c:v>40920</c:v>
                </c:pt>
                <c:pt idx="3059">
                  <c:v>40921</c:v>
                </c:pt>
                <c:pt idx="3060">
                  <c:v>40924</c:v>
                </c:pt>
                <c:pt idx="3061">
                  <c:v>40925</c:v>
                </c:pt>
                <c:pt idx="3062">
                  <c:v>40926</c:v>
                </c:pt>
                <c:pt idx="3063">
                  <c:v>40927</c:v>
                </c:pt>
                <c:pt idx="3064">
                  <c:v>40928</c:v>
                </c:pt>
                <c:pt idx="3065">
                  <c:v>40931</c:v>
                </c:pt>
                <c:pt idx="3066">
                  <c:v>40932</c:v>
                </c:pt>
                <c:pt idx="3067">
                  <c:v>40933</c:v>
                </c:pt>
                <c:pt idx="3068">
                  <c:v>40934</c:v>
                </c:pt>
                <c:pt idx="3069">
                  <c:v>40935</c:v>
                </c:pt>
                <c:pt idx="3070">
                  <c:v>40938</c:v>
                </c:pt>
                <c:pt idx="3071">
                  <c:v>40939</c:v>
                </c:pt>
                <c:pt idx="3072">
                  <c:v>40940</c:v>
                </c:pt>
                <c:pt idx="3073">
                  <c:v>40941</c:v>
                </c:pt>
                <c:pt idx="3074">
                  <c:v>40942</c:v>
                </c:pt>
                <c:pt idx="3075">
                  <c:v>40945</c:v>
                </c:pt>
                <c:pt idx="3076">
                  <c:v>40946</c:v>
                </c:pt>
                <c:pt idx="3077">
                  <c:v>40947</c:v>
                </c:pt>
                <c:pt idx="3078">
                  <c:v>40948</c:v>
                </c:pt>
                <c:pt idx="3079">
                  <c:v>40949</c:v>
                </c:pt>
                <c:pt idx="3080">
                  <c:v>40952</c:v>
                </c:pt>
                <c:pt idx="3081">
                  <c:v>40953</c:v>
                </c:pt>
                <c:pt idx="3082">
                  <c:v>40954</c:v>
                </c:pt>
                <c:pt idx="3083">
                  <c:v>40955</c:v>
                </c:pt>
                <c:pt idx="3084">
                  <c:v>40956</c:v>
                </c:pt>
                <c:pt idx="3085">
                  <c:v>40959</c:v>
                </c:pt>
                <c:pt idx="3086">
                  <c:v>40960</c:v>
                </c:pt>
                <c:pt idx="3087">
                  <c:v>40961</c:v>
                </c:pt>
                <c:pt idx="3088">
                  <c:v>40962</c:v>
                </c:pt>
                <c:pt idx="3089">
                  <c:v>40963</c:v>
                </c:pt>
                <c:pt idx="3090">
                  <c:v>40966</c:v>
                </c:pt>
                <c:pt idx="3091">
                  <c:v>40967</c:v>
                </c:pt>
                <c:pt idx="3092">
                  <c:v>40968</c:v>
                </c:pt>
                <c:pt idx="3093">
                  <c:v>40969</c:v>
                </c:pt>
                <c:pt idx="3094">
                  <c:v>40970</c:v>
                </c:pt>
                <c:pt idx="3095">
                  <c:v>40973</c:v>
                </c:pt>
                <c:pt idx="3096">
                  <c:v>40974</c:v>
                </c:pt>
                <c:pt idx="3097">
                  <c:v>40975</c:v>
                </c:pt>
                <c:pt idx="3098">
                  <c:v>40976</c:v>
                </c:pt>
                <c:pt idx="3099">
                  <c:v>40977</c:v>
                </c:pt>
                <c:pt idx="3100">
                  <c:v>40980</c:v>
                </c:pt>
                <c:pt idx="3101">
                  <c:v>40981</c:v>
                </c:pt>
                <c:pt idx="3102">
                  <c:v>40982</c:v>
                </c:pt>
                <c:pt idx="3103">
                  <c:v>40983</c:v>
                </c:pt>
                <c:pt idx="3104">
                  <c:v>40984</c:v>
                </c:pt>
                <c:pt idx="3105">
                  <c:v>40987</c:v>
                </c:pt>
                <c:pt idx="3106">
                  <c:v>40988</c:v>
                </c:pt>
                <c:pt idx="3107">
                  <c:v>40989</c:v>
                </c:pt>
                <c:pt idx="3108">
                  <c:v>40990</c:v>
                </c:pt>
                <c:pt idx="3109">
                  <c:v>40991</c:v>
                </c:pt>
                <c:pt idx="3110">
                  <c:v>40994</c:v>
                </c:pt>
                <c:pt idx="3111">
                  <c:v>40995</c:v>
                </c:pt>
                <c:pt idx="3112">
                  <c:v>40996</c:v>
                </c:pt>
                <c:pt idx="3113">
                  <c:v>40997</c:v>
                </c:pt>
                <c:pt idx="3114">
                  <c:v>40998</c:v>
                </c:pt>
                <c:pt idx="3115">
                  <c:v>41001</c:v>
                </c:pt>
                <c:pt idx="3116">
                  <c:v>41002</c:v>
                </c:pt>
                <c:pt idx="3117">
                  <c:v>41003</c:v>
                </c:pt>
                <c:pt idx="3118">
                  <c:v>41004</c:v>
                </c:pt>
                <c:pt idx="3119">
                  <c:v>41009</c:v>
                </c:pt>
                <c:pt idx="3120">
                  <c:v>41010</c:v>
                </c:pt>
                <c:pt idx="3121">
                  <c:v>41011</c:v>
                </c:pt>
                <c:pt idx="3122">
                  <c:v>41012</c:v>
                </c:pt>
                <c:pt idx="3123">
                  <c:v>41015</c:v>
                </c:pt>
                <c:pt idx="3124">
                  <c:v>41016</c:v>
                </c:pt>
                <c:pt idx="3125">
                  <c:v>41017</c:v>
                </c:pt>
                <c:pt idx="3126">
                  <c:v>41018</c:v>
                </c:pt>
                <c:pt idx="3127">
                  <c:v>41019</c:v>
                </c:pt>
                <c:pt idx="3128">
                  <c:v>41022</c:v>
                </c:pt>
                <c:pt idx="3129">
                  <c:v>41023</c:v>
                </c:pt>
                <c:pt idx="3130">
                  <c:v>41024</c:v>
                </c:pt>
                <c:pt idx="3131">
                  <c:v>41025</c:v>
                </c:pt>
                <c:pt idx="3132">
                  <c:v>41026</c:v>
                </c:pt>
                <c:pt idx="3133">
                  <c:v>41029</c:v>
                </c:pt>
                <c:pt idx="3134">
                  <c:v>41030</c:v>
                </c:pt>
                <c:pt idx="3135">
                  <c:v>41031</c:v>
                </c:pt>
                <c:pt idx="3136">
                  <c:v>41032</c:v>
                </c:pt>
                <c:pt idx="3137">
                  <c:v>41033</c:v>
                </c:pt>
                <c:pt idx="3138">
                  <c:v>41036</c:v>
                </c:pt>
                <c:pt idx="3139">
                  <c:v>41037</c:v>
                </c:pt>
                <c:pt idx="3140">
                  <c:v>41038</c:v>
                </c:pt>
                <c:pt idx="3141">
                  <c:v>41039</c:v>
                </c:pt>
                <c:pt idx="3142">
                  <c:v>41040</c:v>
                </c:pt>
                <c:pt idx="3143">
                  <c:v>41043</c:v>
                </c:pt>
                <c:pt idx="3144">
                  <c:v>41044</c:v>
                </c:pt>
                <c:pt idx="3145">
                  <c:v>41045</c:v>
                </c:pt>
                <c:pt idx="3146">
                  <c:v>41046</c:v>
                </c:pt>
                <c:pt idx="3147">
                  <c:v>41047</c:v>
                </c:pt>
                <c:pt idx="3148">
                  <c:v>41050</c:v>
                </c:pt>
                <c:pt idx="3149">
                  <c:v>41051</c:v>
                </c:pt>
                <c:pt idx="3150">
                  <c:v>41052</c:v>
                </c:pt>
                <c:pt idx="3151">
                  <c:v>41053</c:v>
                </c:pt>
                <c:pt idx="3152">
                  <c:v>41054</c:v>
                </c:pt>
                <c:pt idx="3153">
                  <c:v>41057</c:v>
                </c:pt>
                <c:pt idx="3154">
                  <c:v>41058</c:v>
                </c:pt>
                <c:pt idx="3155">
                  <c:v>41059</c:v>
                </c:pt>
                <c:pt idx="3156">
                  <c:v>41060</c:v>
                </c:pt>
                <c:pt idx="3157">
                  <c:v>41061</c:v>
                </c:pt>
                <c:pt idx="3158">
                  <c:v>41064</c:v>
                </c:pt>
                <c:pt idx="3159">
                  <c:v>41065</c:v>
                </c:pt>
                <c:pt idx="3160">
                  <c:v>41066</c:v>
                </c:pt>
                <c:pt idx="3161">
                  <c:v>41067</c:v>
                </c:pt>
                <c:pt idx="3162">
                  <c:v>41068</c:v>
                </c:pt>
                <c:pt idx="3163">
                  <c:v>41071</c:v>
                </c:pt>
                <c:pt idx="3164">
                  <c:v>41072</c:v>
                </c:pt>
                <c:pt idx="3165">
                  <c:v>41073</c:v>
                </c:pt>
                <c:pt idx="3166">
                  <c:v>41074</c:v>
                </c:pt>
                <c:pt idx="3167">
                  <c:v>41075</c:v>
                </c:pt>
                <c:pt idx="3168">
                  <c:v>41078</c:v>
                </c:pt>
                <c:pt idx="3169">
                  <c:v>41079</c:v>
                </c:pt>
                <c:pt idx="3170">
                  <c:v>41080</c:v>
                </c:pt>
                <c:pt idx="3171">
                  <c:v>41081</c:v>
                </c:pt>
              </c:numCache>
            </c:numRef>
          </c:cat>
          <c:val>
            <c:numRef>
              <c:f>Histories!$C$3:$C$3174</c:f>
              <c:numCache>
                <c:formatCode>General</c:formatCode>
                <c:ptCount val="3172"/>
                <c:pt idx="0">
                  <c:v>100</c:v>
                </c:pt>
                <c:pt idx="1">
                  <c:v>101.28</c:v>
                </c:pt>
                <c:pt idx="2">
                  <c:v>101.95</c:v>
                </c:pt>
                <c:pt idx="3">
                  <c:v>101.61999999999999</c:v>
                </c:pt>
                <c:pt idx="4">
                  <c:v>103.55</c:v>
                </c:pt>
                <c:pt idx="5">
                  <c:v>102.95</c:v>
                </c:pt>
                <c:pt idx="6">
                  <c:v>104.05</c:v>
                </c:pt>
                <c:pt idx="7">
                  <c:v>104.47</c:v>
                </c:pt>
                <c:pt idx="8">
                  <c:v>103.38</c:v>
                </c:pt>
                <c:pt idx="9">
                  <c:v>104.77</c:v>
                </c:pt>
                <c:pt idx="10">
                  <c:v>105.92</c:v>
                </c:pt>
                <c:pt idx="11">
                  <c:v>108.89</c:v>
                </c:pt>
                <c:pt idx="12">
                  <c:v>107.22</c:v>
                </c:pt>
                <c:pt idx="13">
                  <c:v>106.26</c:v>
                </c:pt>
                <c:pt idx="14">
                  <c:v>105.64999999999999</c:v>
                </c:pt>
                <c:pt idx="15">
                  <c:v>105.84</c:v>
                </c:pt>
                <c:pt idx="16">
                  <c:v>106.33</c:v>
                </c:pt>
                <c:pt idx="17">
                  <c:v>107.11999999999999</c:v>
                </c:pt>
                <c:pt idx="18">
                  <c:v>107.64</c:v>
                </c:pt>
                <c:pt idx="19">
                  <c:v>106.53</c:v>
                </c:pt>
                <c:pt idx="20">
                  <c:v>104.84</c:v>
                </c:pt>
                <c:pt idx="21">
                  <c:v>105.06</c:v>
                </c:pt>
                <c:pt idx="22">
                  <c:v>105.5</c:v>
                </c:pt>
                <c:pt idx="23">
                  <c:v>105.11999999999999</c:v>
                </c:pt>
                <c:pt idx="24">
                  <c:v>105.16</c:v>
                </c:pt>
                <c:pt idx="25">
                  <c:v>105.11999999999999</c:v>
                </c:pt>
                <c:pt idx="26">
                  <c:v>106.7</c:v>
                </c:pt>
                <c:pt idx="27">
                  <c:v>107.44000000000001</c:v>
                </c:pt>
                <c:pt idx="28">
                  <c:v>107.25</c:v>
                </c:pt>
                <c:pt idx="29">
                  <c:v>107.21000000000001</c:v>
                </c:pt>
                <c:pt idx="30">
                  <c:v>107.24000000000001</c:v>
                </c:pt>
                <c:pt idx="31">
                  <c:v>108.4</c:v>
                </c:pt>
                <c:pt idx="32">
                  <c:v>109.05</c:v>
                </c:pt>
                <c:pt idx="33">
                  <c:v>108.41000000000001</c:v>
                </c:pt>
                <c:pt idx="34">
                  <c:v>107.17999999999999</c:v>
                </c:pt>
                <c:pt idx="35">
                  <c:v>107.76</c:v>
                </c:pt>
                <c:pt idx="36">
                  <c:v>107.45</c:v>
                </c:pt>
                <c:pt idx="37">
                  <c:v>107.76</c:v>
                </c:pt>
                <c:pt idx="38">
                  <c:v>108.78</c:v>
                </c:pt>
                <c:pt idx="39">
                  <c:v>109.46000000000001</c:v>
                </c:pt>
                <c:pt idx="40">
                  <c:v>108.3</c:v>
                </c:pt>
                <c:pt idx="41">
                  <c:v>109.86</c:v>
                </c:pt>
                <c:pt idx="42">
                  <c:v>110.11999999999999</c:v>
                </c:pt>
                <c:pt idx="43">
                  <c:v>110.16</c:v>
                </c:pt>
                <c:pt idx="44">
                  <c:v>110.2</c:v>
                </c:pt>
                <c:pt idx="45">
                  <c:v>109.51</c:v>
                </c:pt>
                <c:pt idx="46">
                  <c:v>109.8</c:v>
                </c:pt>
                <c:pt idx="47">
                  <c:v>109.38</c:v>
                </c:pt>
                <c:pt idx="48">
                  <c:v>109.29</c:v>
                </c:pt>
                <c:pt idx="49">
                  <c:v>107.64</c:v>
                </c:pt>
                <c:pt idx="50">
                  <c:v>108.05</c:v>
                </c:pt>
                <c:pt idx="51">
                  <c:v>107.77</c:v>
                </c:pt>
                <c:pt idx="52">
                  <c:v>106.83</c:v>
                </c:pt>
                <c:pt idx="53">
                  <c:v>106.39</c:v>
                </c:pt>
                <c:pt idx="54">
                  <c:v>106.61</c:v>
                </c:pt>
                <c:pt idx="55">
                  <c:v>106.92</c:v>
                </c:pt>
                <c:pt idx="56">
                  <c:v>106.69</c:v>
                </c:pt>
                <c:pt idx="57">
                  <c:v>106.84</c:v>
                </c:pt>
                <c:pt idx="58">
                  <c:v>105.74000000000001</c:v>
                </c:pt>
                <c:pt idx="59">
                  <c:v>106.57</c:v>
                </c:pt>
                <c:pt idx="60">
                  <c:v>106.59</c:v>
                </c:pt>
                <c:pt idx="61">
                  <c:v>106.16999999999999</c:v>
                </c:pt>
                <c:pt idx="62">
                  <c:v>105.92</c:v>
                </c:pt>
                <c:pt idx="63">
                  <c:v>106.43</c:v>
                </c:pt>
                <c:pt idx="64">
                  <c:v>105.77</c:v>
                </c:pt>
                <c:pt idx="65">
                  <c:v>105.47</c:v>
                </c:pt>
                <c:pt idx="66">
                  <c:v>105.93</c:v>
                </c:pt>
                <c:pt idx="67">
                  <c:v>104.88</c:v>
                </c:pt>
                <c:pt idx="68">
                  <c:v>105.38</c:v>
                </c:pt>
                <c:pt idx="69">
                  <c:v>105.46000000000001</c:v>
                </c:pt>
                <c:pt idx="70">
                  <c:v>105.66999999999999</c:v>
                </c:pt>
                <c:pt idx="71">
                  <c:v>105.92</c:v>
                </c:pt>
                <c:pt idx="72">
                  <c:v>106.11</c:v>
                </c:pt>
                <c:pt idx="73">
                  <c:v>106.04</c:v>
                </c:pt>
                <c:pt idx="74">
                  <c:v>107.52</c:v>
                </c:pt>
                <c:pt idx="75">
                  <c:v>107.66</c:v>
                </c:pt>
                <c:pt idx="76">
                  <c:v>107.49000000000001</c:v>
                </c:pt>
                <c:pt idx="77">
                  <c:v>106.09</c:v>
                </c:pt>
                <c:pt idx="78">
                  <c:v>106.71000000000001</c:v>
                </c:pt>
                <c:pt idx="79">
                  <c:v>107.77</c:v>
                </c:pt>
                <c:pt idx="80">
                  <c:v>107.44000000000001</c:v>
                </c:pt>
                <c:pt idx="81">
                  <c:v>108.08</c:v>
                </c:pt>
                <c:pt idx="82">
                  <c:v>108.88</c:v>
                </c:pt>
                <c:pt idx="83">
                  <c:v>108.8</c:v>
                </c:pt>
                <c:pt idx="84">
                  <c:v>108.61</c:v>
                </c:pt>
                <c:pt idx="85">
                  <c:v>108.05</c:v>
                </c:pt>
                <c:pt idx="86">
                  <c:v>107.36</c:v>
                </c:pt>
                <c:pt idx="87">
                  <c:v>108.13</c:v>
                </c:pt>
                <c:pt idx="88">
                  <c:v>108.86999999999999</c:v>
                </c:pt>
                <c:pt idx="89">
                  <c:v>108.22</c:v>
                </c:pt>
                <c:pt idx="90">
                  <c:v>107.66</c:v>
                </c:pt>
                <c:pt idx="91">
                  <c:v>107.61</c:v>
                </c:pt>
                <c:pt idx="92">
                  <c:v>106.77</c:v>
                </c:pt>
                <c:pt idx="93">
                  <c:v>106.39</c:v>
                </c:pt>
                <c:pt idx="94">
                  <c:v>106.92</c:v>
                </c:pt>
                <c:pt idx="95">
                  <c:v>106.44000000000001</c:v>
                </c:pt>
                <c:pt idx="96">
                  <c:v>107.8</c:v>
                </c:pt>
                <c:pt idx="97">
                  <c:v>108.74000000000001</c:v>
                </c:pt>
                <c:pt idx="98">
                  <c:v>109.05</c:v>
                </c:pt>
                <c:pt idx="99">
                  <c:v>109.57</c:v>
                </c:pt>
                <c:pt idx="100">
                  <c:v>110.64</c:v>
                </c:pt>
                <c:pt idx="101">
                  <c:v>111.94000000000001</c:v>
                </c:pt>
                <c:pt idx="102">
                  <c:v>112.86999999999999</c:v>
                </c:pt>
                <c:pt idx="103">
                  <c:v>111.82</c:v>
                </c:pt>
                <c:pt idx="104">
                  <c:v>113.48</c:v>
                </c:pt>
                <c:pt idx="105">
                  <c:v>113.2</c:v>
                </c:pt>
                <c:pt idx="106">
                  <c:v>112.76</c:v>
                </c:pt>
                <c:pt idx="107">
                  <c:v>113.26</c:v>
                </c:pt>
                <c:pt idx="108">
                  <c:v>112.86999999999999</c:v>
                </c:pt>
                <c:pt idx="109">
                  <c:v>113.23</c:v>
                </c:pt>
                <c:pt idx="110">
                  <c:v>113.77</c:v>
                </c:pt>
                <c:pt idx="111">
                  <c:v>114.16999999999999</c:v>
                </c:pt>
                <c:pt idx="112">
                  <c:v>114.61</c:v>
                </c:pt>
                <c:pt idx="113">
                  <c:v>114.1</c:v>
                </c:pt>
                <c:pt idx="114">
                  <c:v>113.78</c:v>
                </c:pt>
                <c:pt idx="115">
                  <c:v>114.03</c:v>
                </c:pt>
                <c:pt idx="116">
                  <c:v>113.16999999999999</c:v>
                </c:pt>
                <c:pt idx="117">
                  <c:v>112.33</c:v>
                </c:pt>
                <c:pt idx="118">
                  <c:v>112.2</c:v>
                </c:pt>
                <c:pt idx="119">
                  <c:v>111.07</c:v>
                </c:pt>
                <c:pt idx="120">
                  <c:v>110.91000000000001</c:v>
                </c:pt>
                <c:pt idx="121">
                  <c:v>110.85</c:v>
                </c:pt>
                <c:pt idx="122">
                  <c:v>112.61</c:v>
                </c:pt>
                <c:pt idx="123">
                  <c:v>111.16999999999999</c:v>
                </c:pt>
                <c:pt idx="124">
                  <c:v>109.11</c:v>
                </c:pt>
                <c:pt idx="125">
                  <c:v>108.47</c:v>
                </c:pt>
                <c:pt idx="126">
                  <c:v>106.96000000000001</c:v>
                </c:pt>
                <c:pt idx="127">
                  <c:v>106.64</c:v>
                </c:pt>
                <c:pt idx="128">
                  <c:v>106.67999999999999</c:v>
                </c:pt>
                <c:pt idx="129">
                  <c:v>105.95</c:v>
                </c:pt>
                <c:pt idx="130">
                  <c:v>106.16</c:v>
                </c:pt>
                <c:pt idx="131">
                  <c:v>106.28</c:v>
                </c:pt>
                <c:pt idx="132">
                  <c:v>105.49000000000001</c:v>
                </c:pt>
                <c:pt idx="133">
                  <c:v>105.09</c:v>
                </c:pt>
                <c:pt idx="134">
                  <c:v>104.88</c:v>
                </c:pt>
                <c:pt idx="135">
                  <c:v>105.94000000000001</c:v>
                </c:pt>
                <c:pt idx="136">
                  <c:v>105.57</c:v>
                </c:pt>
                <c:pt idx="137">
                  <c:v>106.09</c:v>
                </c:pt>
                <c:pt idx="138">
                  <c:v>106.2</c:v>
                </c:pt>
                <c:pt idx="139">
                  <c:v>106.63</c:v>
                </c:pt>
                <c:pt idx="140">
                  <c:v>106.92</c:v>
                </c:pt>
                <c:pt idx="141">
                  <c:v>106.73</c:v>
                </c:pt>
                <c:pt idx="142">
                  <c:v>107.13</c:v>
                </c:pt>
                <c:pt idx="143">
                  <c:v>107.27</c:v>
                </c:pt>
                <c:pt idx="144">
                  <c:v>108.53</c:v>
                </c:pt>
                <c:pt idx="145">
                  <c:v>107.55</c:v>
                </c:pt>
                <c:pt idx="146">
                  <c:v>107.06</c:v>
                </c:pt>
                <c:pt idx="147">
                  <c:v>106.43</c:v>
                </c:pt>
                <c:pt idx="148">
                  <c:v>106.6</c:v>
                </c:pt>
                <c:pt idx="149">
                  <c:v>106.74000000000001</c:v>
                </c:pt>
                <c:pt idx="150">
                  <c:v>107.33</c:v>
                </c:pt>
                <c:pt idx="151">
                  <c:v>106.25</c:v>
                </c:pt>
                <c:pt idx="152">
                  <c:v>107.66</c:v>
                </c:pt>
                <c:pt idx="153">
                  <c:v>107.3</c:v>
                </c:pt>
                <c:pt idx="154">
                  <c:v>107.94000000000001</c:v>
                </c:pt>
                <c:pt idx="155">
                  <c:v>112.25</c:v>
                </c:pt>
                <c:pt idx="156">
                  <c:v>112.27</c:v>
                </c:pt>
                <c:pt idx="157">
                  <c:v>113.51</c:v>
                </c:pt>
                <c:pt idx="158">
                  <c:v>113.88</c:v>
                </c:pt>
                <c:pt idx="159">
                  <c:v>114.59</c:v>
                </c:pt>
                <c:pt idx="160">
                  <c:v>115.16999999999999</c:v>
                </c:pt>
                <c:pt idx="161">
                  <c:v>115.36999999999999</c:v>
                </c:pt>
                <c:pt idx="162">
                  <c:v>114.95</c:v>
                </c:pt>
                <c:pt idx="163">
                  <c:v>116.01</c:v>
                </c:pt>
                <c:pt idx="164">
                  <c:v>116.28</c:v>
                </c:pt>
                <c:pt idx="165">
                  <c:v>115.59</c:v>
                </c:pt>
                <c:pt idx="166">
                  <c:v>116</c:v>
                </c:pt>
                <c:pt idx="167">
                  <c:v>115.76</c:v>
                </c:pt>
                <c:pt idx="168">
                  <c:v>115.39</c:v>
                </c:pt>
                <c:pt idx="169">
                  <c:v>116.63</c:v>
                </c:pt>
                <c:pt idx="170">
                  <c:v>117.11999999999999</c:v>
                </c:pt>
                <c:pt idx="171">
                  <c:v>117.52</c:v>
                </c:pt>
                <c:pt idx="172">
                  <c:v>117.86</c:v>
                </c:pt>
                <c:pt idx="173">
                  <c:v>119.11</c:v>
                </c:pt>
                <c:pt idx="174">
                  <c:v>120.14</c:v>
                </c:pt>
                <c:pt idx="175">
                  <c:v>119.7</c:v>
                </c:pt>
                <c:pt idx="176">
                  <c:v>121.54</c:v>
                </c:pt>
                <c:pt idx="177">
                  <c:v>119.71000000000001</c:v>
                </c:pt>
                <c:pt idx="178">
                  <c:v>120.51</c:v>
                </c:pt>
                <c:pt idx="179">
                  <c:v>122.14</c:v>
                </c:pt>
                <c:pt idx="180">
                  <c:v>122.52</c:v>
                </c:pt>
                <c:pt idx="181">
                  <c:v>121.88</c:v>
                </c:pt>
                <c:pt idx="182">
                  <c:v>122.24000000000001</c:v>
                </c:pt>
                <c:pt idx="183">
                  <c:v>121.14</c:v>
                </c:pt>
                <c:pt idx="184">
                  <c:v>120.86999999999999</c:v>
                </c:pt>
                <c:pt idx="185">
                  <c:v>119.73</c:v>
                </c:pt>
                <c:pt idx="186">
                  <c:v>120.16</c:v>
                </c:pt>
                <c:pt idx="187">
                  <c:v>117.43</c:v>
                </c:pt>
                <c:pt idx="188">
                  <c:v>117.4</c:v>
                </c:pt>
                <c:pt idx="189">
                  <c:v>118.63</c:v>
                </c:pt>
                <c:pt idx="190">
                  <c:v>118.95</c:v>
                </c:pt>
                <c:pt idx="191">
                  <c:v>117.99000000000001</c:v>
                </c:pt>
                <c:pt idx="192">
                  <c:v>118.22</c:v>
                </c:pt>
                <c:pt idx="193">
                  <c:v>117.17999999999999</c:v>
                </c:pt>
                <c:pt idx="194">
                  <c:v>116.49000000000001</c:v>
                </c:pt>
                <c:pt idx="195">
                  <c:v>118.23</c:v>
                </c:pt>
                <c:pt idx="196">
                  <c:v>119.04</c:v>
                </c:pt>
                <c:pt idx="197">
                  <c:v>117.44000000000001</c:v>
                </c:pt>
                <c:pt idx="198">
                  <c:v>116.69</c:v>
                </c:pt>
                <c:pt idx="199">
                  <c:v>115.83</c:v>
                </c:pt>
                <c:pt idx="200">
                  <c:v>115.83</c:v>
                </c:pt>
                <c:pt idx="201">
                  <c:v>115.83</c:v>
                </c:pt>
                <c:pt idx="202">
                  <c:v>118.01</c:v>
                </c:pt>
                <c:pt idx="203">
                  <c:v>117.72</c:v>
                </c:pt>
                <c:pt idx="204">
                  <c:v>116.91000000000001</c:v>
                </c:pt>
                <c:pt idx="205">
                  <c:v>116.91000000000001</c:v>
                </c:pt>
                <c:pt idx="206">
                  <c:v>116.51</c:v>
                </c:pt>
                <c:pt idx="207">
                  <c:v>117.48</c:v>
                </c:pt>
                <c:pt idx="208">
                  <c:v>116.85</c:v>
                </c:pt>
                <c:pt idx="209">
                  <c:v>117.13</c:v>
                </c:pt>
                <c:pt idx="210">
                  <c:v>117.57</c:v>
                </c:pt>
                <c:pt idx="211">
                  <c:v>117.66</c:v>
                </c:pt>
                <c:pt idx="212">
                  <c:v>116.64</c:v>
                </c:pt>
                <c:pt idx="213">
                  <c:v>116.78</c:v>
                </c:pt>
                <c:pt idx="214">
                  <c:v>114.64999999999999</c:v>
                </c:pt>
                <c:pt idx="215">
                  <c:v>115.66</c:v>
                </c:pt>
                <c:pt idx="216">
                  <c:v>114.61</c:v>
                </c:pt>
                <c:pt idx="217">
                  <c:v>116.63</c:v>
                </c:pt>
                <c:pt idx="218">
                  <c:v>115.66999999999999</c:v>
                </c:pt>
                <c:pt idx="219">
                  <c:v>115.04</c:v>
                </c:pt>
                <c:pt idx="220">
                  <c:v>114.84</c:v>
                </c:pt>
                <c:pt idx="221">
                  <c:v>115.75</c:v>
                </c:pt>
                <c:pt idx="222">
                  <c:v>116.47</c:v>
                </c:pt>
                <c:pt idx="223">
                  <c:v>116.71000000000001</c:v>
                </c:pt>
                <c:pt idx="224">
                  <c:v>117.51</c:v>
                </c:pt>
                <c:pt idx="225">
                  <c:v>118.32</c:v>
                </c:pt>
                <c:pt idx="226">
                  <c:v>118.96000000000001</c:v>
                </c:pt>
                <c:pt idx="227">
                  <c:v>118.06</c:v>
                </c:pt>
                <c:pt idx="228">
                  <c:v>118.74000000000001</c:v>
                </c:pt>
                <c:pt idx="229">
                  <c:v>118.44000000000001</c:v>
                </c:pt>
                <c:pt idx="230">
                  <c:v>118.63</c:v>
                </c:pt>
                <c:pt idx="231">
                  <c:v>119.58</c:v>
                </c:pt>
                <c:pt idx="232">
                  <c:v>118.92</c:v>
                </c:pt>
                <c:pt idx="233">
                  <c:v>120.19</c:v>
                </c:pt>
                <c:pt idx="234">
                  <c:v>119.38</c:v>
                </c:pt>
                <c:pt idx="235">
                  <c:v>119.72</c:v>
                </c:pt>
                <c:pt idx="236">
                  <c:v>121.39</c:v>
                </c:pt>
                <c:pt idx="237">
                  <c:v>122.07</c:v>
                </c:pt>
                <c:pt idx="238">
                  <c:v>122.95</c:v>
                </c:pt>
                <c:pt idx="239">
                  <c:v>121.21000000000001</c:v>
                </c:pt>
                <c:pt idx="240">
                  <c:v>120.51</c:v>
                </c:pt>
                <c:pt idx="241">
                  <c:v>120.67999999999999</c:v>
                </c:pt>
                <c:pt idx="242">
                  <c:v>121.47</c:v>
                </c:pt>
                <c:pt idx="243">
                  <c:v>121.69</c:v>
                </c:pt>
                <c:pt idx="244">
                  <c:v>119.98</c:v>
                </c:pt>
                <c:pt idx="245">
                  <c:v>119.49000000000001</c:v>
                </c:pt>
                <c:pt idx="246">
                  <c:v>119.63</c:v>
                </c:pt>
                <c:pt idx="247">
                  <c:v>119.28</c:v>
                </c:pt>
                <c:pt idx="248">
                  <c:v>118.92</c:v>
                </c:pt>
                <c:pt idx="249">
                  <c:v>119.93</c:v>
                </c:pt>
                <c:pt idx="250">
                  <c:v>120.11</c:v>
                </c:pt>
                <c:pt idx="251">
                  <c:v>119.21000000000001</c:v>
                </c:pt>
                <c:pt idx="252">
                  <c:v>118.9</c:v>
                </c:pt>
                <c:pt idx="253">
                  <c:v>118.16999999999999</c:v>
                </c:pt>
                <c:pt idx="254">
                  <c:v>118.06</c:v>
                </c:pt>
                <c:pt idx="255">
                  <c:v>116.96000000000001</c:v>
                </c:pt>
                <c:pt idx="256">
                  <c:v>115.46000000000001</c:v>
                </c:pt>
                <c:pt idx="257">
                  <c:v>113.59</c:v>
                </c:pt>
                <c:pt idx="258">
                  <c:v>115.4</c:v>
                </c:pt>
                <c:pt idx="259">
                  <c:v>113.11999999999999</c:v>
                </c:pt>
                <c:pt idx="260">
                  <c:v>113.79</c:v>
                </c:pt>
                <c:pt idx="261">
                  <c:v>114.41000000000001</c:v>
                </c:pt>
                <c:pt idx="262">
                  <c:v>113.29</c:v>
                </c:pt>
                <c:pt idx="263">
                  <c:v>110.2</c:v>
                </c:pt>
                <c:pt idx="264">
                  <c:v>111.9</c:v>
                </c:pt>
                <c:pt idx="265">
                  <c:v>113.92</c:v>
                </c:pt>
                <c:pt idx="266">
                  <c:v>115.89</c:v>
                </c:pt>
                <c:pt idx="267">
                  <c:v>114.84</c:v>
                </c:pt>
                <c:pt idx="268">
                  <c:v>115.45</c:v>
                </c:pt>
                <c:pt idx="269">
                  <c:v>115.19</c:v>
                </c:pt>
                <c:pt idx="270">
                  <c:v>115.14999999999999</c:v>
                </c:pt>
                <c:pt idx="271">
                  <c:v>113.72</c:v>
                </c:pt>
                <c:pt idx="272">
                  <c:v>113.45</c:v>
                </c:pt>
                <c:pt idx="273">
                  <c:v>114.82</c:v>
                </c:pt>
                <c:pt idx="274">
                  <c:v>113.93</c:v>
                </c:pt>
                <c:pt idx="275">
                  <c:v>115.93</c:v>
                </c:pt>
                <c:pt idx="276">
                  <c:v>117.99000000000001</c:v>
                </c:pt>
                <c:pt idx="277">
                  <c:v>118.33</c:v>
                </c:pt>
                <c:pt idx="278">
                  <c:v>117.75</c:v>
                </c:pt>
                <c:pt idx="279">
                  <c:v>117.75</c:v>
                </c:pt>
                <c:pt idx="280">
                  <c:v>117.75</c:v>
                </c:pt>
                <c:pt idx="281">
                  <c:v>118.23</c:v>
                </c:pt>
                <c:pt idx="282">
                  <c:v>119.13</c:v>
                </c:pt>
                <c:pt idx="283">
                  <c:v>120.03</c:v>
                </c:pt>
                <c:pt idx="284">
                  <c:v>119.52</c:v>
                </c:pt>
                <c:pt idx="285">
                  <c:v>118.96000000000001</c:v>
                </c:pt>
                <c:pt idx="286">
                  <c:v>119.16999999999999</c:v>
                </c:pt>
                <c:pt idx="287">
                  <c:v>118.82</c:v>
                </c:pt>
                <c:pt idx="288">
                  <c:v>117.42</c:v>
                </c:pt>
                <c:pt idx="289">
                  <c:v>119.53</c:v>
                </c:pt>
                <c:pt idx="290">
                  <c:v>120.13</c:v>
                </c:pt>
                <c:pt idx="291">
                  <c:v>119.93</c:v>
                </c:pt>
                <c:pt idx="292">
                  <c:v>119.77</c:v>
                </c:pt>
                <c:pt idx="293">
                  <c:v>118.61999999999999</c:v>
                </c:pt>
                <c:pt idx="294">
                  <c:v>119.8</c:v>
                </c:pt>
                <c:pt idx="295">
                  <c:v>120.48</c:v>
                </c:pt>
                <c:pt idx="296">
                  <c:v>120.71000000000001</c:v>
                </c:pt>
                <c:pt idx="297">
                  <c:v>120.09</c:v>
                </c:pt>
                <c:pt idx="298">
                  <c:v>122.3</c:v>
                </c:pt>
                <c:pt idx="299">
                  <c:v>122.44000000000001</c:v>
                </c:pt>
                <c:pt idx="300">
                  <c:v>121.52</c:v>
                </c:pt>
                <c:pt idx="301">
                  <c:v>121.86999999999999</c:v>
                </c:pt>
                <c:pt idx="302">
                  <c:v>122.44000000000001</c:v>
                </c:pt>
                <c:pt idx="303">
                  <c:v>124.32</c:v>
                </c:pt>
                <c:pt idx="304">
                  <c:v>125.54</c:v>
                </c:pt>
                <c:pt idx="305">
                  <c:v>126.35</c:v>
                </c:pt>
                <c:pt idx="306">
                  <c:v>127.1</c:v>
                </c:pt>
                <c:pt idx="307">
                  <c:v>126.76</c:v>
                </c:pt>
                <c:pt idx="308">
                  <c:v>126.34</c:v>
                </c:pt>
                <c:pt idx="309">
                  <c:v>126.29</c:v>
                </c:pt>
                <c:pt idx="310">
                  <c:v>126.1</c:v>
                </c:pt>
                <c:pt idx="311">
                  <c:v>125.82</c:v>
                </c:pt>
                <c:pt idx="312">
                  <c:v>125.26</c:v>
                </c:pt>
                <c:pt idx="313">
                  <c:v>126.25</c:v>
                </c:pt>
                <c:pt idx="314">
                  <c:v>126.06</c:v>
                </c:pt>
                <c:pt idx="315">
                  <c:v>126.79</c:v>
                </c:pt>
                <c:pt idx="316">
                  <c:v>127.22</c:v>
                </c:pt>
                <c:pt idx="317">
                  <c:v>126.52</c:v>
                </c:pt>
                <c:pt idx="318">
                  <c:v>126.06</c:v>
                </c:pt>
                <c:pt idx="319">
                  <c:v>125.57</c:v>
                </c:pt>
                <c:pt idx="320">
                  <c:v>124.86999999999999</c:v>
                </c:pt>
                <c:pt idx="321">
                  <c:v>123.27</c:v>
                </c:pt>
                <c:pt idx="322">
                  <c:v>123.46000000000001</c:v>
                </c:pt>
                <c:pt idx="323">
                  <c:v>121.36</c:v>
                </c:pt>
                <c:pt idx="324">
                  <c:v>121.26</c:v>
                </c:pt>
                <c:pt idx="325">
                  <c:v>120.09</c:v>
                </c:pt>
                <c:pt idx="326">
                  <c:v>120.53</c:v>
                </c:pt>
                <c:pt idx="327">
                  <c:v>120.38</c:v>
                </c:pt>
                <c:pt idx="328">
                  <c:v>120.84</c:v>
                </c:pt>
                <c:pt idx="329">
                  <c:v>120.55</c:v>
                </c:pt>
                <c:pt idx="330">
                  <c:v>120.43</c:v>
                </c:pt>
                <c:pt idx="331">
                  <c:v>118.74000000000001</c:v>
                </c:pt>
                <c:pt idx="332">
                  <c:v>118.9</c:v>
                </c:pt>
                <c:pt idx="333">
                  <c:v>120.84</c:v>
                </c:pt>
                <c:pt idx="334">
                  <c:v>121.04</c:v>
                </c:pt>
                <c:pt idx="335">
                  <c:v>122.13</c:v>
                </c:pt>
                <c:pt idx="336">
                  <c:v>120.77</c:v>
                </c:pt>
                <c:pt idx="337">
                  <c:v>120.56</c:v>
                </c:pt>
                <c:pt idx="338">
                  <c:v>120.88</c:v>
                </c:pt>
                <c:pt idx="339">
                  <c:v>119.64</c:v>
                </c:pt>
                <c:pt idx="340">
                  <c:v>119.31</c:v>
                </c:pt>
                <c:pt idx="341">
                  <c:v>118.57</c:v>
                </c:pt>
                <c:pt idx="342">
                  <c:v>117.39</c:v>
                </c:pt>
                <c:pt idx="343">
                  <c:v>118.31</c:v>
                </c:pt>
                <c:pt idx="344">
                  <c:v>118.48</c:v>
                </c:pt>
                <c:pt idx="345">
                  <c:v>117.58</c:v>
                </c:pt>
                <c:pt idx="346">
                  <c:v>116.21000000000001</c:v>
                </c:pt>
                <c:pt idx="347">
                  <c:v>115.11</c:v>
                </c:pt>
                <c:pt idx="348">
                  <c:v>116.1</c:v>
                </c:pt>
                <c:pt idx="349">
                  <c:v>115.89</c:v>
                </c:pt>
                <c:pt idx="350">
                  <c:v>115.53</c:v>
                </c:pt>
                <c:pt idx="351">
                  <c:v>113.69</c:v>
                </c:pt>
                <c:pt idx="352">
                  <c:v>112.05</c:v>
                </c:pt>
                <c:pt idx="353">
                  <c:v>112.39</c:v>
                </c:pt>
                <c:pt idx="354">
                  <c:v>113.45</c:v>
                </c:pt>
                <c:pt idx="355">
                  <c:v>114.29</c:v>
                </c:pt>
                <c:pt idx="356">
                  <c:v>115.55</c:v>
                </c:pt>
                <c:pt idx="357">
                  <c:v>115.76</c:v>
                </c:pt>
                <c:pt idx="358">
                  <c:v>115.52</c:v>
                </c:pt>
                <c:pt idx="359">
                  <c:v>115.17999999999999</c:v>
                </c:pt>
                <c:pt idx="360">
                  <c:v>115.11999999999999</c:v>
                </c:pt>
                <c:pt idx="361">
                  <c:v>114.93</c:v>
                </c:pt>
                <c:pt idx="362">
                  <c:v>114.06</c:v>
                </c:pt>
                <c:pt idx="363">
                  <c:v>113.24000000000001</c:v>
                </c:pt>
                <c:pt idx="364">
                  <c:v>112.73</c:v>
                </c:pt>
                <c:pt idx="365">
                  <c:v>112.46000000000001</c:v>
                </c:pt>
                <c:pt idx="366">
                  <c:v>113.3</c:v>
                </c:pt>
                <c:pt idx="367">
                  <c:v>112.24000000000001</c:v>
                </c:pt>
                <c:pt idx="368">
                  <c:v>111.77</c:v>
                </c:pt>
                <c:pt idx="369">
                  <c:v>111.01</c:v>
                </c:pt>
                <c:pt idx="370">
                  <c:v>111.28</c:v>
                </c:pt>
                <c:pt idx="371">
                  <c:v>111.91000000000001</c:v>
                </c:pt>
                <c:pt idx="372">
                  <c:v>112.08</c:v>
                </c:pt>
                <c:pt idx="373">
                  <c:v>112.43</c:v>
                </c:pt>
                <c:pt idx="374">
                  <c:v>113.38</c:v>
                </c:pt>
                <c:pt idx="375">
                  <c:v>113.56</c:v>
                </c:pt>
                <c:pt idx="376">
                  <c:v>113.56</c:v>
                </c:pt>
                <c:pt idx="377">
                  <c:v>113.88</c:v>
                </c:pt>
                <c:pt idx="378">
                  <c:v>112.84</c:v>
                </c:pt>
                <c:pt idx="379">
                  <c:v>113.42</c:v>
                </c:pt>
                <c:pt idx="380">
                  <c:v>113.01</c:v>
                </c:pt>
                <c:pt idx="381">
                  <c:v>114.86999999999999</c:v>
                </c:pt>
                <c:pt idx="382">
                  <c:v>114.41000000000001</c:v>
                </c:pt>
                <c:pt idx="383">
                  <c:v>112.71000000000001</c:v>
                </c:pt>
                <c:pt idx="384">
                  <c:v>110.52</c:v>
                </c:pt>
                <c:pt idx="385">
                  <c:v>109.22</c:v>
                </c:pt>
                <c:pt idx="386">
                  <c:v>103.97</c:v>
                </c:pt>
                <c:pt idx="387">
                  <c:v>104.07</c:v>
                </c:pt>
                <c:pt idx="388">
                  <c:v>105.11999999999999</c:v>
                </c:pt>
                <c:pt idx="389">
                  <c:v>101.02</c:v>
                </c:pt>
                <c:pt idx="390">
                  <c:v>100.14999999999999</c:v>
                </c:pt>
                <c:pt idx="391">
                  <c:v>98.990000000000009</c:v>
                </c:pt>
                <c:pt idx="392">
                  <c:v>96.910000000000011</c:v>
                </c:pt>
                <c:pt idx="393">
                  <c:v>93.93</c:v>
                </c:pt>
                <c:pt idx="394">
                  <c:v>90.14</c:v>
                </c:pt>
                <c:pt idx="395">
                  <c:v>92.4</c:v>
                </c:pt>
                <c:pt idx="396">
                  <c:v>94.14</c:v>
                </c:pt>
                <c:pt idx="397">
                  <c:v>95.54</c:v>
                </c:pt>
                <c:pt idx="398">
                  <c:v>96.55</c:v>
                </c:pt>
                <c:pt idx="399">
                  <c:v>98.95</c:v>
                </c:pt>
                <c:pt idx="400">
                  <c:v>98.210000000000008</c:v>
                </c:pt>
                <c:pt idx="401">
                  <c:v>97.910000000000011</c:v>
                </c:pt>
                <c:pt idx="402">
                  <c:v>99.01</c:v>
                </c:pt>
                <c:pt idx="403">
                  <c:v>100.88</c:v>
                </c:pt>
                <c:pt idx="404">
                  <c:v>100.39</c:v>
                </c:pt>
                <c:pt idx="405">
                  <c:v>98.93</c:v>
                </c:pt>
                <c:pt idx="406">
                  <c:v>98.76</c:v>
                </c:pt>
                <c:pt idx="407">
                  <c:v>100.46000000000001</c:v>
                </c:pt>
                <c:pt idx="408">
                  <c:v>102.93</c:v>
                </c:pt>
                <c:pt idx="409">
                  <c:v>103.16999999999999</c:v>
                </c:pt>
                <c:pt idx="410">
                  <c:v>102.82</c:v>
                </c:pt>
                <c:pt idx="411">
                  <c:v>103.31</c:v>
                </c:pt>
                <c:pt idx="412">
                  <c:v>104.71000000000001</c:v>
                </c:pt>
                <c:pt idx="413">
                  <c:v>103.11999999999999</c:v>
                </c:pt>
                <c:pt idx="414">
                  <c:v>101.75</c:v>
                </c:pt>
                <c:pt idx="415">
                  <c:v>101.7</c:v>
                </c:pt>
                <c:pt idx="416">
                  <c:v>102.75</c:v>
                </c:pt>
                <c:pt idx="417">
                  <c:v>103</c:v>
                </c:pt>
                <c:pt idx="418">
                  <c:v>102.53</c:v>
                </c:pt>
                <c:pt idx="419">
                  <c:v>104.14999999999999</c:v>
                </c:pt>
                <c:pt idx="420">
                  <c:v>102.84</c:v>
                </c:pt>
                <c:pt idx="421">
                  <c:v>101.17999999999999</c:v>
                </c:pt>
                <c:pt idx="422">
                  <c:v>102.14</c:v>
                </c:pt>
                <c:pt idx="423">
                  <c:v>101.57</c:v>
                </c:pt>
                <c:pt idx="424">
                  <c:v>102.31</c:v>
                </c:pt>
                <c:pt idx="425">
                  <c:v>103.64999999999999</c:v>
                </c:pt>
                <c:pt idx="426">
                  <c:v>103.88</c:v>
                </c:pt>
                <c:pt idx="427">
                  <c:v>104.32</c:v>
                </c:pt>
                <c:pt idx="428">
                  <c:v>105.84</c:v>
                </c:pt>
                <c:pt idx="429">
                  <c:v>105.69</c:v>
                </c:pt>
                <c:pt idx="430">
                  <c:v>104.19</c:v>
                </c:pt>
                <c:pt idx="431">
                  <c:v>106.8</c:v>
                </c:pt>
                <c:pt idx="432">
                  <c:v>107.86</c:v>
                </c:pt>
                <c:pt idx="433">
                  <c:v>107.83</c:v>
                </c:pt>
                <c:pt idx="434">
                  <c:v>108.07</c:v>
                </c:pt>
                <c:pt idx="435">
                  <c:v>108.14</c:v>
                </c:pt>
                <c:pt idx="436">
                  <c:v>107.6</c:v>
                </c:pt>
                <c:pt idx="437">
                  <c:v>107.49000000000001</c:v>
                </c:pt>
                <c:pt idx="438">
                  <c:v>107.6</c:v>
                </c:pt>
                <c:pt idx="439">
                  <c:v>107.61</c:v>
                </c:pt>
                <c:pt idx="440">
                  <c:v>108.28</c:v>
                </c:pt>
                <c:pt idx="441">
                  <c:v>107.85</c:v>
                </c:pt>
                <c:pt idx="442">
                  <c:v>107.48</c:v>
                </c:pt>
                <c:pt idx="443">
                  <c:v>106.64999999999999</c:v>
                </c:pt>
                <c:pt idx="444">
                  <c:v>105.93</c:v>
                </c:pt>
                <c:pt idx="445">
                  <c:v>106.05</c:v>
                </c:pt>
                <c:pt idx="446">
                  <c:v>106.61</c:v>
                </c:pt>
                <c:pt idx="447">
                  <c:v>107.86</c:v>
                </c:pt>
                <c:pt idx="448">
                  <c:v>108.47</c:v>
                </c:pt>
                <c:pt idx="449">
                  <c:v>108.58</c:v>
                </c:pt>
                <c:pt idx="450">
                  <c:v>107.64</c:v>
                </c:pt>
                <c:pt idx="451">
                  <c:v>107.35</c:v>
                </c:pt>
                <c:pt idx="452">
                  <c:v>106.28</c:v>
                </c:pt>
                <c:pt idx="453">
                  <c:v>105.14999999999999</c:v>
                </c:pt>
                <c:pt idx="454">
                  <c:v>104.72</c:v>
                </c:pt>
                <c:pt idx="455">
                  <c:v>106.29</c:v>
                </c:pt>
                <c:pt idx="456">
                  <c:v>106.3</c:v>
                </c:pt>
                <c:pt idx="457">
                  <c:v>105.8</c:v>
                </c:pt>
                <c:pt idx="458">
                  <c:v>105.6</c:v>
                </c:pt>
                <c:pt idx="459">
                  <c:v>106.56</c:v>
                </c:pt>
                <c:pt idx="460">
                  <c:v>108.76</c:v>
                </c:pt>
                <c:pt idx="461">
                  <c:v>109.2</c:v>
                </c:pt>
                <c:pt idx="462">
                  <c:v>108.84</c:v>
                </c:pt>
                <c:pt idx="463">
                  <c:v>108.84</c:v>
                </c:pt>
                <c:pt idx="464">
                  <c:v>106.71000000000001</c:v>
                </c:pt>
                <c:pt idx="465">
                  <c:v>108.7</c:v>
                </c:pt>
                <c:pt idx="466">
                  <c:v>110.29</c:v>
                </c:pt>
                <c:pt idx="467">
                  <c:v>109.86</c:v>
                </c:pt>
                <c:pt idx="468">
                  <c:v>109.6</c:v>
                </c:pt>
                <c:pt idx="469">
                  <c:v>109.52</c:v>
                </c:pt>
                <c:pt idx="470">
                  <c:v>108.92</c:v>
                </c:pt>
                <c:pt idx="471">
                  <c:v>109.27</c:v>
                </c:pt>
                <c:pt idx="472">
                  <c:v>108.11999999999999</c:v>
                </c:pt>
                <c:pt idx="473">
                  <c:v>108.84</c:v>
                </c:pt>
                <c:pt idx="474">
                  <c:v>108.23</c:v>
                </c:pt>
                <c:pt idx="475">
                  <c:v>108.61</c:v>
                </c:pt>
                <c:pt idx="476">
                  <c:v>108.82</c:v>
                </c:pt>
                <c:pt idx="477">
                  <c:v>108.69</c:v>
                </c:pt>
                <c:pt idx="478">
                  <c:v>108</c:v>
                </c:pt>
                <c:pt idx="479">
                  <c:v>108.64</c:v>
                </c:pt>
                <c:pt idx="480">
                  <c:v>109.35</c:v>
                </c:pt>
                <c:pt idx="481">
                  <c:v>109.11</c:v>
                </c:pt>
                <c:pt idx="482">
                  <c:v>110.28</c:v>
                </c:pt>
                <c:pt idx="483">
                  <c:v>108.8</c:v>
                </c:pt>
                <c:pt idx="484">
                  <c:v>108.46000000000001</c:v>
                </c:pt>
                <c:pt idx="485">
                  <c:v>109.78</c:v>
                </c:pt>
                <c:pt idx="486">
                  <c:v>110.59</c:v>
                </c:pt>
                <c:pt idx="487">
                  <c:v>109.74000000000001</c:v>
                </c:pt>
                <c:pt idx="488">
                  <c:v>108.82</c:v>
                </c:pt>
                <c:pt idx="489">
                  <c:v>107.82</c:v>
                </c:pt>
                <c:pt idx="490">
                  <c:v>108.16</c:v>
                </c:pt>
                <c:pt idx="491">
                  <c:v>108.55</c:v>
                </c:pt>
                <c:pt idx="492">
                  <c:v>109.16999999999999</c:v>
                </c:pt>
                <c:pt idx="493">
                  <c:v>110.36999999999999</c:v>
                </c:pt>
                <c:pt idx="494">
                  <c:v>111.07</c:v>
                </c:pt>
                <c:pt idx="495">
                  <c:v>111.14999999999999</c:v>
                </c:pt>
                <c:pt idx="496">
                  <c:v>111.3</c:v>
                </c:pt>
                <c:pt idx="497">
                  <c:v>110.44000000000001</c:v>
                </c:pt>
                <c:pt idx="498">
                  <c:v>109.11</c:v>
                </c:pt>
                <c:pt idx="499">
                  <c:v>108.58</c:v>
                </c:pt>
                <c:pt idx="500">
                  <c:v>108.92</c:v>
                </c:pt>
                <c:pt idx="501">
                  <c:v>108.49000000000001</c:v>
                </c:pt>
                <c:pt idx="502">
                  <c:v>110.3</c:v>
                </c:pt>
                <c:pt idx="503">
                  <c:v>111.9</c:v>
                </c:pt>
                <c:pt idx="504">
                  <c:v>112.63</c:v>
                </c:pt>
                <c:pt idx="505">
                  <c:v>111.13</c:v>
                </c:pt>
                <c:pt idx="506">
                  <c:v>112.66</c:v>
                </c:pt>
                <c:pt idx="507">
                  <c:v>114.58</c:v>
                </c:pt>
                <c:pt idx="508">
                  <c:v>114.7</c:v>
                </c:pt>
                <c:pt idx="509">
                  <c:v>113.43</c:v>
                </c:pt>
                <c:pt idx="510">
                  <c:v>115.01</c:v>
                </c:pt>
                <c:pt idx="511">
                  <c:v>116</c:v>
                </c:pt>
                <c:pt idx="512">
                  <c:v>115.74000000000001</c:v>
                </c:pt>
                <c:pt idx="513">
                  <c:v>115.03</c:v>
                </c:pt>
                <c:pt idx="514">
                  <c:v>114.88</c:v>
                </c:pt>
                <c:pt idx="515">
                  <c:v>114.58</c:v>
                </c:pt>
                <c:pt idx="516">
                  <c:v>115.09</c:v>
                </c:pt>
                <c:pt idx="517">
                  <c:v>115.69</c:v>
                </c:pt>
                <c:pt idx="518">
                  <c:v>115.79</c:v>
                </c:pt>
                <c:pt idx="519">
                  <c:v>114.78</c:v>
                </c:pt>
                <c:pt idx="520">
                  <c:v>114.9</c:v>
                </c:pt>
                <c:pt idx="521">
                  <c:v>115.54</c:v>
                </c:pt>
                <c:pt idx="522">
                  <c:v>115.05</c:v>
                </c:pt>
                <c:pt idx="523">
                  <c:v>115.23</c:v>
                </c:pt>
                <c:pt idx="524">
                  <c:v>115.43</c:v>
                </c:pt>
                <c:pt idx="525">
                  <c:v>116.6</c:v>
                </c:pt>
                <c:pt idx="526">
                  <c:v>116.6</c:v>
                </c:pt>
                <c:pt idx="527">
                  <c:v>116.6</c:v>
                </c:pt>
                <c:pt idx="528">
                  <c:v>116.84</c:v>
                </c:pt>
                <c:pt idx="529">
                  <c:v>116.86999999999999</c:v>
                </c:pt>
                <c:pt idx="530">
                  <c:v>116.5</c:v>
                </c:pt>
                <c:pt idx="531">
                  <c:v>116.97</c:v>
                </c:pt>
                <c:pt idx="532">
                  <c:v>116.05</c:v>
                </c:pt>
                <c:pt idx="533">
                  <c:v>116.33</c:v>
                </c:pt>
                <c:pt idx="534">
                  <c:v>117.57</c:v>
                </c:pt>
                <c:pt idx="535">
                  <c:v>116.5</c:v>
                </c:pt>
                <c:pt idx="536">
                  <c:v>117.21000000000001</c:v>
                </c:pt>
                <c:pt idx="537">
                  <c:v>117.56</c:v>
                </c:pt>
                <c:pt idx="538">
                  <c:v>119.03</c:v>
                </c:pt>
                <c:pt idx="539">
                  <c:v>118.9</c:v>
                </c:pt>
                <c:pt idx="540">
                  <c:v>118.3</c:v>
                </c:pt>
                <c:pt idx="541">
                  <c:v>118.6</c:v>
                </c:pt>
                <c:pt idx="542">
                  <c:v>118.69</c:v>
                </c:pt>
                <c:pt idx="543">
                  <c:v>118.51</c:v>
                </c:pt>
                <c:pt idx="544">
                  <c:v>118.1</c:v>
                </c:pt>
                <c:pt idx="545">
                  <c:v>115.89</c:v>
                </c:pt>
                <c:pt idx="546">
                  <c:v>116.11999999999999</c:v>
                </c:pt>
                <c:pt idx="547">
                  <c:v>115.84</c:v>
                </c:pt>
                <c:pt idx="548">
                  <c:v>116.57</c:v>
                </c:pt>
                <c:pt idx="549">
                  <c:v>116.16</c:v>
                </c:pt>
                <c:pt idx="550">
                  <c:v>116.58</c:v>
                </c:pt>
                <c:pt idx="551">
                  <c:v>116.3</c:v>
                </c:pt>
                <c:pt idx="552">
                  <c:v>116.02</c:v>
                </c:pt>
                <c:pt idx="553">
                  <c:v>115.73</c:v>
                </c:pt>
                <c:pt idx="554">
                  <c:v>117.19</c:v>
                </c:pt>
                <c:pt idx="555">
                  <c:v>116.3</c:v>
                </c:pt>
                <c:pt idx="556">
                  <c:v>115.8</c:v>
                </c:pt>
                <c:pt idx="557">
                  <c:v>116.79</c:v>
                </c:pt>
                <c:pt idx="558">
                  <c:v>117.31</c:v>
                </c:pt>
                <c:pt idx="559">
                  <c:v>116.77</c:v>
                </c:pt>
                <c:pt idx="560">
                  <c:v>116.3</c:v>
                </c:pt>
                <c:pt idx="561">
                  <c:v>115.38</c:v>
                </c:pt>
                <c:pt idx="562">
                  <c:v>114.61</c:v>
                </c:pt>
                <c:pt idx="563">
                  <c:v>114.51</c:v>
                </c:pt>
                <c:pt idx="564">
                  <c:v>113.16</c:v>
                </c:pt>
                <c:pt idx="565">
                  <c:v>113.72</c:v>
                </c:pt>
                <c:pt idx="566">
                  <c:v>113.91000000000001</c:v>
                </c:pt>
                <c:pt idx="567">
                  <c:v>113.67999999999999</c:v>
                </c:pt>
                <c:pt idx="568">
                  <c:v>112.78</c:v>
                </c:pt>
                <c:pt idx="569">
                  <c:v>112.23</c:v>
                </c:pt>
                <c:pt idx="570">
                  <c:v>111.38</c:v>
                </c:pt>
                <c:pt idx="571">
                  <c:v>111.69</c:v>
                </c:pt>
                <c:pt idx="572">
                  <c:v>111.29</c:v>
                </c:pt>
                <c:pt idx="573">
                  <c:v>109.86</c:v>
                </c:pt>
                <c:pt idx="574">
                  <c:v>109.06</c:v>
                </c:pt>
                <c:pt idx="575">
                  <c:v>108.75</c:v>
                </c:pt>
                <c:pt idx="576">
                  <c:v>108.04</c:v>
                </c:pt>
                <c:pt idx="577">
                  <c:v>108.17999999999999</c:v>
                </c:pt>
                <c:pt idx="578">
                  <c:v>108.6</c:v>
                </c:pt>
                <c:pt idx="579">
                  <c:v>107.33</c:v>
                </c:pt>
                <c:pt idx="580">
                  <c:v>106.24000000000001</c:v>
                </c:pt>
                <c:pt idx="581">
                  <c:v>102.91000000000001</c:v>
                </c:pt>
                <c:pt idx="582">
                  <c:v>105.63</c:v>
                </c:pt>
                <c:pt idx="583">
                  <c:v>105.19</c:v>
                </c:pt>
                <c:pt idx="584">
                  <c:v>103.32</c:v>
                </c:pt>
                <c:pt idx="585">
                  <c:v>101.02</c:v>
                </c:pt>
                <c:pt idx="586">
                  <c:v>101.03</c:v>
                </c:pt>
                <c:pt idx="587">
                  <c:v>99.19</c:v>
                </c:pt>
                <c:pt idx="588">
                  <c:v>100.31</c:v>
                </c:pt>
                <c:pt idx="589">
                  <c:v>98.38</c:v>
                </c:pt>
                <c:pt idx="590">
                  <c:v>98.13</c:v>
                </c:pt>
                <c:pt idx="591">
                  <c:v>99.69</c:v>
                </c:pt>
                <c:pt idx="592">
                  <c:v>100.09</c:v>
                </c:pt>
                <c:pt idx="593">
                  <c:v>98.76</c:v>
                </c:pt>
                <c:pt idx="594">
                  <c:v>96.83</c:v>
                </c:pt>
                <c:pt idx="595">
                  <c:v>97.51</c:v>
                </c:pt>
                <c:pt idx="596">
                  <c:v>99.97</c:v>
                </c:pt>
                <c:pt idx="597">
                  <c:v>100.19</c:v>
                </c:pt>
                <c:pt idx="598">
                  <c:v>99.22</c:v>
                </c:pt>
                <c:pt idx="599">
                  <c:v>97.73</c:v>
                </c:pt>
                <c:pt idx="600">
                  <c:v>95.04</c:v>
                </c:pt>
                <c:pt idx="601">
                  <c:v>94.26</c:v>
                </c:pt>
                <c:pt idx="602">
                  <c:v>89.990000000000009</c:v>
                </c:pt>
                <c:pt idx="603">
                  <c:v>89.47</c:v>
                </c:pt>
                <c:pt idx="604">
                  <c:v>90.83</c:v>
                </c:pt>
                <c:pt idx="605">
                  <c:v>92.63</c:v>
                </c:pt>
                <c:pt idx="606">
                  <c:v>89.88</c:v>
                </c:pt>
                <c:pt idx="607">
                  <c:v>87.710000000000008</c:v>
                </c:pt>
                <c:pt idx="608">
                  <c:v>87.149999999999991</c:v>
                </c:pt>
                <c:pt idx="609">
                  <c:v>85.32</c:v>
                </c:pt>
                <c:pt idx="610">
                  <c:v>87.79</c:v>
                </c:pt>
                <c:pt idx="611">
                  <c:v>86.93</c:v>
                </c:pt>
                <c:pt idx="612">
                  <c:v>89.84</c:v>
                </c:pt>
                <c:pt idx="613">
                  <c:v>90.149999999999991</c:v>
                </c:pt>
                <c:pt idx="614">
                  <c:v>90.84</c:v>
                </c:pt>
                <c:pt idx="615">
                  <c:v>87.54</c:v>
                </c:pt>
                <c:pt idx="616">
                  <c:v>88.45</c:v>
                </c:pt>
                <c:pt idx="617">
                  <c:v>86.77</c:v>
                </c:pt>
                <c:pt idx="618">
                  <c:v>89.13</c:v>
                </c:pt>
                <c:pt idx="619">
                  <c:v>88.42</c:v>
                </c:pt>
                <c:pt idx="620">
                  <c:v>90.93</c:v>
                </c:pt>
                <c:pt idx="621">
                  <c:v>91.29</c:v>
                </c:pt>
                <c:pt idx="622">
                  <c:v>90.23</c:v>
                </c:pt>
                <c:pt idx="623">
                  <c:v>91.02</c:v>
                </c:pt>
                <c:pt idx="624">
                  <c:v>89.92</c:v>
                </c:pt>
                <c:pt idx="625">
                  <c:v>91.05</c:v>
                </c:pt>
                <c:pt idx="626">
                  <c:v>91.14</c:v>
                </c:pt>
                <c:pt idx="627">
                  <c:v>93.25</c:v>
                </c:pt>
                <c:pt idx="628">
                  <c:v>91.98</c:v>
                </c:pt>
                <c:pt idx="629">
                  <c:v>92.73</c:v>
                </c:pt>
                <c:pt idx="630">
                  <c:v>94.240000000000009</c:v>
                </c:pt>
                <c:pt idx="631">
                  <c:v>93.36999999999999</c:v>
                </c:pt>
                <c:pt idx="632">
                  <c:v>93.410000000000011</c:v>
                </c:pt>
                <c:pt idx="633">
                  <c:v>94.57</c:v>
                </c:pt>
                <c:pt idx="634">
                  <c:v>92.410000000000011</c:v>
                </c:pt>
                <c:pt idx="635">
                  <c:v>91.45</c:v>
                </c:pt>
                <c:pt idx="636">
                  <c:v>92.31</c:v>
                </c:pt>
                <c:pt idx="637">
                  <c:v>91.35</c:v>
                </c:pt>
                <c:pt idx="638">
                  <c:v>89.22</c:v>
                </c:pt>
                <c:pt idx="639">
                  <c:v>90</c:v>
                </c:pt>
                <c:pt idx="640">
                  <c:v>89.51</c:v>
                </c:pt>
                <c:pt idx="641">
                  <c:v>91.16</c:v>
                </c:pt>
                <c:pt idx="642">
                  <c:v>90.78</c:v>
                </c:pt>
                <c:pt idx="643">
                  <c:v>93.11</c:v>
                </c:pt>
                <c:pt idx="644">
                  <c:v>93.8</c:v>
                </c:pt>
                <c:pt idx="645">
                  <c:v>91.47</c:v>
                </c:pt>
                <c:pt idx="646">
                  <c:v>90.2</c:v>
                </c:pt>
                <c:pt idx="647">
                  <c:v>90.06</c:v>
                </c:pt>
                <c:pt idx="648">
                  <c:v>89.6</c:v>
                </c:pt>
                <c:pt idx="649">
                  <c:v>86.75</c:v>
                </c:pt>
                <c:pt idx="650">
                  <c:v>85.59</c:v>
                </c:pt>
                <c:pt idx="651">
                  <c:v>86.06</c:v>
                </c:pt>
                <c:pt idx="652">
                  <c:v>83.63</c:v>
                </c:pt>
                <c:pt idx="653">
                  <c:v>81.56</c:v>
                </c:pt>
                <c:pt idx="654">
                  <c:v>83.23</c:v>
                </c:pt>
                <c:pt idx="655">
                  <c:v>85.73</c:v>
                </c:pt>
                <c:pt idx="656">
                  <c:v>86.29</c:v>
                </c:pt>
                <c:pt idx="657">
                  <c:v>83.31</c:v>
                </c:pt>
                <c:pt idx="658">
                  <c:v>83.8</c:v>
                </c:pt>
                <c:pt idx="659">
                  <c:v>85.179999999999993</c:v>
                </c:pt>
                <c:pt idx="660">
                  <c:v>85.08</c:v>
                </c:pt>
                <c:pt idx="661">
                  <c:v>84.06</c:v>
                </c:pt>
                <c:pt idx="662">
                  <c:v>83.03</c:v>
                </c:pt>
                <c:pt idx="663">
                  <c:v>82.210000000000008</c:v>
                </c:pt>
                <c:pt idx="664">
                  <c:v>81.459999999999994</c:v>
                </c:pt>
                <c:pt idx="665">
                  <c:v>81.66</c:v>
                </c:pt>
                <c:pt idx="666">
                  <c:v>85.45</c:v>
                </c:pt>
                <c:pt idx="667">
                  <c:v>84.149999999999991</c:v>
                </c:pt>
                <c:pt idx="668">
                  <c:v>88.36999999999999</c:v>
                </c:pt>
                <c:pt idx="669">
                  <c:v>87.36</c:v>
                </c:pt>
                <c:pt idx="670">
                  <c:v>89.8</c:v>
                </c:pt>
                <c:pt idx="671">
                  <c:v>89.64</c:v>
                </c:pt>
                <c:pt idx="672">
                  <c:v>90.34</c:v>
                </c:pt>
                <c:pt idx="673">
                  <c:v>89.93</c:v>
                </c:pt>
                <c:pt idx="674">
                  <c:v>88.01</c:v>
                </c:pt>
                <c:pt idx="675">
                  <c:v>90.36999999999999</c:v>
                </c:pt>
                <c:pt idx="676">
                  <c:v>89.66</c:v>
                </c:pt>
                <c:pt idx="677">
                  <c:v>90.39</c:v>
                </c:pt>
                <c:pt idx="678">
                  <c:v>87.64</c:v>
                </c:pt>
                <c:pt idx="679">
                  <c:v>88.42</c:v>
                </c:pt>
                <c:pt idx="680">
                  <c:v>89</c:v>
                </c:pt>
                <c:pt idx="681">
                  <c:v>87.4</c:v>
                </c:pt>
                <c:pt idx="682">
                  <c:v>90.26</c:v>
                </c:pt>
                <c:pt idx="683">
                  <c:v>90.82</c:v>
                </c:pt>
                <c:pt idx="684">
                  <c:v>90.3</c:v>
                </c:pt>
                <c:pt idx="685">
                  <c:v>89.83</c:v>
                </c:pt>
                <c:pt idx="686">
                  <c:v>88.940000000000012</c:v>
                </c:pt>
                <c:pt idx="687">
                  <c:v>88.3</c:v>
                </c:pt>
                <c:pt idx="688">
                  <c:v>89.29</c:v>
                </c:pt>
                <c:pt idx="689">
                  <c:v>88</c:v>
                </c:pt>
                <c:pt idx="690">
                  <c:v>88.36999999999999</c:v>
                </c:pt>
                <c:pt idx="691">
                  <c:v>88.9</c:v>
                </c:pt>
                <c:pt idx="692">
                  <c:v>89.73</c:v>
                </c:pt>
                <c:pt idx="693">
                  <c:v>89.48</c:v>
                </c:pt>
                <c:pt idx="694">
                  <c:v>88.97</c:v>
                </c:pt>
                <c:pt idx="695">
                  <c:v>91.23</c:v>
                </c:pt>
                <c:pt idx="696">
                  <c:v>91.93</c:v>
                </c:pt>
                <c:pt idx="697">
                  <c:v>90.78</c:v>
                </c:pt>
                <c:pt idx="698">
                  <c:v>88.95</c:v>
                </c:pt>
                <c:pt idx="699">
                  <c:v>90.81</c:v>
                </c:pt>
                <c:pt idx="700">
                  <c:v>91.84</c:v>
                </c:pt>
                <c:pt idx="701">
                  <c:v>92.210000000000008</c:v>
                </c:pt>
                <c:pt idx="702">
                  <c:v>92.05</c:v>
                </c:pt>
                <c:pt idx="703">
                  <c:v>91.05</c:v>
                </c:pt>
                <c:pt idx="704">
                  <c:v>89.960000000000008</c:v>
                </c:pt>
                <c:pt idx="705">
                  <c:v>89.6</c:v>
                </c:pt>
                <c:pt idx="706">
                  <c:v>88.85</c:v>
                </c:pt>
                <c:pt idx="707">
                  <c:v>87.460000000000008</c:v>
                </c:pt>
                <c:pt idx="708">
                  <c:v>86.55</c:v>
                </c:pt>
                <c:pt idx="709">
                  <c:v>87.990000000000009</c:v>
                </c:pt>
                <c:pt idx="710">
                  <c:v>86.440000000000012</c:v>
                </c:pt>
                <c:pt idx="711">
                  <c:v>85.960000000000008</c:v>
                </c:pt>
                <c:pt idx="712">
                  <c:v>87.36</c:v>
                </c:pt>
                <c:pt idx="713">
                  <c:v>86.38</c:v>
                </c:pt>
                <c:pt idx="714">
                  <c:v>84.9</c:v>
                </c:pt>
                <c:pt idx="715">
                  <c:v>84.7</c:v>
                </c:pt>
                <c:pt idx="716">
                  <c:v>85.42</c:v>
                </c:pt>
                <c:pt idx="717">
                  <c:v>85.240000000000009</c:v>
                </c:pt>
                <c:pt idx="718">
                  <c:v>85</c:v>
                </c:pt>
                <c:pt idx="719">
                  <c:v>85</c:v>
                </c:pt>
                <c:pt idx="720">
                  <c:v>85</c:v>
                </c:pt>
                <c:pt idx="721">
                  <c:v>82.78</c:v>
                </c:pt>
                <c:pt idx="722">
                  <c:v>83.940000000000012</c:v>
                </c:pt>
                <c:pt idx="723">
                  <c:v>84.669999999999987</c:v>
                </c:pt>
                <c:pt idx="724">
                  <c:v>84.669999999999987</c:v>
                </c:pt>
                <c:pt idx="725">
                  <c:v>86.77</c:v>
                </c:pt>
                <c:pt idx="726">
                  <c:v>86.7</c:v>
                </c:pt>
                <c:pt idx="727">
                  <c:v>86.179999999999993</c:v>
                </c:pt>
                <c:pt idx="728">
                  <c:v>85.61</c:v>
                </c:pt>
                <c:pt idx="729">
                  <c:v>84.410000000000011</c:v>
                </c:pt>
                <c:pt idx="730">
                  <c:v>84.66</c:v>
                </c:pt>
                <c:pt idx="731">
                  <c:v>84.86999999999999</c:v>
                </c:pt>
                <c:pt idx="732">
                  <c:v>84.4</c:v>
                </c:pt>
                <c:pt idx="733">
                  <c:v>84.61</c:v>
                </c:pt>
                <c:pt idx="734">
                  <c:v>83.56</c:v>
                </c:pt>
                <c:pt idx="735">
                  <c:v>83.6</c:v>
                </c:pt>
                <c:pt idx="736">
                  <c:v>82.34</c:v>
                </c:pt>
                <c:pt idx="737">
                  <c:v>81.7</c:v>
                </c:pt>
                <c:pt idx="738">
                  <c:v>80.930000000000007</c:v>
                </c:pt>
                <c:pt idx="739">
                  <c:v>79.47</c:v>
                </c:pt>
                <c:pt idx="740">
                  <c:v>78.910000000000011</c:v>
                </c:pt>
                <c:pt idx="741">
                  <c:v>78.59</c:v>
                </c:pt>
                <c:pt idx="742">
                  <c:v>75.790000000000006</c:v>
                </c:pt>
                <c:pt idx="743">
                  <c:v>75.86</c:v>
                </c:pt>
                <c:pt idx="744">
                  <c:v>75.11</c:v>
                </c:pt>
                <c:pt idx="745">
                  <c:v>77.239999999999995</c:v>
                </c:pt>
                <c:pt idx="746">
                  <c:v>77.14</c:v>
                </c:pt>
                <c:pt idx="747">
                  <c:v>78.819999999999993</c:v>
                </c:pt>
                <c:pt idx="748">
                  <c:v>76.64</c:v>
                </c:pt>
                <c:pt idx="749">
                  <c:v>78.47</c:v>
                </c:pt>
                <c:pt idx="750">
                  <c:v>76.84</c:v>
                </c:pt>
                <c:pt idx="751">
                  <c:v>76.349999999999994</c:v>
                </c:pt>
                <c:pt idx="752">
                  <c:v>76.349999999999994</c:v>
                </c:pt>
                <c:pt idx="753">
                  <c:v>77.099999999999994</c:v>
                </c:pt>
                <c:pt idx="754">
                  <c:v>76.09</c:v>
                </c:pt>
                <c:pt idx="755">
                  <c:v>75.510000000000005</c:v>
                </c:pt>
                <c:pt idx="756">
                  <c:v>75.56</c:v>
                </c:pt>
                <c:pt idx="757">
                  <c:v>76.77</c:v>
                </c:pt>
                <c:pt idx="758">
                  <c:v>77.64</c:v>
                </c:pt>
                <c:pt idx="759">
                  <c:v>76.69</c:v>
                </c:pt>
                <c:pt idx="760">
                  <c:v>75.56</c:v>
                </c:pt>
                <c:pt idx="761">
                  <c:v>75.989999999999995</c:v>
                </c:pt>
                <c:pt idx="762">
                  <c:v>75.739999999999995</c:v>
                </c:pt>
                <c:pt idx="763">
                  <c:v>72.819999999999993</c:v>
                </c:pt>
                <c:pt idx="764">
                  <c:v>71.98</c:v>
                </c:pt>
                <c:pt idx="765">
                  <c:v>71.910000000000011</c:v>
                </c:pt>
                <c:pt idx="766">
                  <c:v>73.27</c:v>
                </c:pt>
                <c:pt idx="767">
                  <c:v>73.47</c:v>
                </c:pt>
                <c:pt idx="768">
                  <c:v>72.179999999999993</c:v>
                </c:pt>
                <c:pt idx="769">
                  <c:v>70.910000000000011</c:v>
                </c:pt>
                <c:pt idx="770">
                  <c:v>70.61999999999999</c:v>
                </c:pt>
                <c:pt idx="771">
                  <c:v>69.239999999999995</c:v>
                </c:pt>
                <c:pt idx="772">
                  <c:v>68.31</c:v>
                </c:pt>
                <c:pt idx="773">
                  <c:v>68.649999999999991</c:v>
                </c:pt>
                <c:pt idx="774">
                  <c:v>66.33</c:v>
                </c:pt>
                <c:pt idx="775">
                  <c:v>70.36999999999999</c:v>
                </c:pt>
                <c:pt idx="776">
                  <c:v>72.11999999999999</c:v>
                </c:pt>
                <c:pt idx="777">
                  <c:v>74.2</c:v>
                </c:pt>
                <c:pt idx="778">
                  <c:v>75.099999999999994</c:v>
                </c:pt>
                <c:pt idx="779">
                  <c:v>75.900000000000006</c:v>
                </c:pt>
                <c:pt idx="780">
                  <c:v>75.36</c:v>
                </c:pt>
                <c:pt idx="781">
                  <c:v>77.52</c:v>
                </c:pt>
                <c:pt idx="782">
                  <c:v>74.209999999999994</c:v>
                </c:pt>
                <c:pt idx="783">
                  <c:v>74.83</c:v>
                </c:pt>
                <c:pt idx="784">
                  <c:v>74.440000000000012</c:v>
                </c:pt>
                <c:pt idx="785">
                  <c:v>73.36999999999999</c:v>
                </c:pt>
                <c:pt idx="786">
                  <c:v>72.88</c:v>
                </c:pt>
                <c:pt idx="787">
                  <c:v>70.63</c:v>
                </c:pt>
                <c:pt idx="788">
                  <c:v>71.34</c:v>
                </c:pt>
                <c:pt idx="789">
                  <c:v>74.11999999999999</c:v>
                </c:pt>
                <c:pt idx="790">
                  <c:v>74.669999999999987</c:v>
                </c:pt>
                <c:pt idx="791">
                  <c:v>76.02</c:v>
                </c:pt>
                <c:pt idx="792">
                  <c:v>79.23</c:v>
                </c:pt>
                <c:pt idx="793">
                  <c:v>77.81</c:v>
                </c:pt>
                <c:pt idx="794">
                  <c:v>77.58</c:v>
                </c:pt>
                <c:pt idx="795">
                  <c:v>76.040000000000006</c:v>
                </c:pt>
                <c:pt idx="796">
                  <c:v>77.16</c:v>
                </c:pt>
                <c:pt idx="797">
                  <c:v>77.86999999999999</c:v>
                </c:pt>
                <c:pt idx="798">
                  <c:v>79.459999999999994</c:v>
                </c:pt>
                <c:pt idx="799">
                  <c:v>78.69</c:v>
                </c:pt>
                <c:pt idx="800">
                  <c:v>79.179999999999993</c:v>
                </c:pt>
                <c:pt idx="801">
                  <c:v>79.179999999999993</c:v>
                </c:pt>
                <c:pt idx="802">
                  <c:v>79.179999999999993</c:v>
                </c:pt>
                <c:pt idx="803">
                  <c:v>79.92</c:v>
                </c:pt>
                <c:pt idx="804">
                  <c:v>80.739999999999995</c:v>
                </c:pt>
                <c:pt idx="805">
                  <c:v>79.5</c:v>
                </c:pt>
                <c:pt idx="806">
                  <c:v>78.25</c:v>
                </c:pt>
                <c:pt idx="807">
                  <c:v>80.31</c:v>
                </c:pt>
                <c:pt idx="808">
                  <c:v>80.38</c:v>
                </c:pt>
                <c:pt idx="809">
                  <c:v>80.42</c:v>
                </c:pt>
                <c:pt idx="810">
                  <c:v>80.16</c:v>
                </c:pt>
                <c:pt idx="811">
                  <c:v>80.489999999999995</c:v>
                </c:pt>
                <c:pt idx="812">
                  <c:v>81.39</c:v>
                </c:pt>
                <c:pt idx="813">
                  <c:v>82.88</c:v>
                </c:pt>
                <c:pt idx="814">
                  <c:v>81.669999999999987</c:v>
                </c:pt>
                <c:pt idx="815">
                  <c:v>79.48</c:v>
                </c:pt>
                <c:pt idx="816">
                  <c:v>80.36999999999999</c:v>
                </c:pt>
                <c:pt idx="817">
                  <c:v>80.31</c:v>
                </c:pt>
                <c:pt idx="818">
                  <c:v>80.34</c:v>
                </c:pt>
                <c:pt idx="819">
                  <c:v>80.83</c:v>
                </c:pt>
                <c:pt idx="820">
                  <c:v>82.07</c:v>
                </c:pt>
                <c:pt idx="821">
                  <c:v>82.240000000000009</c:v>
                </c:pt>
                <c:pt idx="822">
                  <c:v>79.040000000000006</c:v>
                </c:pt>
                <c:pt idx="823">
                  <c:v>79.400000000000006</c:v>
                </c:pt>
                <c:pt idx="824">
                  <c:v>78.23</c:v>
                </c:pt>
                <c:pt idx="825">
                  <c:v>79.2</c:v>
                </c:pt>
                <c:pt idx="826">
                  <c:v>78.940000000000012</c:v>
                </c:pt>
                <c:pt idx="827">
                  <c:v>78.8</c:v>
                </c:pt>
                <c:pt idx="828">
                  <c:v>79.169999999999987</c:v>
                </c:pt>
                <c:pt idx="829">
                  <c:v>80.760000000000005</c:v>
                </c:pt>
                <c:pt idx="830">
                  <c:v>80.959999999999994</c:v>
                </c:pt>
                <c:pt idx="831">
                  <c:v>82.38</c:v>
                </c:pt>
                <c:pt idx="832">
                  <c:v>83.58</c:v>
                </c:pt>
                <c:pt idx="833">
                  <c:v>82.61</c:v>
                </c:pt>
                <c:pt idx="834">
                  <c:v>83.36</c:v>
                </c:pt>
                <c:pt idx="835">
                  <c:v>83.31</c:v>
                </c:pt>
                <c:pt idx="836">
                  <c:v>85.240000000000009</c:v>
                </c:pt>
                <c:pt idx="837">
                  <c:v>84.53</c:v>
                </c:pt>
                <c:pt idx="838">
                  <c:v>84.45</c:v>
                </c:pt>
                <c:pt idx="839">
                  <c:v>85.57</c:v>
                </c:pt>
                <c:pt idx="840">
                  <c:v>86.09</c:v>
                </c:pt>
                <c:pt idx="841">
                  <c:v>84.86999999999999</c:v>
                </c:pt>
                <c:pt idx="842">
                  <c:v>86.52</c:v>
                </c:pt>
                <c:pt idx="843">
                  <c:v>87.45</c:v>
                </c:pt>
                <c:pt idx="844">
                  <c:v>87.77</c:v>
                </c:pt>
                <c:pt idx="845">
                  <c:v>86.16</c:v>
                </c:pt>
                <c:pt idx="846">
                  <c:v>86.39</c:v>
                </c:pt>
                <c:pt idx="847">
                  <c:v>84.86</c:v>
                </c:pt>
                <c:pt idx="848">
                  <c:v>84.36</c:v>
                </c:pt>
                <c:pt idx="849">
                  <c:v>85.38</c:v>
                </c:pt>
                <c:pt idx="850">
                  <c:v>85.11</c:v>
                </c:pt>
                <c:pt idx="851">
                  <c:v>84.86999999999999</c:v>
                </c:pt>
                <c:pt idx="852">
                  <c:v>84.22</c:v>
                </c:pt>
                <c:pt idx="853">
                  <c:v>82.27</c:v>
                </c:pt>
                <c:pt idx="854">
                  <c:v>83.57</c:v>
                </c:pt>
                <c:pt idx="855">
                  <c:v>83.960000000000008</c:v>
                </c:pt>
                <c:pt idx="856">
                  <c:v>83.81</c:v>
                </c:pt>
                <c:pt idx="857">
                  <c:v>85.64</c:v>
                </c:pt>
                <c:pt idx="858">
                  <c:v>85.410000000000011</c:v>
                </c:pt>
                <c:pt idx="859">
                  <c:v>85.149999999999991</c:v>
                </c:pt>
                <c:pt idx="860">
                  <c:v>84.55</c:v>
                </c:pt>
                <c:pt idx="861">
                  <c:v>85.72</c:v>
                </c:pt>
                <c:pt idx="862">
                  <c:v>86.740000000000009</c:v>
                </c:pt>
                <c:pt idx="863">
                  <c:v>86.490000000000009</c:v>
                </c:pt>
                <c:pt idx="864">
                  <c:v>85.79</c:v>
                </c:pt>
                <c:pt idx="865">
                  <c:v>85.09</c:v>
                </c:pt>
                <c:pt idx="866">
                  <c:v>85</c:v>
                </c:pt>
                <c:pt idx="867">
                  <c:v>84.75</c:v>
                </c:pt>
                <c:pt idx="868">
                  <c:v>84.86999999999999</c:v>
                </c:pt>
                <c:pt idx="869">
                  <c:v>84.52</c:v>
                </c:pt>
                <c:pt idx="870">
                  <c:v>85.649999999999991</c:v>
                </c:pt>
                <c:pt idx="871">
                  <c:v>85.55</c:v>
                </c:pt>
                <c:pt idx="872">
                  <c:v>85.83</c:v>
                </c:pt>
                <c:pt idx="873">
                  <c:v>86.03</c:v>
                </c:pt>
                <c:pt idx="874">
                  <c:v>86.75</c:v>
                </c:pt>
                <c:pt idx="875">
                  <c:v>87.460000000000008</c:v>
                </c:pt>
                <c:pt idx="876">
                  <c:v>86.82</c:v>
                </c:pt>
                <c:pt idx="877">
                  <c:v>86.08</c:v>
                </c:pt>
                <c:pt idx="878">
                  <c:v>86.45</c:v>
                </c:pt>
                <c:pt idx="879">
                  <c:v>85.39</c:v>
                </c:pt>
                <c:pt idx="880">
                  <c:v>85.97</c:v>
                </c:pt>
                <c:pt idx="881">
                  <c:v>86.58</c:v>
                </c:pt>
                <c:pt idx="882">
                  <c:v>86.669999999999987</c:v>
                </c:pt>
                <c:pt idx="883">
                  <c:v>87.02</c:v>
                </c:pt>
                <c:pt idx="884">
                  <c:v>87.11999999999999</c:v>
                </c:pt>
                <c:pt idx="885">
                  <c:v>88.2</c:v>
                </c:pt>
                <c:pt idx="886">
                  <c:v>88.410000000000011</c:v>
                </c:pt>
                <c:pt idx="887">
                  <c:v>89.33</c:v>
                </c:pt>
                <c:pt idx="888">
                  <c:v>89.69</c:v>
                </c:pt>
                <c:pt idx="889">
                  <c:v>89.61</c:v>
                </c:pt>
                <c:pt idx="890">
                  <c:v>90.36</c:v>
                </c:pt>
                <c:pt idx="891">
                  <c:v>90.79</c:v>
                </c:pt>
                <c:pt idx="892">
                  <c:v>90.27</c:v>
                </c:pt>
                <c:pt idx="893">
                  <c:v>89.33</c:v>
                </c:pt>
                <c:pt idx="894">
                  <c:v>89.85</c:v>
                </c:pt>
                <c:pt idx="895">
                  <c:v>89.83</c:v>
                </c:pt>
                <c:pt idx="896">
                  <c:v>88.11</c:v>
                </c:pt>
                <c:pt idx="897">
                  <c:v>88.86</c:v>
                </c:pt>
                <c:pt idx="898">
                  <c:v>89.72</c:v>
                </c:pt>
                <c:pt idx="899">
                  <c:v>90.16</c:v>
                </c:pt>
                <c:pt idx="900">
                  <c:v>89.72</c:v>
                </c:pt>
                <c:pt idx="901">
                  <c:v>88.85</c:v>
                </c:pt>
                <c:pt idx="902">
                  <c:v>88.66</c:v>
                </c:pt>
                <c:pt idx="903">
                  <c:v>87.490000000000009</c:v>
                </c:pt>
                <c:pt idx="904">
                  <c:v>87.09</c:v>
                </c:pt>
                <c:pt idx="905">
                  <c:v>87.35</c:v>
                </c:pt>
                <c:pt idx="906">
                  <c:v>86.9</c:v>
                </c:pt>
                <c:pt idx="907">
                  <c:v>87.11</c:v>
                </c:pt>
                <c:pt idx="908">
                  <c:v>87.73</c:v>
                </c:pt>
                <c:pt idx="909">
                  <c:v>87.8</c:v>
                </c:pt>
                <c:pt idx="910">
                  <c:v>88.679999999999993</c:v>
                </c:pt>
                <c:pt idx="911">
                  <c:v>88.25</c:v>
                </c:pt>
                <c:pt idx="912">
                  <c:v>87.72</c:v>
                </c:pt>
                <c:pt idx="913">
                  <c:v>87.48</c:v>
                </c:pt>
                <c:pt idx="914">
                  <c:v>87.61999999999999</c:v>
                </c:pt>
                <c:pt idx="915">
                  <c:v>86.56</c:v>
                </c:pt>
                <c:pt idx="916">
                  <c:v>85.85</c:v>
                </c:pt>
                <c:pt idx="917">
                  <c:v>85.440000000000012</c:v>
                </c:pt>
                <c:pt idx="918">
                  <c:v>83.85</c:v>
                </c:pt>
                <c:pt idx="919">
                  <c:v>84.32</c:v>
                </c:pt>
                <c:pt idx="920">
                  <c:v>85.210000000000008</c:v>
                </c:pt>
                <c:pt idx="921">
                  <c:v>86.84</c:v>
                </c:pt>
                <c:pt idx="922">
                  <c:v>87.11999999999999</c:v>
                </c:pt>
                <c:pt idx="923">
                  <c:v>86.45</c:v>
                </c:pt>
                <c:pt idx="924">
                  <c:v>86.43</c:v>
                </c:pt>
                <c:pt idx="925">
                  <c:v>87.59</c:v>
                </c:pt>
                <c:pt idx="926">
                  <c:v>86.83</c:v>
                </c:pt>
                <c:pt idx="927">
                  <c:v>88.66</c:v>
                </c:pt>
                <c:pt idx="928">
                  <c:v>88.28</c:v>
                </c:pt>
                <c:pt idx="929">
                  <c:v>89.55</c:v>
                </c:pt>
                <c:pt idx="930">
                  <c:v>89.79</c:v>
                </c:pt>
                <c:pt idx="931">
                  <c:v>89.649999999999991</c:v>
                </c:pt>
                <c:pt idx="932">
                  <c:v>89.42</c:v>
                </c:pt>
                <c:pt idx="933">
                  <c:v>89.48</c:v>
                </c:pt>
                <c:pt idx="934">
                  <c:v>87.78</c:v>
                </c:pt>
                <c:pt idx="935">
                  <c:v>87.19</c:v>
                </c:pt>
                <c:pt idx="936">
                  <c:v>87.16</c:v>
                </c:pt>
                <c:pt idx="937">
                  <c:v>88.01</c:v>
                </c:pt>
                <c:pt idx="938">
                  <c:v>88.960000000000008</c:v>
                </c:pt>
                <c:pt idx="939">
                  <c:v>89.679999999999993</c:v>
                </c:pt>
                <c:pt idx="940">
                  <c:v>90.51</c:v>
                </c:pt>
                <c:pt idx="941">
                  <c:v>91.07</c:v>
                </c:pt>
                <c:pt idx="942">
                  <c:v>91.990000000000009</c:v>
                </c:pt>
                <c:pt idx="943">
                  <c:v>91.669999999999987</c:v>
                </c:pt>
                <c:pt idx="944">
                  <c:v>91.55</c:v>
                </c:pt>
                <c:pt idx="945">
                  <c:v>91.63</c:v>
                </c:pt>
                <c:pt idx="946">
                  <c:v>92.179999999999993</c:v>
                </c:pt>
                <c:pt idx="947">
                  <c:v>91.69</c:v>
                </c:pt>
                <c:pt idx="948">
                  <c:v>91.2</c:v>
                </c:pt>
                <c:pt idx="949">
                  <c:v>91.06</c:v>
                </c:pt>
                <c:pt idx="950">
                  <c:v>91</c:v>
                </c:pt>
                <c:pt idx="951">
                  <c:v>90.6</c:v>
                </c:pt>
                <c:pt idx="952">
                  <c:v>89.47</c:v>
                </c:pt>
                <c:pt idx="953">
                  <c:v>89.32</c:v>
                </c:pt>
                <c:pt idx="954">
                  <c:v>89.410000000000011</c:v>
                </c:pt>
                <c:pt idx="955">
                  <c:v>89.14</c:v>
                </c:pt>
                <c:pt idx="956">
                  <c:v>89.01</c:v>
                </c:pt>
                <c:pt idx="957">
                  <c:v>90.53</c:v>
                </c:pt>
                <c:pt idx="958">
                  <c:v>90.83</c:v>
                </c:pt>
                <c:pt idx="959">
                  <c:v>90.85</c:v>
                </c:pt>
                <c:pt idx="960">
                  <c:v>90.960000000000008</c:v>
                </c:pt>
                <c:pt idx="961">
                  <c:v>90.32</c:v>
                </c:pt>
                <c:pt idx="962">
                  <c:v>91.55</c:v>
                </c:pt>
                <c:pt idx="963">
                  <c:v>90.83</c:v>
                </c:pt>
                <c:pt idx="964">
                  <c:v>90.710000000000008</c:v>
                </c:pt>
                <c:pt idx="965">
                  <c:v>90.5</c:v>
                </c:pt>
                <c:pt idx="966">
                  <c:v>89.81</c:v>
                </c:pt>
                <c:pt idx="967">
                  <c:v>89.56</c:v>
                </c:pt>
                <c:pt idx="968">
                  <c:v>90.61999999999999</c:v>
                </c:pt>
                <c:pt idx="969">
                  <c:v>89.55</c:v>
                </c:pt>
                <c:pt idx="970">
                  <c:v>90.210000000000008</c:v>
                </c:pt>
                <c:pt idx="971">
                  <c:v>89.83</c:v>
                </c:pt>
                <c:pt idx="972">
                  <c:v>89.740000000000009</c:v>
                </c:pt>
                <c:pt idx="973">
                  <c:v>88.92</c:v>
                </c:pt>
                <c:pt idx="974">
                  <c:v>88.76</c:v>
                </c:pt>
                <c:pt idx="975">
                  <c:v>89.52</c:v>
                </c:pt>
                <c:pt idx="976">
                  <c:v>89.93</c:v>
                </c:pt>
                <c:pt idx="977">
                  <c:v>89.55</c:v>
                </c:pt>
                <c:pt idx="978">
                  <c:v>90.26</c:v>
                </c:pt>
                <c:pt idx="979">
                  <c:v>90.5</c:v>
                </c:pt>
                <c:pt idx="980">
                  <c:v>90.6</c:v>
                </c:pt>
                <c:pt idx="981">
                  <c:v>91.13</c:v>
                </c:pt>
                <c:pt idx="982">
                  <c:v>91</c:v>
                </c:pt>
                <c:pt idx="983">
                  <c:v>91</c:v>
                </c:pt>
                <c:pt idx="984">
                  <c:v>91.5</c:v>
                </c:pt>
                <c:pt idx="985">
                  <c:v>92.03</c:v>
                </c:pt>
                <c:pt idx="986">
                  <c:v>91.97</c:v>
                </c:pt>
                <c:pt idx="987">
                  <c:v>91.95</c:v>
                </c:pt>
                <c:pt idx="988">
                  <c:v>92.86999999999999</c:v>
                </c:pt>
                <c:pt idx="989">
                  <c:v>92.61999999999999</c:v>
                </c:pt>
                <c:pt idx="990">
                  <c:v>92.73</c:v>
                </c:pt>
                <c:pt idx="991">
                  <c:v>92.79</c:v>
                </c:pt>
                <c:pt idx="992">
                  <c:v>94.179999999999993</c:v>
                </c:pt>
                <c:pt idx="993">
                  <c:v>94.43</c:v>
                </c:pt>
                <c:pt idx="994">
                  <c:v>95.43</c:v>
                </c:pt>
                <c:pt idx="995">
                  <c:v>95.29</c:v>
                </c:pt>
                <c:pt idx="996">
                  <c:v>94.78</c:v>
                </c:pt>
                <c:pt idx="997">
                  <c:v>95.1</c:v>
                </c:pt>
                <c:pt idx="998">
                  <c:v>94.710000000000008</c:v>
                </c:pt>
                <c:pt idx="999">
                  <c:v>94.01</c:v>
                </c:pt>
                <c:pt idx="1000">
                  <c:v>93.740000000000009</c:v>
                </c:pt>
                <c:pt idx="1001">
                  <c:v>93.460000000000008</c:v>
                </c:pt>
                <c:pt idx="1002">
                  <c:v>94.61</c:v>
                </c:pt>
                <c:pt idx="1003">
                  <c:v>94.33</c:v>
                </c:pt>
                <c:pt idx="1004">
                  <c:v>94.149999999999991</c:v>
                </c:pt>
                <c:pt idx="1005">
                  <c:v>93.97</c:v>
                </c:pt>
                <c:pt idx="1006">
                  <c:v>93.990000000000009</c:v>
                </c:pt>
                <c:pt idx="1007">
                  <c:v>93.7</c:v>
                </c:pt>
                <c:pt idx="1008">
                  <c:v>93.45</c:v>
                </c:pt>
                <c:pt idx="1009">
                  <c:v>93.72</c:v>
                </c:pt>
                <c:pt idx="1010">
                  <c:v>95.179999999999993</c:v>
                </c:pt>
                <c:pt idx="1011">
                  <c:v>95.179999999999993</c:v>
                </c:pt>
                <c:pt idx="1012">
                  <c:v>95.63</c:v>
                </c:pt>
                <c:pt idx="1013">
                  <c:v>96.149999999999991</c:v>
                </c:pt>
                <c:pt idx="1014">
                  <c:v>96.36999999999999</c:v>
                </c:pt>
                <c:pt idx="1015">
                  <c:v>96.86</c:v>
                </c:pt>
                <c:pt idx="1016">
                  <c:v>98.169999999999987</c:v>
                </c:pt>
                <c:pt idx="1017">
                  <c:v>98.29</c:v>
                </c:pt>
                <c:pt idx="1018">
                  <c:v>99.89</c:v>
                </c:pt>
                <c:pt idx="1019">
                  <c:v>99.26</c:v>
                </c:pt>
                <c:pt idx="1020">
                  <c:v>99.11999999999999</c:v>
                </c:pt>
                <c:pt idx="1021">
                  <c:v>98.16</c:v>
                </c:pt>
                <c:pt idx="1022">
                  <c:v>99.14</c:v>
                </c:pt>
                <c:pt idx="1023">
                  <c:v>98.490000000000009</c:v>
                </c:pt>
                <c:pt idx="1024">
                  <c:v>98.11999999999999</c:v>
                </c:pt>
                <c:pt idx="1025">
                  <c:v>99.85</c:v>
                </c:pt>
                <c:pt idx="1026">
                  <c:v>100.46000000000001</c:v>
                </c:pt>
                <c:pt idx="1027">
                  <c:v>99.95</c:v>
                </c:pt>
                <c:pt idx="1028">
                  <c:v>100.26</c:v>
                </c:pt>
                <c:pt idx="1029">
                  <c:v>99.460000000000008</c:v>
                </c:pt>
                <c:pt idx="1030">
                  <c:v>100.14</c:v>
                </c:pt>
                <c:pt idx="1031">
                  <c:v>99.2</c:v>
                </c:pt>
                <c:pt idx="1032">
                  <c:v>97.86999999999999</c:v>
                </c:pt>
                <c:pt idx="1033">
                  <c:v>95.08</c:v>
                </c:pt>
                <c:pt idx="1034">
                  <c:v>95.740000000000009</c:v>
                </c:pt>
                <c:pt idx="1035">
                  <c:v>94.4</c:v>
                </c:pt>
                <c:pt idx="1036">
                  <c:v>94.51</c:v>
                </c:pt>
                <c:pt idx="1037">
                  <c:v>95.960000000000008</c:v>
                </c:pt>
                <c:pt idx="1038">
                  <c:v>94.8</c:v>
                </c:pt>
                <c:pt idx="1039">
                  <c:v>95.440000000000012</c:v>
                </c:pt>
                <c:pt idx="1040">
                  <c:v>93.86999999999999</c:v>
                </c:pt>
                <c:pt idx="1041">
                  <c:v>94.61999999999999</c:v>
                </c:pt>
                <c:pt idx="1042">
                  <c:v>94.22</c:v>
                </c:pt>
                <c:pt idx="1043">
                  <c:v>94.88</c:v>
                </c:pt>
                <c:pt idx="1044">
                  <c:v>94.84</c:v>
                </c:pt>
                <c:pt idx="1045">
                  <c:v>96.01</c:v>
                </c:pt>
                <c:pt idx="1046">
                  <c:v>95.75</c:v>
                </c:pt>
                <c:pt idx="1047">
                  <c:v>95.53</c:v>
                </c:pt>
                <c:pt idx="1048">
                  <c:v>96.36</c:v>
                </c:pt>
                <c:pt idx="1049">
                  <c:v>97.95</c:v>
                </c:pt>
                <c:pt idx="1050">
                  <c:v>98.63</c:v>
                </c:pt>
                <c:pt idx="1051">
                  <c:v>98.4</c:v>
                </c:pt>
                <c:pt idx="1052">
                  <c:v>98.29</c:v>
                </c:pt>
                <c:pt idx="1053">
                  <c:v>98.5</c:v>
                </c:pt>
                <c:pt idx="1054">
                  <c:v>99.55</c:v>
                </c:pt>
                <c:pt idx="1055">
                  <c:v>97.95</c:v>
                </c:pt>
                <c:pt idx="1056">
                  <c:v>97.6</c:v>
                </c:pt>
                <c:pt idx="1057">
                  <c:v>98.440000000000012</c:v>
                </c:pt>
                <c:pt idx="1058">
                  <c:v>98.82</c:v>
                </c:pt>
                <c:pt idx="1059">
                  <c:v>99.61</c:v>
                </c:pt>
                <c:pt idx="1060">
                  <c:v>98.75</c:v>
                </c:pt>
                <c:pt idx="1061">
                  <c:v>99.27</c:v>
                </c:pt>
                <c:pt idx="1062">
                  <c:v>99.460000000000008</c:v>
                </c:pt>
                <c:pt idx="1063">
                  <c:v>100.01</c:v>
                </c:pt>
                <c:pt idx="1064">
                  <c:v>99.73</c:v>
                </c:pt>
                <c:pt idx="1065">
                  <c:v>98.76</c:v>
                </c:pt>
                <c:pt idx="1066">
                  <c:v>97.79</c:v>
                </c:pt>
                <c:pt idx="1067">
                  <c:v>96.990000000000009</c:v>
                </c:pt>
                <c:pt idx="1068">
                  <c:v>97.56</c:v>
                </c:pt>
                <c:pt idx="1069">
                  <c:v>97.82</c:v>
                </c:pt>
                <c:pt idx="1070">
                  <c:v>98.179999999999993</c:v>
                </c:pt>
                <c:pt idx="1071">
                  <c:v>96.73</c:v>
                </c:pt>
                <c:pt idx="1072">
                  <c:v>96.64</c:v>
                </c:pt>
                <c:pt idx="1073">
                  <c:v>94.13</c:v>
                </c:pt>
                <c:pt idx="1074">
                  <c:v>95.25</c:v>
                </c:pt>
                <c:pt idx="1075">
                  <c:v>94.58</c:v>
                </c:pt>
                <c:pt idx="1076">
                  <c:v>95.8</c:v>
                </c:pt>
                <c:pt idx="1077">
                  <c:v>95.240000000000009</c:v>
                </c:pt>
                <c:pt idx="1078">
                  <c:v>94.11</c:v>
                </c:pt>
                <c:pt idx="1079">
                  <c:v>94.61</c:v>
                </c:pt>
                <c:pt idx="1080">
                  <c:v>95.8</c:v>
                </c:pt>
                <c:pt idx="1081">
                  <c:v>95.31</c:v>
                </c:pt>
                <c:pt idx="1082">
                  <c:v>95.36999999999999</c:v>
                </c:pt>
                <c:pt idx="1083">
                  <c:v>95.47</c:v>
                </c:pt>
                <c:pt idx="1084">
                  <c:v>94.990000000000009</c:v>
                </c:pt>
                <c:pt idx="1085">
                  <c:v>96.01</c:v>
                </c:pt>
                <c:pt idx="1086">
                  <c:v>96.940000000000012</c:v>
                </c:pt>
                <c:pt idx="1087">
                  <c:v>96.910000000000011</c:v>
                </c:pt>
                <c:pt idx="1088">
                  <c:v>96.960000000000008</c:v>
                </c:pt>
                <c:pt idx="1089">
                  <c:v>96.649999999999991</c:v>
                </c:pt>
                <c:pt idx="1090">
                  <c:v>96.86</c:v>
                </c:pt>
                <c:pt idx="1091">
                  <c:v>97.36</c:v>
                </c:pt>
                <c:pt idx="1092">
                  <c:v>97.910000000000011</c:v>
                </c:pt>
                <c:pt idx="1093">
                  <c:v>98.51</c:v>
                </c:pt>
                <c:pt idx="1094">
                  <c:v>98.61</c:v>
                </c:pt>
                <c:pt idx="1095">
                  <c:v>98.649999999999991</c:v>
                </c:pt>
                <c:pt idx="1096">
                  <c:v>99.149999999999991</c:v>
                </c:pt>
                <c:pt idx="1097">
                  <c:v>99.1</c:v>
                </c:pt>
                <c:pt idx="1098">
                  <c:v>97.63</c:v>
                </c:pt>
                <c:pt idx="1099">
                  <c:v>98.42</c:v>
                </c:pt>
                <c:pt idx="1100">
                  <c:v>99.149999999999991</c:v>
                </c:pt>
                <c:pt idx="1101">
                  <c:v>99.28</c:v>
                </c:pt>
                <c:pt idx="1102">
                  <c:v>99.47</c:v>
                </c:pt>
                <c:pt idx="1103">
                  <c:v>99.47</c:v>
                </c:pt>
                <c:pt idx="1104">
                  <c:v>98.57</c:v>
                </c:pt>
                <c:pt idx="1105">
                  <c:v>98.88</c:v>
                </c:pt>
                <c:pt idx="1106">
                  <c:v>98.4</c:v>
                </c:pt>
                <c:pt idx="1107">
                  <c:v>98.669999999999987</c:v>
                </c:pt>
                <c:pt idx="1108">
                  <c:v>99.210000000000008</c:v>
                </c:pt>
                <c:pt idx="1109">
                  <c:v>98.66</c:v>
                </c:pt>
                <c:pt idx="1110">
                  <c:v>97.88</c:v>
                </c:pt>
                <c:pt idx="1111">
                  <c:v>97.03</c:v>
                </c:pt>
                <c:pt idx="1112">
                  <c:v>96.29</c:v>
                </c:pt>
                <c:pt idx="1113">
                  <c:v>96.34</c:v>
                </c:pt>
                <c:pt idx="1114">
                  <c:v>96.19</c:v>
                </c:pt>
                <c:pt idx="1115">
                  <c:v>95.73</c:v>
                </c:pt>
                <c:pt idx="1116">
                  <c:v>95.85</c:v>
                </c:pt>
                <c:pt idx="1117">
                  <c:v>95.86999999999999</c:v>
                </c:pt>
                <c:pt idx="1118">
                  <c:v>95.69</c:v>
                </c:pt>
                <c:pt idx="1119">
                  <c:v>96.04</c:v>
                </c:pt>
                <c:pt idx="1120">
                  <c:v>95.56</c:v>
                </c:pt>
                <c:pt idx="1121">
                  <c:v>94.92</c:v>
                </c:pt>
                <c:pt idx="1122">
                  <c:v>95.4</c:v>
                </c:pt>
                <c:pt idx="1123">
                  <c:v>95.27</c:v>
                </c:pt>
                <c:pt idx="1124">
                  <c:v>94.83</c:v>
                </c:pt>
                <c:pt idx="1125">
                  <c:v>95.25</c:v>
                </c:pt>
                <c:pt idx="1126">
                  <c:v>94.210000000000008</c:v>
                </c:pt>
                <c:pt idx="1127">
                  <c:v>95.09</c:v>
                </c:pt>
                <c:pt idx="1128">
                  <c:v>94.2</c:v>
                </c:pt>
                <c:pt idx="1129">
                  <c:v>94.92</c:v>
                </c:pt>
                <c:pt idx="1130">
                  <c:v>95.47</c:v>
                </c:pt>
                <c:pt idx="1131">
                  <c:v>95.910000000000011</c:v>
                </c:pt>
                <c:pt idx="1132">
                  <c:v>96.31</c:v>
                </c:pt>
                <c:pt idx="1133">
                  <c:v>96.240000000000009</c:v>
                </c:pt>
                <c:pt idx="1134">
                  <c:v>96.4</c:v>
                </c:pt>
                <c:pt idx="1135">
                  <c:v>95.679999999999993</c:v>
                </c:pt>
                <c:pt idx="1136">
                  <c:v>96.01</c:v>
                </c:pt>
                <c:pt idx="1137">
                  <c:v>94.29</c:v>
                </c:pt>
                <c:pt idx="1138">
                  <c:v>93.3</c:v>
                </c:pt>
                <c:pt idx="1139">
                  <c:v>93.92</c:v>
                </c:pt>
                <c:pt idx="1140">
                  <c:v>93.55</c:v>
                </c:pt>
                <c:pt idx="1141">
                  <c:v>93.54</c:v>
                </c:pt>
                <c:pt idx="1142">
                  <c:v>93.45</c:v>
                </c:pt>
                <c:pt idx="1143">
                  <c:v>93.990000000000009</c:v>
                </c:pt>
                <c:pt idx="1144">
                  <c:v>94.03</c:v>
                </c:pt>
                <c:pt idx="1145">
                  <c:v>94.169999999999987</c:v>
                </c:pt>
                <c:pt idx="1146">
                  <c:v>94.26</c:v>
                </c:pt>
                <c:pt idx="1147">
                  <c:v>93.97</c:v>
                </c:pt>
                <c:pt idx="1148">
                  <c:v>95.26</c:v>
                </c:pt>
                <c:pt idx="1149">
                  <c:v>95.06</c:v>
                </c:pt>
                <c:pt idx="1150">
                  <c:v>95.22</c:v>
                </c:pt>
                <c:pt idx="1151">
                  <c:v>95.679999999999993</c:v>
                </c:pt>
                <c:pt idx="1152">
                  <c:v>96.61999999999999</c:v>
                </c:pt>
                <c:pt idx="1153">
                  <c:v>96.56</c:v>
                </c:pt>
                <c:pt idx="1154">
                  <c:v>95.9</c:v>
                </c:pt>
                <c:pt idx="1155">
                  <c:v>96.43</c:v>
                </c:pt>
                <c:pt idx="1156">
                  <c:v>96.61999999999999</c:v>
                </c:pt>
                <c:pt idx="1157">
                  <c:v>97.34</c:v>
                </c:pt>
                <c:pt idx="1158">
                  <c:v>97.54</c:v>
                </c:pt>
                <c:pt idx="1159">
                  <c:v>97.36</c:v>
                </c:pt>
                <c:pt idx="1160">
                  <c:v>97.23</c:v>
                </c:pt>
                <c:pt idx="1161">
                  <c:v>96.81</c:v>
                </c:pt>
                <c:pt idx="1162">
                  <c:v>96.85</c:v>
                </c:pt>
                <c:pt idx="1163">
                  <c:v>97.47</c:v>
                </c:pt>
                <c:pt idx="1164">
                  <c:v>97.25</c:v>
                </c:pt>
                <c:pt idx="1165">
                  <c:v>96.649999999999991</c:v>
                </c:pt>
                <c:pt idx="1166">
                  <c:v>97.23</c:v>
                </c:pt>
                <c:pt idx="1167">
                  <c:v>97.61</c:v>
                </c:pt>
                <c:pt idx="1168">
                  <c:v>97.01</c:v>
                </c:pt>
                <c:pt idx="1169">
                  <c:v>96.910000000000011</c:v>
                </c:pt>
                <c:pt idx="1170">
                  <c:v>96.8</c:v>
                </c:pt>
                <c:pt idx="1171">
                  <c:v>95.82</c:v>
                </c:pt>
                <c:pt idx="1172">
                  <c:v>96.410000000000011</c:v>
                </c:pt>
                <c:pt idx="1173">
                  <c:v>96.05</c:v>
                </c:pt>
                <c:pt idx="1174">
                  <c:v>96.5</c:v>
                </c:pt>
                <c:pt idx="1175">
                  <c:v>96.86</c:v>
                </c:pt>
                <c:pt idx="1176">
                  <c:v>96.240000000000009</c:v>
                </c:pt>
                <c:pt idx="1177">
                  <c:v>97.16</c:v>
                </c:pt>
                <c:pt idx="1178">
                  <c:v>98.5</c:v>
                </c:pt>
                <c:pt idx="1179">
                  <c:v>97.81</c:v>
                </c:pt>
                <c:pt idx="1180">
                  <c:v>97.23</c:v>
                </c:pt>
                <c:pt idx="1181">
                  <c:v>97.6</c:v>
                </c:pt>
                <c:pt idx="1182">
                  <c:v>97.26</c:v>
                </c:pt>
                <c:pt idx="1183">
                  <c:v>97.69</c:v>
                </c:pt>
                <c:pt idx="1184">
                  <c:v>97.03</c:v>
                </c:pt>
                <c:pt idx="1185">
                  <c:v>97.25</c:v>
                </c:pt>
                <c:pt idx="1186">
                  <c:v>96.45</c:v>
                </c:pt>
                <c:pt idx="1187">
                  <c:v>96.69</c:v>
                </c:pt>
                <c:pt idx="1188">
                  <c:v>96.19</c:v>
                </c:pt>
                <c:pt idx="1189">
                  <c:v>96.97</c:v>
                </c:pt>
                <c:pt idx="1190">
                  <c:v>95.69</c:v>
                </c:pt>
                <c:pt idx="1191">
                  <c:v>96.25</c:v>
                </c:pt>
                <c:pt idx="1192">
                  <c:v>96.28</c:v>
                </c:pt>
                <c:pt idx="1193">
                  <c:v>94.9</c:v>
                </c:pt>
                <c:pt idx="1194">
                  <c:v>95.5</c:v>
                </c:pt>
                <c:pt idx="1195">
                  <c:v>96.32</c:v>
                </c:pt>
                <c:pt idx="1196">
                  <c:v>96.69</c:v>
                </c:pt>
                <c:pt idx="1197">
                  <c:v>96.38</c:v>
                </c:pt>
                <c:pt idx="1198">
                  <c:v>97.02</c:v>
                </c:pt>
                <c:pt idx="1199">
                  <c:v>98.240000000000009</c:v>
                </c:pt>
                <c:pt idx="1200">
                  <c:v>98.4</c:v>
                </c:pt>
                <c:pt idx="1201">
                  <c:v>97.81</c:v>
                </c:pt>
                <c:pt idx="1202">
                  <c:v>98.45</c:v>
                </c:pt>
                <c:pt idx="1203">
                  <c:v>98.149999999999991</c:v>
                </c:pt>
                <c:pt idx="1204">
                  <c:v>98.38</c:v>
                </c:pt>
                <c:pt idx="1205">
                  <c:v>98.169999999999987</c:v>
                </c:pt>
                <c:pt idx="1206">
                  <c:v>98.960000000000008</c:v>
                </c:pt>
                <c:pt idx="1207">
                  <c:v>99.31</c:v>
                </c:pt>
                <c:pt idx="1208">
                  <c:v>99.16</c:v>
                </c:pt>
                <c:pt idx="1209">
                  <c:v>98.7</c:v>
                </c:pt>
                <c:pt idx="1210">
                  <c:v>99.28</c:v>
                </c:pt>
                <c:pt idx="1211">
                  <c:v>99.55</c:v>
                </c:pt>
                <c:pt idx="1212">
                  <c:v>99.08</c:v>
                </c:pt>
                <c:pt idx="1213">
                  <c:v>98.9</c:v>
                </c:pt>
                <c:pt idx="1214">
                  <c:v>99.26</c:v>
                </c:pt>
                <c:pt idx="1215">
                  <c:v>99.09</c:v>
                </c:pt>
                <c:pt idx="1216">
                  <c:v>99.410000000000011</c:v>
                </c:pt>
                <c:pt idx="1217">
                  <c:v>99.58</c:v>
                </c:pt>
                <c:pt idx="1218">
                  <c:v>99.52</c:v>
                </c:pt>
                <c:pt idx="1219">
                  <c:v>99.56</c:v>
                </c:pt>
                <c:pt idx="1220">
                  <c:v>100.3</c:v>
                </c:pt>
                <c:pt idx="1221">
                  <c:v>101.16999999999999</c:v>
                </c:pt>
                <c:pt idx="1222">
                  <c:v>101.13</c:v>
                </c:pt>
                <c:pt idx="1223">
                  <c:v>100.48</c:v>
                </c:pt>
                <c:pt idx="1224">
                  <c:v>101.03</c:v>
                </c:pt>
                <c:pt idx="1225">
                  <c:v>100.98</c:v>
                </c:pt>
                <c:pt idx="1226">
                  <c:v>100</c:v>
                </c:pt>
                <c:pt idx="1227">
                  <c:v>100.38</c:v>
                </c:pt>
                <c:pt idx="1228">
                  <c:v>101.03</c:v>
                </c:pt>
                <c:pt idx="1229">
                  <c:v>101.28</c:v>
                </c:pt>
                <c:pt idx="1230">
                  <c:v>101.66</c:v>
                </c:pt>
                <c:pt idx="1231">
                  <c:v>102.66999999999999</c:v>
                </c:pt>
                <c:pt idx="1232">
                  <c:v>102.52</c:v>
                </c:pt>
                <c:pt idx="1233">
                  <c:v>103.1</c:v>
                </c:pt>
                <c:pt idx="1234">
                  <c:v>102.51</c:v>
                </c:pt>
                <c:pt idx="1235">
                  <c:v>102.5</c:v>
                </c:pt>
                <c:pt idx="1236">
                  <c:v>102.35</c:v>
                </c:pt>
                <c:pt idx="1237">
                  <c:v>102.55</c:v>
                </c:pt>
                <c:pt idx="1238">
                  <c:v>102.35</c:v>
                </c:pt>
                <c:pt idx="1239">
                  <c:v>102.22</c:v>
                </c:pt>
                <c:pt idx="1240">
                  <c:v>101.98</c:v>
                </c:pt>
                <c:pt idx="1241">
                  <c:v>102.23</c:v>
                </c:pt>
                <c:pt idx="1242">
                  <c:v>102.32</c:v>
                </c:pt>
                <c:pt idx="1243">
                  <c:v>102.61</c:v>
                </c:pt>
                <c:pt idx="1244">
                  <c:v>103.52</c:v>
                </c:pt>
                <c:pt idx="1245">
                  <c:v>102.95</c:v>
                </c:pt>
                <c:pt idx="1246">
                  <c:v>103.38</c:v>
                </c:pt>
                <c:pt idx="1247">
                  <c:v>104.19</c:v>
                </c:pt>
                <c:pt idx="1248">
                  <c:v>104.11999999999999</c:v>
                </c:pt>
                <c:pt idx="1249">
                  <c:v>103.42</c:v>
                </c:pt>
                <c:pt idx="1250">
                  <c:v>102.75</c:v>
                </c:pt>
                <c:pt idx="1251">
                  <c:v>103.16999999999999</c:v>
                </c:pt>
                <c:pt idx="1252">
                  <c:v>103.84</c:v>
                </c:pt>
                <c:pt idx="1253">
                  <c:v>104.23</c:v>
                </c:pt>
                <c:pt idx="1254">
                  <c:v>104.66</c:v>
                </c:pt>
                <c:pt idx="1255">
                  <c:v>105.04</c:v>
                </c:pt>
                <c:pt idx="1256">
                  <c:v>104.88</c:v>
                </c:pt>
                <c:pt idx="1257">
                  <c:v>104.61</c:v>
                </c:pt>
                <c:pt idx="1258">
                  <c:v>104.7</c:v>
                </c:pt>
                <c:pt idx="1259">
                  <c:v>105.38</c:v>
                </c:pt>
                <c:pt idx="1260">
                  <c:v>105.16999999999999</c:v>
                </c:pt>
                <c:pt idx="1261">
                  <c:v>105.82</c:v>
                </c:pt>
                <c:pt idx="1262">
                  <c:v>105.63</c:v>
                </c:pt>
                <c:pt idx="1263">
                  <c:v>106.49000000000001</c:v>
                </c:pt>
                <c:pt idx="1264">
                  <c:v>107.67999999999999</c:v>
                </c:pt>
                <c:pt idx="1265">
                  <c:v>108.01</c:v>
                </c:pt>
                <c:pt idx="1266">
                  <c:v>108.09</c:v>
                </c:pt>
                <c:pt idx="1267">
                  <c:v>109.64</c:v>
                </c:pt>
                <c:pt idx="1268">
                  <c:v>110.57</c:v>
                </c:pt>
                <c:pt idx="1269">
                  <c:v>111.21000000000001</c:v>
                </c:pt>
                <c:pt idx="1270">
                  <c:v>110.35</c:v>
                </c:pt>
                <c:pt idx="1271">
                  <c:v>110.36999999999999</c:v>
                </c:pt>
                <c:pt idx="1272">
                  <c:v>111.5</c:v>
                </c:pt>
                <c:pt idx="1273">
                  <c:v>111.81</c:v>
                </c:pt>
                <c:pt idx="1274">
                  <c:v>111.98</c:v>
                </c:pt>
                <c:pt idx="1275">
                  <c:v>110.94000000000001</c:v>
                </c:pt>
                <c:pt idx="1276">
                  <c:v>111.14</c:v>
                </c:pt>
                <c:pt idx="1277">
                  <c:v>111.38</c:v>
                </c:pt>
                <c:pt idx="1278">
                  <c:v>110.97</c:v>
                </c:pt>
                <c:pt idx="1279">
                  <c:v>110.04</c:v>
                </c:pt>
                <c:pt idx="1280">
                  <c:v>109.3</c:v>
                </c:pt>
                <c:pt idx="1281">
                  <c:v>108.88</c:v>
                </c:pt>
                <c:pt idx="1282">
                  <c:v>110.69</c:v>
                </c:pt>
                <c:pt idx="1283">
                  <c:v>110.29</c:v>
                </c:pt>
                <c:pt idx="1284">
                  <c:v>111.58</c:v>
                </c:pt>
                <c:pt idx="1285">
                  <c:v>110.72</c:v>
                </c:pt>
                <c:pt idx="1286">
                  <c:v>110.67999999999999</c:v>
                </c:pt>
                <c:pt idx="1287">
                  <c:v>111.27</c:v>
                </c:pt>
                <c:pt idx="1288">
                  <c:v>111.14</c:v>
                </c:pt>
                <c:pt idx="1289">
                  <c:v>110.42</c:v>
                </c:pt>
                <c:pt idx="1290">
                  <c:v>109.47</c:v>
                </c:pt>
                <c:pt idx="1291">
                  <c:v>108.42</c:v>
                </c:pt>
                <c:pt idx="1292">
                  <c:v>108.81</c:v>
                </c:pt>
                <c:pt idx="1293">
                  <c:v>108.82</c:v>
                </c:pt>
                <c:pt idx="1294">
                  <c:v>109.79</c:v>
                </c:pt>
                <c:pt idx="1295">
                  <c:v>107.99000000000001</c:v>
                </c:pt>
                <c:pt idx="1296">
                  <c:v>107.98</c:v>
                </c:pt>
                <c:pt idx="1297">
                  <c:v>107.81</c:v>
                </c:pt>
                <c:pt idx="1298">
                  <c:v>107.76</c:v>
                </c:pt>
                <c:pt idx="1299">
                  <c:v>107.95</c:v>
                </c:pt>
                <c:pt idx="1300">
                  <c:v>107.36</c:v>
                </c:pt>
                <c:pt idx="1301">
                  <c:v>108.09</c:v>
                </c:pt>
                <c:pt idx="1302">
                  <c:v>108.09</c:v>
                </c:pt>
                <c:pt idx="1303">
                  <c:v>108.09</c:v>
                </c:pt>
                <c:pt idx="1304">
                  <c:v>108.32</c:v>
                </c:pt>
                <c:pt idx="1305">
                  <c:v>107.81</c:v>
                </c:pt>
                <c:pt idx="1306">
                  <c:v>108.13</c:v>
                </c:pt>
                <c:pt idx="1307">
                  <c:v>108.59</c:v>
                </c:pt>
                <c:pt idx="1308">
                  <c:v>108.28</c:v>
                </c:pt>
                <c:pt idx="1309">
                  <c:v>109.5</c:v>
                </c:pt>
                <c:pt idx="1310">
                  <c:v>109.53</c:v>
                </c:pt>
                <c:pt idx="1311">
                  <c:v>109.67999999999999</c:v>
                </c:pt>
                <c:pt idx="1312">
                  <c:v>109.71000000000001</c:v>
                </c:pt>
                <c:pt idx="1313">
                  <c:v>109.61999999999999</c:v>
                </c:pt>
                <c:pt idx="1314">
                  <c:v>109.61999999999999</c:v>
                </c:pt>
                <c:pt idx="1315">
                  <c:v>109.81</c:v>
                </c:pt>
                <c:pt idx="1316">
                  <c:v>109.38</c:v>
                </c:pt>
                <c:pt idx="1317">
                  <c:v>107.52</c:v>
                </c:pt>
                <c:pt idx="1318">
                  <c:v>105.1</c:v>
                </c:pt>
                <c:pt idx="1319">
                  <c:v>105.64</c:v>
                </c:pt>
                <c:pt idx="1320">
                  <c:v>105.27</c:v>
                </c:pt>
                <c:pt idx="1321">
                  <c:v>104.98</c:v>
                </c:pt>
                <c:pt idx="1322">
                  <c:v>105.83</c:v>
                </c:pt>
                <c:pt idx="1323">
                  <c:v>106.24000000000001</c:v>
                </c:pt>
                <c:pt idx="1324">
                  <c:v>105.32</c:v>
                </c:pt>
                <c:pt idx="1325">
                  <c:v>103.92</c:v>
                </c:pt>
                <c:pt idx="1326">
                  <c:v>103.26</c:v>
                </c:pt>
                <c:pt idx="1327">
                  <c:v>103.48</c:v>
                </c:pt>
                <c:pt idx="1328">
                  <c:v>103.86</c:v>
                </c:pt>
                <c:pt idx="1329">
                  <c:v>104.19</c:v>
                </c:pt>
                <c:pt idx="1330">
                  <c:v>104.03</c:v>
                </c:pt>
                <c:pt idx="1331">
                  <c:v>104.69</c:v>
                </c:pt>
                <c:pt idx="1332">
                  <c:v>105.04</c:v>
                </c:pt>
                <c:pt idx="1333">
                  <c:v>104.81</c:v>
                </c:pt>
                <c:pt idx="1334">
                  <c:v>104.14999999999999</c:v>
                </c:pt>
                <c:pt idx="1335">
                  <c:v>103.95</c:v>
                </c:pt>
                <c:pt idx="1336">
                  <c:v>104.57</c:v>
                </c:pt>
                <c:pt idx="1337">
                  <c:v>104.49000000000001</c:v>
                </c:pt>
                <c:pt idx="1338">
                  <c:v>104.04</c:v>
                </c:pt>
                <c:pt idx="1339">
                  <c:v>104.11999999999999</c:v>
                </c:pt>
                <c:pt idx="1340">
                  <c:v>105.34</c:v>
                </c:pt>
                <c:pt idx="1341">
                  <c:v>105.88</c:v>
                </c:pt>
                <c:pt idx="1342">
                  <c:v>105.95</c:v>
                </c:pt>
                <c:pt idx="1343">
                  <c:v>106.08</c:v>
                </c:pt>
                <c:pt idx="1344">
                  <c:v>106.09</c:v>
                </c:pt>
                <c:pt idx="1345">
                  <c:v>105.97</c:v>
                </c:pt>
                <c:pt idx="1346">
                  <c:v>106.4</c:v>
                </c:pt>
                <c:pt idx="1347">
                  <c:v>106.32</c:v>
                </c:pt>
                <c:pt idx="1348">
                  <c:v>106.78</c:v>
                </c:pt>
                <c:pt idx="1349">
                  <c:v>106.63</c:v>
                </c:pt>
                <c:pt idx="1350">
                  <c:v>107.61999999999999</c:v>
                </c:pt>
                <c:pt idx="1351">
                  <c:v>107.34</c:v>
                </c:pt>
                <c:pt idx="1352">
                  <c:v>107.28</c:v>
                </c:pt>
                <c:pt idx="1353">
                  <c:v>107</c:v>
                </c:pt>
                <c:pt idx="1354">
                  <c:v>108.24000000000001</c:v>
                </c:pt>
                <c:pt idx="1355">
                  <c:v>107.63</c:v>
                </c:pt>
                <c:pt idx="1356">
                  <c:v>107.36999999999999</c:v>
                </c:pt>
                <c:pt idx="1357">
                  <c:v>108.17999999999999</c:v>
                </c:pt>
                <c:pt idx="1358">
                  <c:v>108.52</c:v>
                </c:pt>
                <c:pt idx="1359">
                  <c:v>109.25</c:v>
                </c:pt>
                <c:pt idx="1360">
                  <c:v>108.84</c:v>
                </c:pt>
                <c:pt idx="1361">
                  <c:v>109.76</c:v>
                </c:pt>
                <c:pt idx="1362">
                  <c:v>109.57</c:v>
                </c:pt>
                <c:pt idx="1363">
                  <c:v>109.74000000000001</c:v>
                </c:pt>
                <c:pt idx="1364">
                  <c:v>110.08</c:v>
                </c:pt>
                <c:pt idx="1365">
                  <c:v>110.07</c:v>
                </c:pt>
                <c:pt idx="1366">
                  <c:v>111.03</c:v>
                </c:pt>
                <c:pt idx="1367">
                  <c:v>109.64</c:v>
                </c:pt>
                <c:pt idx="1368">
                  <c:v>108.28</c:v>
                </c:pt>
                <c:pt idx="1369">
                  <c:v>109.44000000000001</c:v>
                </c:pt>
                <c:pt idx="1370">
                  <c:v>109.28</c:v>
                </c:pt>
                <c:pt idx="1371">
                  <c:v>109.19</c:v>
                </c:pt>
                <c:pt idx="1372">
                  <c:v>109.92</c:v>
                </c:pt>
                <c:pt idx="1373">
                  <c:v>109.79</c:v>
                </c:pt>
                <c:pt idx="1374">
                  <c:v>109.07</c:v>
                </c:pt>
                <c:pt idx="1375">
                  <c:v>109.59</c:v>
                </c:pt>
                <c:pt idx="1376">
                  <c:v>106.93</c:v>
                </c:pt>
                <c:pt idx="1377">
                  <c:v>108.14</c:v>
                </c:pt>
                <c:pt idx="1378">
                  <c:v>108.9</c:v>
                </c:pt>
                <c:pt idx="1379">
                  <c:v>108.75</c:v>
                </c:pt>
                <c:pt idx="1380">
                  <c:v>109.11</c:v>
                </c:pt>
                <c:pt idx="1381">
                  <c:v>109.36999999999999</c:v>
                </c:pt>
                <c:pt idx="1382">
                  <c:v>109.38</c:v>
                </c:pt>
                <c:pt idx="1383">
                  <c:v>108.82</c:v>
                </c:pt>
                <c:pt idx="1384">
                  <c:v>108.78</c:v>
                </c:pt>
                <c:pt idx="1385">
                  <c:v>108.52</c:v>
                </c:pt>
                <c:pt idx="1386">
                  <c:v>109.47</c:v>
                </c:pt>
                <c:pt idx="1387">
                  <c:v>109.73</c:v>
                </c:pt>
                <c:pt idx="1388">
                  <c:v>110.11</c:v>
                </c:pt>
                <c:pt idx="1389">
                  <c:v>110.4</c:v>
                </c:pt>
                <c:pt idx="1390">
                  <c:v>110.61999999999999</c:v>
                </c:pt>
                <c:pt idx="1391">
                  <c:v>110.97</c:v>
                </c:pt>
                <c:pt idx="1392">
                  <c:v>111.04</c:v>
                </c:pt>
                <c:pt idx="1393">
                  <c:v>110.99000000000001</c:v>
                </c:pt>
                <c:pt idx="1394">
                  <c:v>111.39</c:v>
                </c:pt>
                <c:pt idx="1395">
                  <c:v>111.13</c:v>
                </c:pt>
                <c:pt idx="1396">
                  <c:v>110.53</c:v>
                </c:pt>
                <c:pt idx="1397">
                  <c:v>110.28</c:v>
                </c:pt>
                <c:pt idx="1398">
                  <c:v>110.89</c:v>
                </c:pt>
                <c:pt idx="1399">
                  <c:v>110.91000000000001</c:v>
                </c:pt>
                <c:pt idx="1400">
                  <c:v>112.27</c:v>
                </c:pt>
                <c:pt idx="1401">
                  <c:v>111.74000000000001</c:v>
                </c:pt>
                <c:pt idx="1402">
                  <c:v>111.63</c:v>
                </c:pt>
                <c:pt idx="1403">
                  <c:v>111.63</c:v>
                </c:pt>
                <c:pt idx="1404">
                  <c:v>111.78</c:v>
                </c:pt>
                <c:pt idx="1405">
                  <c:v>111.63</c:v>
                </c:pt>
                <c:pt idx="1406">
                  <c:v>111.61999999999999</c:v>
                </c:pt>
                <c:pt idx="1407">
                  <c:v>112.47</c:v>
                </c:pt>
                <c:pt idx="1408">
                  <c:v>112.52</c:v>
                </c:pt>
                <c:pt idx="1409">
                  <c:v>112.39</c:v>
                </c:pt>
                <c:pt idx="1410">
                  <c:v>111.64</c:v>
                </c:pt>
                <c:pt idx="1411">
                  <c:v>111.06</c:v>
                </c:pt>
                <c:pt idx="1412">
                  <c:v>110.69</c:v>
                </c:pt>
                <c:pt idx="1413">
                  <c:v>110.84</c:v>
                </c:pt>
                <c:pt idx="1414">
                  <c:v>110.4</c:v>
                </c:pt>
                <c:pt idx="1415">
                  <c:v>111.26</c:v>
                </c:pt>
                <c:pt idx="1416">
                  <c:v>112.06</c:v>
                </c:pt>
                <c:pt idx="1417">
                  <c:v>112.63</c:v>
                </c:pt>
                <c:pt idx="1418">
                  <c:v>113.33</c:v>
                </c:pt>
                <c:pt idx="1419">
                  <c:v>114.36</c:v>
                </c:pt>
                <c:pt idx="1420">
                  <c:v>114.82</c:v>
                </c:pt>
                <c:pt idx="1421">
                  <c:v>114.57</c:v>
                </c:pt>
                <c:pt idx="1422">
                  <c:v>114.79</c:v>
                </c:pt>
                <c:pt idx="1423">
                  <c:v>114.83</c:v>
                </c:pt>
                <c:pt idx="1424">
                  <c:v>114.28</c:v>
                </c:pt>
                <c:pt idx="1425">
                  <c:v>114.45</c:v>
                </c:pt>
                <c:pt idx="1426">
                  <c:v>114.05</c:v>
                </c:pt>
                <c:pt idx="1427">
                  <c:v>114.6</c:v>
                </c:pt>
                <c:pt idx="1428">
                  <c:v>115.14999999999999</c:v>
                </c:pt>
                <c:pt idx="1429">
                  <c:v>114.83</c:v>
                </c:pt>
                <c:pt idx="1430">
                  <c:v>113.7</c:v>
                </c:pt>
                <c:pt idx="1431">
                  <c:v>113.04</c:v>
                </c:pt>
                <c:pt idx="1432">
                  <c:v>113.22</c:v>
                </c:pt>
                <c:pt idx="1433">
                  <c:v>113.92</c:v>
                </c:pt>
                <c:pt idx="1434">
                  <c:v>113.61</c:v>
                </c:pt>
                <c:pt idx="1435">
                  <c:v>113.98</c:v>
                </c:pt>
                <c:pt idx="1436">
                  <c:v>113.54</c:v>
                </c:pt>
                <c:pt idx="1437">
                  <c:v>113.73</c:v>
                </c:pt>
                <c:pt idx="1438">
                  <c:v>114.83</c:v>
                </c:pt>
                <c:pt idx="1439">
                  <c:v>115.1</c:v>
                </c:pt>
                <c:pt idx="1440">
                  <c:v>113.98</c:v>
                </c:pt>
                <c:pt idx="1441">
                  <c:v>111.89</c:v>
                </c:pt>
                <c:pt idx="1442">
                  <c:v>111.05</c:v>
                </c:pt>
                <c:pt idx="1443">
                  <c:v>111.47</c:v>
                </c:pt>
                <c:pt idx="1444">
                  <c:v>112.01</c:v>
                </c:pt>
                <c:pt idx="1445">
                  <c:v>110.94000000000001</c:v>
                </c:pt>
                <c:pt idx="1446">
                  <c:v>109.99000000000001</c:v>
                </c:pt>
                <c:pt idx="1447">
                  <c:v>109.83</c:v>
                </c:pt>
                <c:pt idx="1448">
                  <c:v>109.83</c:v>
                </c:pt>
                <c:pt idx="1449">
                  <c:v>109.66</c:v>
                </c:pt>
                <c:pt idx="1450">
                  <c:v>107.69</c:v>
                </c:pt>
                <c:pt idx="1451">
                  <c:v>108.33</c:v>
                </c:pt>
                <c:pt idx="1452">
                  <c:v>107.75</c:v>
                </c:pt>
                <c:pt idx="1453">
                  <c:v>108.77</c:v>
                </c:pt>
                <c:pt idx="1454">
                  <c:v>108.59</c:v>
                </c:pt>
                <c:pt idx="1455">
                  <c:v>108.82</c:v>
                </c:pt>
                <c:pt idx="1456">
                  <c:v>107.34</c:v>
                </c:pt>
                <c:pt idx="1457">
                  <c:v>107.38</c:v>
                </c:pt>
                <c:pt idx="1458">
                  <c:v>109.9</c:v>
                </c:pt>
                <c:pt idx="1459">
                  <c:v>110.2</c:v>
                </c:pt>
                <c:pt idx="1460">
                  <c:v>111.36999999999999</c:v>
                </c:pt>
                <c:pt idx="1461">
                  <c:v>113.27</c:v>
                </c:pt>
                <c:pt idx="1462">
                  <c:v>113.16999999999999</c:v>
                </c:pt>
                <c:pt idx="1463">
                  <c:v>113.92</c:v>
                </c:pt>
                <c:pt idx="1464">
                  <c:v>113.75</c:v>
                </c:pt>
                <c:pt idx="1465">
                  <c:v>113.8</c:v>
                </c:pt>
                <c:pt idx="1466">
                  <c:v>113.98</c:v>
                </c:pt>
                <c:pt idx="1467">
                  <c:v>114.78</c:v>
                </c:pt>
                <c:pt idx="1468">
                  <c:v>114.84</c:v>
                </c:pt>
                <c:pt idx="1469">
                  <c:v>114.49000000000001</c:v>
                </c:pt>
                <c:pt idx="1470">
                  <c:v>113.47</c:v>
                </c:pt>
                <c:pt idx="1471">
                  <c:v>113.91000000000001</c:v>
                </c:pt>
                <c:pt idx="1472">
                  <c:v>114.36999999999999</c:v>
                </c:pt>
                <c:pt idx="1473">
                  <c:v>114.83</c:v>
                </c:pt>
                <c:pt idx="1474">
                  <c:v>114.88</c:v>
                </c:pt>
                <c:pt idx="1475">
                  <c:v>115.53</c:v>
                </c:pt>
                <c:pt idx="1476">
                  <c:v>115.58</c:v>
                </c:pt>
                <c:pt idx="1477">
                  <c:v>115.97</c:v>
                </c:pt>
                <c:pt idx="1478">
                  <c:v>115.17999999999999</c:v>
                </c:pt>
                <c:pt idx="1479">
                  <c:v>115.67999999999999</c:v>
                </c:pt>
                <c:pt idx="1480">
                  <c:v>115.25</c:v>
                </c:pt>
                <c:pt idx="1481">
                  <c:v>116.76</c:v>
                </c:pt>
                <c:pt idx="1482">
                  <c:v>117.7</c:v>
                </c:pt>
                <c:pt idx="1483">
                  <c:v>117.58</c:v>
                </c:pt>
                <c:pt idx="1484">
                  <c:v>117.96000000000001</c:v>
                </c:pt>
                <c:pt idx="1485">
                  <c:v>118.11999999999999</c:v>
                </c:pt>
                <c:pt idx="1486">
                  <c:v>118.09</c:v>
                </c:pt>
                <c:pt idx="1487">
                  <c:v>118.47</c:v>
                </c:pt>
                <c:pt idx="1488">
                  <c:v>118.73</c:v>
                </c:pt>
                <c:pt idx="1489">
                  <c:v>118.83</c:v>
                </c:pt>
                <c:pt idx="1490">
                  <c:v>118.14999999999999</c:v>
                </c:pt>
                <c:pt idx="1491">
                  <c:v>118.46000000000001</c:v>
                </c:pt>
                <c:pt idx="1492">
                  <c:v>119.45</c:v>
                </c:pt>
                <c:pt idx="1493">
                  <c:v>119.26</c:v>
                </c:pt>
                <c:pt idx="1494">
                  <c:v>120.21000000000001</c:v>
                </c:pt>
                <c:pt idx="1495">
                  <c:v>120.66</c:v>
                </c:pt>
                <c:pt idx="1496">
                  <c:v>120.33</c:v>
                </c:pt>
                <c:pt idx="1497">
                  <c:v>120.61999999999999</c:v>
                </c:pt>
                <c:pt idx="1498">
                  <c:v>120.61999999999999</c:v>
                </c:pt>
                <c:pt idx="1499">
                  <c:v>120.78</c:v>
                </c:pt>
                <c:pt idx="1500">
                  <c:v>120.55</c:v>
                </c:pt>
                <c:pt idx="1501">
                  <c:v>121.64</c:v>
                </c:pt>
                <c:pt idx="1502">
                  <c:v>121.14</c:v>
                </c:pt>
                <c:pt idx="1503">
                  <c:v>121.33</c:v>
                </c:pt>
                <c:pt idx="1504">
                  <c:v>122.13</c:v>
                </c:pt>
                <c:pt idx="1505">
                  <c:v>123.24000000000001</c:v>
                </c:pt>
                <c:pt idx="1506">
                  <c:v>121.93</c:v>
                </c:pt>
                <c:pt idx="1507">
                  <c:v>122.82</c:v>
                </c:pt>
                <c:pt idx="1508">
                  <c:v>122.98</c:v>
                </c:pt>
                <c:pt idx="1509">
                  <c:v>122.09</c:v>
                </c:pt>
                <c:pt idx="1510">
                  <c:v>122.7</c:v>
                </c:pt>
                <c:pt idx="1511">
                  <c:v>123.3</c:v>
                </c:pt>
                <c:pt idx="1512">
                  <c:v>123.02</c:v>
                </c:pt>
                <c:pt idx="1513">
                  <c:v>122.89</c:v>
                </c:pt>
                <c:pt idx="1514">
                  <c:v>122.02</c:v>
                </c:pt>
                <c:pt idx="1515">
                  <c:v>121.31</c:v>
                </c:pt>
                <c:pt idx="1516">
                  <c:v>122.84</c:v>
                </c:pt>
                <c:pt idx="1517">
                  <c:v>123.09</c:v>
                </c:pt>
                <c:pt idx="1518">
                  <c:v>122.43</c:v>
                </c:pt>
                <c:pt idx="1519">
                  <c:v>122.31</c:v>
                </c:pt>
                <c:pt idx="1520">
                  <c:v>124.49000000000001</c:v>
                </c:pt>
                <c:pt idx="1521">
                  <c:v>125.49000000000001</c:v>
                </c:pt>
                <c:pt idx="1522">
                  <c:v>126.95</c:v>
                </c:pt>
                <c:pt idx="1523">
                  <c:v>126.57</c:v>
                </c:pt>
                <c:pt idx="1524">
                  <c:v>126.05</c:v>
                </c:pt>
                <c:pt idx="1525">
                  <c:v>128.12</c:v>
                </c:pt>
                <c:pt idx="1526">
                  <c:v>127.29</c:v>
                </c:pt>
                <c:pt idx="1527">
                  <c:v>127.59</c:v>
                </c:pt>
                <c:pt idx="1528">
                  <c:v>127.66999999999999</c:v>
                </c:pt>
                <c:pt idx="1529">
                  <c:v>127.24000000000001</c:v>
                </c:pt>
                <c:pt idx="1530">
                  <c:v>126.69</c:v>
                </c:pt>
                <c:pt idx="1531">
                  <c:v>128.15</c:v>
                </c:pt>
                <c:pt idx="1532">
                  <c:v>128.19</c:v>
                </c:pt>
                <c:pt idx="1533">
                  <c:v>128.79</c:v>
                </c:pt>
                <c:pt idx="1534">
                  <c:v>128.13999999999999</c:v>
                </c:pt>
                <c:pt idx="1535">
                  <c:v>128.88000000000002</c:v>
                </c:pt>
                <c:pt idx="1536">
                  <c:v>128.96</c:v>
                </c:pt>
                <c:pt idx="1537">
                  <c:v>130.52000000000001</c:v>
                </c:pt>
                <c:pt idx="1538">
                  <c:v>130.78</c:v>
                </c:pt>
                <c:pt idx="1539">
                  <c:v>131.72999999999999</c:v>
                </c:pt>
                <c:pt idx="1540">
                  <c:v>132.66999999999999</c:v>
                </c:pt>
                <c:pt idx="1541">
                  <c:v>132.58000000000001</c:v>
                </c:pt>
                <c:pt idx="1542">
                  <c:v>133.04</c:v>
                </c:pt>
                <c:pt idx="1543">
                  <c:v>133.46</c:v>
                </c:pt>
                <c:pt idx="1544">
                  <c:v>132.01</c:v>
                </c:pt>
                <c:pt idx="1545">
                  <c:v>132.66999999999999</c:v>
                </c:pt>
                <c:pt idx="1546">
                  <c:v>131.72999999999999</c:v>
                </c:pt>
                <c:pt idx="1547">
                  <c:v>131.41</c:v>
                </c:pt>
                <c:pt idx="1548">
                  <c:v>132.63</c:v>
                </c:pt>
                <c:pt idx="1549">
                  <c:v>131.69999999999999</c:v>
                </c:pt>
                <c:pt idx="1550">
                  <c:v>129.30000000000001</c:v>
                </c:pt>
                <c:pt idx="1551">
                  <c:v>130.26</c:v>
                </c:pt>
                <c:pt idx="1552">
                  <c:v>131.26999999999998</c:v>
                </c:pt>
                <c:pt idx="1553">
                  <c:v>132.43</c:v>
                </c:pt>
                <c:pt idx="1554">
                  <c:v>133.02000000000001</c:v>
                </c:pt>
                <c:pt idx="1555">
                  <c:v>133.29</c:v>
                </c:pt>
                <c:pt idx="1556">
                  <c:v>134.26</c:v>
                </c:pt>
                <c:pt idx="1557">
                  <c:v>134.04</c:v>
                </c:pt>
                <c:pt idx="1558">
                  <c:v>134.32000000000002</c:v>
                </c:pt>
                <c:pt idx="1559">
                  <c:v>135.16</c:v>
                </c:pt>
                <c:pt idx="1560">
                  <c:v>134.63</c:v>
                </c:pt>
                <c:pt idx="1561">
                  <c:v>134.65</c:v>
                </c:pt>
                <c:pt idx="1562">
                  <c:v>135.09</c:v>
                </c:pt>
                <c:pt idx="1563">
                  <c:v>134.29</c:v>
                </c:pt>
                <c:pt idx="1564">
                  <c:v>132.88000000000002</c:v>
                </c:pt>
                <c:pt idx="1565">
                  <c:v>133.19</c:v>
                </c:pt>
                <c:pt idx="1566">
                  <c:v>133.94999999999999</c:v>
                </c:pt>
                <c:pt idx="1567">
                  <c:v>133.16</c:v>
                </c:pt>
                <c:pt idx="1568">
                  <c:v>134.03</c:v>
                </c:pt>
                <c:pt idx="1569">
                  <c:v>133.6</c:v>
                </c:pt>
                <c:pt idx="1570">
                  <c:v>134.29</c:v>
                </c:pt>
                <c:pt idx="1571">
                  <c:v>133.94999999999999</c:v>
                </c:pt>
                <c:pt idx="1572">
                  <c:v>133.32000000000002</c:v>
                </c:pt>
                <c:pt idx="1573">
                  <c:v>133.88000000000002</c:v>
                </c:pt>
                <c:pt idx="1574">
                  <c:v>131.87</c:v>
                </c:pt>
                <c:pt idx="1575">
                  <c:v>131.72999999999999</c:v>
                </c:pt>
                <c:pt idx="1576">
                  <c:v>132</c:v>
                </c:pt>
                <c:pt idx="1577">
                  <c:v>132</c:v>
                </c:pt>
                <c:pt idx="1578">
                  <c:v>132</c:v>
                </c:pt>
                <c:pt idx="1579">
                  <c:v>131.37</c:v>
                </c:pt>
                <c:pt idx="1580">
                  <c:v>132.86000000000001</c:v>
                </c:pt>
                <c:pt idx="1581">
                  <c:v>133.55000000000001</c:v>
                </c:pt>
                <c:pt idx="1582">
                  <c:v>134</c:v>
                </c:pt>
                <c:pt idx="1583">
                  <c:v>133.70999999999998</c:v>
                </c:pt>
                <c:pt idx="1584">
                  <c:v>133.22</c:v>
                </c:pt>
                <c:pt idx="1585">
                  <c:v>133.78</c:v>
                </c:pt>
                <c:pt idx="1586">
                  <c:v>133.5</c:v>
                </c:pt>
                <c:pt idx="1587">
                  <c:v>132.26</c:v>
                </c:pt>
                <c:pt idx="1588">
                  <c:v>132.54</c:v>
                </c:pt>
                <c:pt idx="1589">
                  <c:v>133.35000000000002</c:v>
                </c:pt>
                <c:pt idx="1590">
                  <c:v>132.52000000000001</c:v>
                </c:pt>
                <c:pt idx="1591">
                  <c:v>132.79</c:v>
                </c:pt>
                <c:pt idx="1592">
                  <c:v>134.05000000000001</c:v>
                </c:pt>
                <c:pt idx="1593">
                  <c:v>134.44999999999999</c:v>
                </c:pt>
                <c:pt idx="1594">
                  <c:v>135.09</c:v>
                </c:pt>
                <c:pt idx="1595">
                  <c:v>134.75</c:v>
                </c:pt>
                <c:pt idx="1596">
                  <c:v>133.75</c:v>
                </c:pt>
                <c:pt idx="1597">
                  <c:v>131.23999999999998</c:v>
                </c:pt>
                <c:pt idx="1598">
                  <c:v>129.82000000000002</c:v>
                </c:pt>
                <c:pt idx="1599">
                  <c:v>129.76999999999998</c:v>
                </c:pt>
                <c:pt idx="1600">
                  <c:v>126.86</c:v>
                </c:pt>
                <c:pt idx="1601">
                  <c:v>125.6</c:v>
                </c:pt>
                <c:pt idx="1602">
                  <c:v>125.79</c:v>
                </c:pt>
                <c:pt idx="1603">
                  <c:v>122.01</c:v>
                </c:pt>
                <c:pt idx="1604">
                  <c:v>124.7</c:v>
                </c:pt>
                <c:pt idx="1605">
                  <c:v>123.22</c:v>
                </c:pt>
                <c:pt idx="1606">
                  <c:v>124.24000000000001</c:v>
                </c:pt>
                <c:pt idx="1607">
                  <c:v>126.69</c:v>
                </c:pt>
                <c:pt idx="1608">
                  <c:v>126.52</c:v>
                </c:pt>
                <c:pt idx="1609">
                  <c:v>124.13</c:v>
                </c:pt>
                <c:pt idx="1610">
                  <c:v>125.32</c:v>
                </c:pt>
                <c:pt idx="1611">
                  <c:v>126.26</c:v>
                </c:pt>
                <c:pt idx="1612">
                  <c:v>126.98</c:v>
                </c:pt>
                <c:pt idx="1613">
                  <c:v>126.17999999999999</c:v>
                </c:pt>
                <c:pt idx="1614">
                  <c:v>124.35</c:v>
                </c:pt>
                <c:pt idx="1615">
                  <c:v>125.05</c:v>
                </c:pt>
                <c:pt idx="1616">
                  <c:v>122.45</c:v>
                </c:pt>
                <c:pt idx="1617">
                  <c:v>124.43</c:v>
                </c:pt>
                <c:pt idx="1618">
                  <c:v>123.14999999999999</c:v>
                </c:pt>
                <c:pt idx="1619">
                  <c:v>120.31</c:v>
                </c:pt>
                <c:pt idx="1620">
                  <c:v>120.67999999999999</c:v>
                </c:pt>
                <c:pt idx="1621">
                  <c:v>122.66</c:v>
                </c:pt>
                <c:pt idx="1622">
                  <c:v>121.58</c:v>
                </c:pt>
                <c:pt idx="1623">
                  <c:v>121.81</c:v>
                </c:pt>
                <c:pt idx="1624">
                  <c:v>122.03</c:v>
                </c:pt>
                <c:pt idx="1625">
                  <c:v>121.99000000000001</c:v>
                </c:pt>
                <c:pt idx="1626">
                  <c:v>122.52</c:v>
                </c:pt>
                <c:pt idx="1627">
                  <c:v>122.43</c:v>
                </c:pt>
                <c:pt idx="1628">
                  <c:v>122.06</c:v>
                </c:pt>
                <c:pt idx="1629">
                  <c:v>121.35</c:v>
                </c:pt>
                <c:pt idx="1630">
                  <c:v>121.36999999999999</c:v>
                </c:pt>
                <c:pt idx="1631">
                  <c:v>123.44000000000001</c:v>
                </c:pt>
                <c:pt idx="1632">
                  <c:v>124.74000000000001</c:v>
                </c:pt>
                <c:pt idx="1633">
                  <c:v>125.05</c:v>
                </c:pt>
                <c:pt idx="1634">
                  <c:v>125.33</c:v>
                </c:pt>
                <c:pt idx="1635">
                  <c:v>123.93</c:v>
                </c:pt>
                <c:pt idx="1636">
                  <c:v>124.53</c:v>
                </c:pt>
                <c:pt idx="1637">
                  <c:v>124.48</c:v>
                </c:pt>
                <c:pt idx="1638">
                  <c:v>124.82</c:v>
                </c:pt>
                <c:pt idx="1639">
                  <c:v>123.96000000000001</c:v>
                </c:pt>
                <c:pt idx="1640">
                  <c:v>124.08</c:v>
                </c:pt>
                <c:pt idx="1641">
                  <c:v>122.55</c:v>
                </c:pt>
                <c:pt idx="1642">
                  <c:v>121.05</c:v>
                </c:pt>
                <c:pt idx="1643">
                  <c:v>120.8</c:v>
                </c:pt>
                <c:pt idx="1644">
                  <c:v>121.21000000000001</c:v>
                </c:pt>
                <c:pt idx="1645">
                  <c:v>123.83</c:v>
                </c:pt>
                <c:pt idx="1646">
                  <c:v>124.22</c:v>
                </c:pt>
                <c:pt idx="1647">
                  <c:v>122.97</c:v>
                </c:pt>
                <c:pt idx="1648">
                  <c:v>125.06</c:v>
                </c:pt>
                <c:pt idx="1649">
                  <c:v>125.41000000000001</c:v>
                </c:pt>
                <c:pt idx="1650">
                  <c:v>126</c:v>
                </c:pt>
                <c:pt idx="1651">
                  <c:v>127.46000000000001</c:v>
                </c:pt>
                <c:pt idx="1652">
                  <c:v>128.22</c:v>
                </c:pt>
                <c:pt idx="1653">
                  <c:v>127.75</c:v>
                </c:pt>
                <c:pt idx="1654">
                  <c:v>127.16</c:v>
                </c:pt>
                <c:pt idx="1655">
                  <c:v>128.15</c:v>
                </c:pt>
                <c:pt idx="1656">
                  <c:v>127.04</c:v>
                </c:pt>
                <c:pt idx="1657">
                  <c:v>128.65</c:v>
                </c:pt>
                <c:pt idx="1658">
                  <c:v>127.64</c:v>
                </c:pt>
                <c:pt idx="1659">
                  <c:v>127.83</c:v>
                </c:pt>
                <c:pt idx="1660">
                  <c:v>128.26999999999998</c:v>
                </c:pt>
                <c:pt idx="1661">
                  <c:v>127.73</c:v>
                </c:pt>
                <c:pt idx="1662">
                  <c:v>128.29</c:v>
                </c:pt>
                <c:pt idx="1663">
                  <c:v>129.18</c:v>
                </c:pt>
                <c:pt idx="1664">
                  <c:v>129.96</c:v>
                </c:pt>
                <c:pt idx="1665">
                  <c:v>129.88000000000002</c:v>
                </c:pt>
                <c:pt idx="1666">
                  <c:v>129.73999999999998</c:v>
                </c:pt>
                <c:pt idx="1667">
                  <c:v>129.34</c:v>
                </c:pt>
                <c:pt idx="1668">
                  <c:v>129.49</c:v>
                </c:pt>
                <c:pt idx="1669">
                  <c:v>129.89000000000001</c:v>
                </c:pt>
                <c:pt idx="1670">
                  <c:v>129.26999999999998</c:v>
                </c:pt>
                <c:pt idx="1671">
                  <c:v>129.73999999999998</c:v>
                </c:pt>
                <c:pt idx="1672">
                  <c:v>129.94999999999999</c:v>
                </c:pt>
                <c:pt idx="1673">
                  <c:v>130.41</c:v>
                </c:pt>
                <c:pt idx="1674">
                  <c:v>131.08000000000001</c:v>
                </c:pt>
                <c:pt idx="1675">
                  <c:v>131.9</c:v>
                </c:pt>
                <c:pt idx="1676">
                  <c:v>131.47999999999999</c:v>
                </c:pt>
                <c:pt idx="1677">
                  <c:v>132.44999999999999</c:v>
                </c:pt>
                <c:pt idx="1678">
                  <c:v>132.83000000000001</c:v>
                </c:pt>
                <c:pt idx="1679">
                  <c:v>132.32000000000002</c:v>
                </c:pt>
                <c:pt idx="1680">
                  <c:v>130.69</c:v>
                </c:pt>
                <c:pt idx="1681">
                  <c:v>130.16</c:v>
                </c:pt>
                <c:pt idx="1682">
                  <c:v>130.85000000000002</c:v>
                </c:pt>
                <c:pt idx="1683">
                  <c:v>130.54</c:v>
                </c:pt>
                <c:pt idx="1684">
                  <c:v>132.5</c:v>
                </c:pt>
                <c:pt idx="1685">
                  <c:v>132.9</c:v>
                </c:pt>
                <c:pt idx="1686">
                  <c:v>133.34</c:v>
                </c:pt>
                <c:pt idx="1687">
                  <c:v>134.1</c:v>
                </c:pt>
                <c:pt idx="1688">
                  <c:v>133.68</c:v>
                </c:pt>
                <c:pt idx="1689">
                  <c:v>133.02000000000001</c:v>
                </c:pt>
                <c:pt idx="1690">
                  <c:v>133.69</c:v>
                </c:pt>
                <c:pt idx="1691">
                  <c:v>134.84</c:v>
                </c:pt>
                <c:pt idx="1692">
                  <c:v>133.44999999999999</c:v>
                </c:pt>
                <c:pt idx="1693">
                  <c:v>133.66</c:v>
                </c:pt>
                <c:pt idx="1694">
                  <c:v>135.52000000000001</c:v>
                </c:pt>
                <c:pt idx="1695">
                  <c:v>135.84</c:v>
                </c:pt>
                <c:pt idx="1696">
                  <c:v>135.57</c:v>
                </c:pt>
                <c:pt idx="1697">
                  <c:v>135.38000000000002</c:v>
                </c:pt>
                <c:pt idx="1698">
                  <c:v>135.81</c:v>
                </c:pt>
                <c:pt idx="1699">
                  <c:v>135.59</c:v>
                </c:pt>
                <c:pt idx="1700">
                  <c:v>137.18</c:v>
                </c:pt>
                <c:pt idx="1701">
                  <c:v>137.79</c:v>
                </c:pt>
                <c:pt idx="1702">
                  <c:v>138.91</c:v>
                </c:pt>
                <c:pt idx="1703">
                  <c:v>138.29</c:v>
                </c:pt>
                <c:pt idx="1704">
                  <c:v>139.29</c:v>
                </c:pt>
                <c:pt idx="1705">
                  <c:v>139.6</c:v>
                </c:pt>
                <c:pt idx="1706">
                  <c:v>140.72</c:v>
                </c:pt>
                <c:pt idx="1707">
                  <c:v>141.38000000000002</c:v>
                </c:pt>
                <c:pt idx="1708">
                  <c:v>141.32000000000002</c:v>
                </c:pt>
                <c:pt idx="1709">
                  <c:v>139.38000000000002</c:v>
                </c:pt>
                <c:pt idx="1710">
                  <c:v>140.80000000000001</c:v>
                </c:pt>
                <c:pt idx="1711">
                  <c:v>140.29</c:v>
                </c:pt>
                <c:pt idx="1712">
                  <c:v>141.08000000000001</c:v>
                </c:pt>
                <c:pt idx="1713">
                  <c:v>140.96</c:v>
                </c:pt>
                <c:pt idx="1714">
                  <c:v>141.34</c:v>
                </c:pt>
                <c:pt idx="1715">
                  <c:v>141.93</c:v>
                </c:pt>
                <c:pt idx="1716">
                  <c:v>142.08000000000001</c:v>
                </c:pt>
                <c:pt idx="1717">
                  <c:v>141.9</c:v>
                </c:pt>
                <c:pt idx="1718">
                  <c:v>141.37</c:v>
                </c:pt>
                <c:pt idx="1719">
                  <c:v>141.78</c:v>
                </c:pt>
                <c:pt idx="1720">
                  <c:v>141.4</c:v>
                </c:pt>
                <c:pt idx="1721">
                  <c:v>141.46</c:v>
                </c:pt>
                <c:pt idx="1722">
                  <c:v>141.34</c:v>
                </c:pt>
                <c:pt idx="1723">
                  <c:v>142.81</c:v>
                </c:pt>
                <c:pt idx="1724">
                  <c:v>142.97</c:v>
                </c:pt>
                <c:pt idx="1725">
                  <c:v>143.57</c:v>
                </c:pt>
                <c:pt idx="1726">
                  <c:v>143.66</c:v>
                </c:pt>
                <c:pt idx="1727">
                  <c:v>144.57</c:v>
                </c:pt>
                <c:pt idx="1728">
                  <c:v>145.16</c:v>
                </c:pt>
                <c:pt idx="1729">
                  <c:v>144.5</c:v>
                </c:pt>
                <c:pt idx="1730">
                  <c:v>145.87</c:v>
                </c:pt>
                <c:pt idx="1731">
                  <c:v>146.88000000000002</c:v>
                </c:pt>
                <c:pt idx="1732">
                  <c:v>145.72999999999999</c:v>
                </c:pt>
                <c:pt idx="1733">
                  <c:v>145.91999999999999</c:v>
                </c:pt>
                <c:pt idx="1734">
                  <c:v>146.13999999999999</c:v>
                </c:pt>
                <c:pt idx="1735">
                  <c:v>145.05000000000001</c:v>
                </c:pt>
                <c:pt idx="1736">
                  <c:v>144.87</c:v>
                </c:pt>
                <c:pt idx="1737">
                  <c:v>144.23999999999998</c:v>
                </c:pt>
                <c:pt idx="1738">
                  <c:v>142.62</c:v>
                </c:pt>
                <c:pt idx="1739">
                  <c:v>142.26</c:v>
                </c:pt>
                <c:pt idx="1740">
                  <c:v>144.37</c:v>
                </c:pt>
                <c:pt idx="1741">
                  <c:v>144.29</c:v>
                </c:pt>
                <c:pt idx="1742">
                  <c:v>143.97</c:v>
                </c:pt>
                <c:pt idx="1743">
                  <c:v>144.9</c:v>
                </c:pt>
                <c:pt idx="1744">
                  <c:v>145.55000000000001</c:v>
                </c:pt>
                <c:pt idx="1745">
                  <c:v>145.06</c:v>
                </c:pt>
                <c:pt idx="1746">
                  <c:v>146.56</c:v>
                </c:pt>
                <c:pt idx="1747">
                  <c:v>146.65</c:v>
                </c:pt>
                <c:pt idx="1748">
                  <c:v>147.56</c:v>
                </c:pt>
                <c:pt idx="1749">
                  <c:v>147.87</c:v>
                </c:pt>
                <c:pt idx="1750">
                  <c:v>149.22</c:v>
                </c:pt>
                <c:pt idx="1751">
                  <c:v>149.73999999999998</c:v>
                </c:pt>
                <c:pt idx="1752">
                  <c:v>150.4</c:v>
                </c:pt>
                <c:pt idx="1753">
                  <c:v>149.91999999999999</c:v>
                </c:pt>
                <c:pt idx="1754">
                  <c:v>149.12</c:v>
                </c:pt>
                <c:pt idx="1755">
                  <c:v>149.38000000000002</c:v>
                </c:pt>
                <c:pt idx="1756">
                  <c:v>149.09</c:v>
                </c:pt>
                <c:pt idx="1757">
                  <c:v>148.72999999999999</c:v>
                </c:pt>
                <c:pt idx="1758">
                  <c:v>148.72999999999999</c:v>
                </c:pt>
                <c:pt idx="1759">
                  <c:v>148.72999999999999</c:v>
                </c:pt>
                <c:pt idx="1760">
                  <c:v>150.26</c:v>
                </c:pt>
                <c:pt idx="1761">
                  <c:v>150.41999999999999</c:v>
                </c:pt>
                <c:pt idx="1762">
                  <c:v>149.51</c:v>
                </c:pt>
                <c:pt idx="1763">
                  <c:v>149.51</c:v>
                </c:pt>
                <c:pt idx="1764">
                  <c:v>152.05000000000001</c:v>
                </c:pt>
                <c:pt idx="1765">
                  <c:v>151.5</c:v>
                </c:pt>
                <c:pt idx="1766">
                  <c:v>150.93</c:v>
                </c:pt>
                <c:pt idx="1767">
                  <c:v>149.76999999999998</c:v>
                </c:pt>
                <c:pt idx="1768">
                  <c:v>149.63999999999999</c:v>
                </c:pt>
                <c:pt idx="1769">
                  <c:v>150.58000000000001</c:v>
                </c:pt>
                <c:pt idx="1770">
                  <c:v>149.91</c:v>
                </c:pt>
                <c:pt idx="1771">
                  <c:v>152.88000000000002</c:v>
                </c:pt>
                <c:pt idx="1772">
                  <c:v>153.99</c:v>
                </c:pt>
                <c:pt idx="1773">
                  <c:v>155.10999999999999</c:v>
                </c:pt>
                <c:pt idx="1774">
                  <c:v>153.72</c:v>
                </c:pt>
                <c:pt idx="1775">
                  <c:v>153.99</c:v>
                </c:pt>
                <c:pt idx="1776">
                  <c:v>154.19999999999999</c:v>
                </c:pt>
                <c:pt idx="1777">
                  <c:v>154.84</c:v>
                </c:pt>
                <c:pt idx="1778">
                  <c:v>154.09</c:v>
                </c:pt>
                <c:pt idx="1779">
                  <c:v>154.04</c:v>
                </c:pt>
                <c:pt idx="1780">
                  <c:v>155.49</c:v>
                </c:pt>
                <c:pt idx="1781">
                  <c:v>155.13999999999999</c:v>
                </c:pt>
                <c:pt idx="1782">
                  <c:v>154.08000000000001</c:v>
                </c:pt>
                <c:pt idx="1783">
                  <c:v>154.26</c:v>
                </c:pt>
                <c:pt idx="1784">
                  <c:v>154.37</c:v>
                </c:pt>
                <c:pt idx="1785">
                  <c:v>153.19</c:v>
                </c:pt>
                <c:pt idx="1786">
                  <c:v>155.56</c:v>
                </c:pt>
                <c:pt idx="1787">
                  <c:v>156.9</c:v>
                </c:pt>
                <c:pt idx="1788">
                  <c:v>157</c:v>
                </c:pt>
                <c:pt idx="1789">
                  <c:v>158.32000000000002</c:v>
                </c:pt>
                <c:pt idx="1790">
                  <c:v>158.54</c:v>
                </c:pt>
                <c:pt idx="1791">
                  <c:v>156.82000000000002</c:v>
                </c:pt>
                <c:pt idx="1792">
                  <c:v>157.53</c:v>
                </c:pt>
                <c:pt idx="1793">
                  <c:v>157.01</c:v>
                </c:pt>
                <c:pt idx="1794">
                  <c:v>156.73999999999998</c:v>
                </c:pt>
                <c:pt idx="1795">
                  <c:v>158.32000000000002</c:v>
                </c:pt>
                <c:pt idx="1796">
                  <c:v>157.93</c:v>
                </c:pt>
                <c:pt idx="1797">
                  <c:v>157.97</c:v>
                </c:pt>
                <c:pt idx="1798">
                  <c:v>158.12</c:v>
                </c:pt>
                <c:pt idx="1799">
                  <c:v>157.85000000000002</c:v>
                </c:pt>
                <c:pt idx="1800">
                  <c:v>156.70999999999998</c:v>
                </c:pt>
                <c:pt idx="1801">
                  <c:v>157.13999999999999</c:v>
                </c:pt>
                <c:pt idx="1802">
                  <c:v>157.47999999999999</c:v>
                </c:pt>
                <c:pt idx="1803">
                  <c:v>157.99</c:v>
                </c:pt>
                <c:pt idx="1804">
                  <c:v>153.04</c:v>
                </c:pt>
                <c:pt idx="1805">
                  <c:v>150.37</c:v>
                </c:pt>
                <c:pt idx="1806">
                  <c:v>149.34</c:v>
                </c:pt>
                <c:pt idx="1807">
                  <c:v>148.65</c:v>
                </c:pt>
                <c:pt idx="1808">
                  <c:v>146.60999999999999</c:v>
                </c:pt>
                <c:pt idx="1809">
                  <c:v>148.63</c:v>
                </c:pt>
                <c:pt idx="1810">
                  <c:v>148.57</c:v>
                </c:pt>
                <c:pt idx="1811">
                  <c:v>150.5</c:v>
                </c:pt>
                <c:pt idx="1812">
                  <c:v>151.38000000000002</c:v>
                </c:pt>
                <c:pt idx="1813">
                  <c:v>150.4</c:v>
                </c:pt>
                <c:pt idx="1814">
                  <c:v>148.36000000000001</c:v>
                </c:pt>
                <c:pt idx="1815">
                  <c:v>143.86000000000001</c:v>
                </c:pt>
                <c:pt idx="1816">
                  <c:v>146.99</c:v>
                </c:pt>
                <c:pt idx="1817">
                  <c:v>147.19999999999999</c:v>
                </c:pt>
                <c:pt idx="1818">
                  <c:v>149.41</c:v>
                </c:pt>
                <c:pt idx="1819">
                  <c:v>150.5</c:v>
                </c:pt>
                <c:pt idx="1820">
                  <c:v>150.94999999999999</c:v>
                </c:pt>
                <c:pt idx="1821">
                  <c:v>153.38000000000002</c:v>
                </c:pt>
                <c:pt idx="1822">
                  <c:v>154.1</c:v>
                </c:pt>
                <c:pt idx="1823">
                  <c:v>152.72</c:v>
                </c:pt>
                <c:pt idx="1824">
                  <c:v>152.53</c:v>
                </c:pt>
                <c:pt idx="1825">
                  <c:v>151.87</c:v>
                </c:pt>
                <c:pt idx="1826">
                  <c:v>153.46</c:v>
                </c:pt>
                <c:pt idx="1827">
                  <c:v>153.65</c:v>
                </c:pt>
                <c:pt idx="1828">
                  <c:v>154.63</c:v>
                </c:pt>
                <c:pt idx="1829">
                  <c:v>156.22999999999999</c:v>
                </c:pt>
                <c:pt idx="1830">
                  <c:v>156.22999999999999</c:v>
                </c:pt>
                <c:pt idx="1831">
                  <c:v>155.96</c:v>
                </c:pt>
                <c:pt idx="1832">
                  <c:v>155.96</c:v>
                </c:pt>
                <c:pt idx="1833">
                  <c:v>155.96</c:v>
                </c:pt>
                <c:pt idx="1834">
                  <c:v>157.18</c:v>
                </c:pt>
                <c:pt idx="1835">
                  <c:v>157.1</c:v>
                </c:pt>
                <c:pt idx="1836">
                  <c:v>156.44999999999999</c:v>
                </c:pt>
                <c:pt idx="1837">
                  <c:v>157.26</c:v>
                </c:pt>
                <c:pt idx="1838">
                  <c:v>159.05000000000001</c:v>
                </c:pt>
                <c:pt idx="1839">
                  <c:v>159.30000000000001</c:v>
                </c:pt>
                <c:pt idx="1840">
                  <c:v>158.16999999999999</c:v>
                </c:pt>
                <c:pt idx="1841">
                  <c:v>157.63</c:v>
                </c:pt>
                <c:pt idx="1842">
                  <c:v>160.05000000000001</c:v>
                </c:pt>
                <c:pt idx="1843">
                  <c:v>159.91</c:v>
                </c:pt>
                <c:pt idx="1844">
                  <c:v>158.76</c:v>
                </c:pt>
                <c:pt idx="1845">
                  <c:v>159.84</c:v>
                </c:pt>
                <c:pt idx="1846">
                  <c:v>160.41</c:v>
                </c:pt>
                <c:pt idx="1847">
                  <c:v>159.84</c:v>
                </c:pt>
                <c:pt idx="1848">
                  <c:v>159.80000000000001</c:v>
                </c:pt>
                <c:pt idx="1849">
                  <c:v>159.72999999999999</c:v>
                </c:pt>
                <c:pt idx="1850">
                  <c:v>160.1</c:v>
                </c:pt>
                <c:pt idx="1851">
                  <c:v>159.72999999999999</c:v>
                </c:pt>
                <c:pt idx="1852">
                  <c:v>160.9</c:v>
                </c:pt>
                <c:pt idx="1853">
                  <c:v>161.5</c:v>
                </c:pt>
                <c:pt idx="1854">
                  <c:v>159.55000000000001</c:v>
                </c:pt>
                <c:pt idx="1855">
                  <c:v>159.16</c:v>
                </c:pt>
                <c:pt idx="1856">
                  <c:v>157.80000000000001</c:v>
                </c:pt>
                <c:pt idx="1857">
                  <c:v>159.16</c:v>
                </c:pt>
                <c:pt idx="1858">
                  <c:v>158.89000000000001</c:v>
                </c:pt>
                <c:pt idx="1859">
                  <c:v>159.41999999999999</c:v>
                </c:pt>
                <c:pt idx="1860">
                  <c:v>158.78</c:v>
                </c:pt>
                <c:pt idx="1861">
                  <c:v>158.66999999999999</c:v>
                </c:pt>
                <c:pt idx="1862">
                  <c:v>160.03</c:v>
                </c:pt>
                <c:pt idx="1863">
                  <c:v>159.31</c:v>
                </c:pt>
                <c:pt idx="1864">
                  <c:v>159.76</c:v>
                </c:pt>
                <c:pt idx="1865">
                  <c:v>161.39000000000001</c:v>
                </c:pt>
                <c:pt idx="1866">
                  <c:v>159.96</c:v>
                </c:pt>
                <c:pt idx="1867">
                  <c:v>159.72</c:v>
                </c:pt>
                <c:pt idx="1868">
                  <c:v>160.13999999999999</c:v>
                </c:pt>
                <c:pt idx="1869">
                  <c:v>160.28</c:v>
                </c:pt>
                <c:pt idx="1870">
                  <c:v>159.6</c:v>
                </c:pt>
                <c:pt idx="1871">
                  <c:v>160.66</c:v>
                </c:pt>
                <c:pt idx="1872">
                  <c:v>161.99</c:v>
                </c:pt>
                <c:pt idx="1873">
                  <c:v>161.09</c:v>
                </c:pt>
                <c:pt idx="1874">
                  <c:v>160.36000000000001</c:v>
                </c:pt>
                <c:pt idx="1875">
                  <c:v>157.43</c:v>
                </c:pt>
                <c:pt idx="1876">
                  <c:v>154.78</c:v>
                </c:pt>
                <c:pt idx="1877">
                  <c:v>154.63</c:v>
                </c:pt>
                <c:pt idx="1878">
                  <c:v>155.47</c:v>
                </c:pt>
                <c:pt idx="1879">
                  <c:v>154.63999999999999</c:v>
                </c:pt>
                <c:pt idx="1880">
                  <c:v>155.15</c:v>
                </c:pt>
                <c:pt idx="1881">
                  <c:v>157.73999999999998</c:v>
                </c:pt>
                <c:pt idx="1882">
                  <c:v>159.41999999999999</c:v>
                </c:pt>
                <c:pt idx="1883">
                  <c:v>158.18</c:v>
                </c:pt>
                <c:pt idx="1884">
                  <c:v>157.89000000000001</c:v>
                </c:pt>
                <c:pt idx="1885">
                  <c:v>157.78</c:v>
                </c:pt>
                <c:pt idx="1886">
                  <c:v>155.75</c:v>
                </c:pt>
                <c:pt idx="1887">
                  <c:v>155.16999999999999</c:v>
                </c:pt>
                <c:pt idx="1888">
                  <c:v>154.93</c:v>
                </c:pt>
                <c:pt idx="1889">
                  <c:v>154.18</c:v>
                </c:pt>
                <c:pt idx="1890">
                  <c:v>152.22999999999999</c:v>
                </c:pt>
                <c:pt idx="1891">
                  <c:v>153.72</c:v>
                </c:pt>
                <c:pt idx="1892">
                  <c:v>153.88000000000002</c:v>
                </c:pt>
                <c:pt idx="1893">
                  <c:v>152.60999999999999</c:v>
                </c:pt>
                <c:pt idx="1894">
                  <c:v>154.03</c:v>
                </c:pt>
                <c:pt idx="1895">
                  <c:v>154.83000000000001</c:v>
                </c:pt>
                <c:pt idx="1896">
                  <c:v>154.09</c:v>
                </c:pt>
                <c:pt idx="1897">
                  <c:v>154.55000000000001</c:v>
                </c:pt>
                <c:pt idx="1898">
                  <c:v>155.16999999999999</c:v>
                </c:pt>
                <c:pt idx="1899">
                  <c:v>153.22</c:v>
                </c:pt>
                <c:pt idx="1900">
                  <c:v>153.15</c:v>
                </c:pt>
                <c:pt idx="1901">
                  <c:v>155.02000000000001</c:v>
                </c:pt>
                <c:pt idx="1902">
                  <c:v>155.75</c:v>
                </c:pt>
                <c:pt idx="1903">
                  <c:v>156.22999999999999</c:v>
                </c:pt>
                <c:pt idx="1904">
                  <c:v>155.9</c:v>
                </c:pt>
                <c:pt idx="1905">
                  <c:v>155.05000000000001</c:v>
                </c:pt>
                <c:pt idx="1906">
                  <c:v>156.16</c:v>
                </c:pt>
                <c:pt idx="1907">
                  <c:v>154.75</c:v>
                </c:pt>
                <c:pt idx="1908">
                  <c:v>155.46</c:v>
                </c:pt>
                <c:pt idx="1909">
                  <c:v>152.78</c:v>
                </c:pt>
                <c:pt idx="1910">
                  <c:v>151.93</c:v>
                </c:pt>
                <c:pt idx="1911">
                  <c:v>147.19999999999999</c:v>
                </c:pt>
                <c:pt idx="1912">
                  <c:v>146.28</c:v>
                </c:pt>
                <c:pt idx="1913">
                  <c:v>145.55000000000001</c:v>
                </c:pt>
                <c:pt idx="1914">
                  <c:v>148.78</c:v>
                </c:pt>
                <c:pt idx="1915">
                  <c:v>146.04</c:v>
                </c:pt>
                <c:pt idx="1916">
                  <c:v>147.89000000000001</c:v>
                </c:pt>
                <c:pt idx="1917">
                  <c:v>146.32000000000002</c:v>
                </c:pt>
                <c:pt idx="1918">
                  <c:v>145.1</c:v>
                </c:pt>
                <c:pt idx="1919">
                  <c:v>147.62</c:v>
                </c:pt>
                <c:pt idx="1920">
                  <c:v>150.80000000000001</c:v>
                </c:pt>
                <c:pt idx="1921">
                  <c:v>149.18</c:v>
                </c:pt>
                <c:pt idx="1922">
                  <c:v>144.34</c:v>
                </c:pt>
                <c:pt idx="1923">
                  <c:v>147.22999999999999</c:v>
                </c:pt>
                <c:pt idx="1924">
                  <c:v>145.32000000000002</c:v>
                </c:pt>
                <c:pt idx="1925">
                  <c:v>145.03</c:v>
                </c:pt>
                <c:pt idx="1926">
                  <c:v>140.06</c:v>
                </c:pt>
                <c:pt idx="1927">
                  <c:v>143.75</c:v>
                </c:pt>
                <c:pt idx="1928">
                  <c:v>144.47999999999999</c:v>
                </c:pt>
                <c:pt idx="1929">
                  <c:v>144.04</c:v>
                </c:pt>
                <c:pt idx="1930">
                  <c:v>146.44999999999999</c:v>
                </c:pt>
                <c:pt idx="1931">
                  <c:v>146.69999999999999</c:v>
                </c:pt>
                <c:pt idx="1932">
                  <c:v>146.97</c:v>
                </c:pt>
                <c:pt idx="1933">
                  <c:v>147.07</c:v>
                </c:pt>
                <c:pt idx="1934">
                  <c:v>144.47</c:v>
                </c:pt>
                <c:pt idx="1935">
                  <c:v>145.57</c:v>
                </c:pt>
                <c:pt idx="1936">
                  <c:v>146.99</c:v>
                </c:pt>
                <c:pt idx="1937">
                  <c:v>148.89000000000001</c:v>
                </c:pt>
                <c:pt idx="1938">
                  <c:v>149.66</c:v>
                </c:pt>
                <c:pt idx="1939">
                  <c:v>149.91</c:v>
                </c:pt>
                <c:pt idx="1940">
                  <c:v>146.97</c:v>
                </c:pt>
                <c:pt idx="1941">
                  <c:v>146.73999999999998</c:v>
                </c:pt>
                <c:pt idx="1942">
                  <c:v>143</c:v>
                </c:pt>
                <c:pt idx="1943">
                  <c:v>141.76999999999998</c:v>
                </c:pt>
                <c:pt idx="1944">
                  <c:v>144.29</c:v>
                </c:pt>
                <c:pt idx="1945">
                  <c:v>144.1</c:v>
                </c:pt>
                <c:pt idx="1946">
                  <c:v>145</c:v>
                </c:pt>
                <c:pt idx="1947">
                  <c:v>142.30000000000001</c:v>
                </c:pt>
                <c:pt idx="1948">
                  <c:v>138.63</c:v>
                </c:pt>
                <c:pt idx="1949">
                  <c:v>141.33000000000001</c:v>
                </c:pt>
                <c:pt idx="1950">
                  <c:v>145.18</c:v>
                </c:pt>
                <c:pt idx="1951">
                  <c:v>143.80000000000001</c:v>
                </c:pt>
                <c:pt idx="1952">
                  <c:v>144.54</c:v>
                </c:pt>
                <c:pt idx="1953">
                  <c:v>143.65</c:v>
                </c:pt>
                <c:pt idx="1954">
                  <c:v>141.47</c:v>
                </c:pt>
                <c:pt idx="1955">
                  <c:v>142.81</c:v>
                </c:pt>
                <c:pt idx="1956">
                  <c:v>144.75</c:v>
                </c:pt>
                <c:pt idx="1957">
                  <c:v>144.87</c:v>
                </c:pt>
                <c:pt idx="1958">
                  <c:v>145.53</c:v>
                </c:pt>
                <c:pt idx="1959">
                  <c:v>148.30000000000001</c:v>
                </c:pt>
                <c:pt idx="1960">
                  <c:v>149.36000000000001</c:v>
                </c:pt>
                <c:pt idx="1961">
                  <c:v>149.09</c:v>
                </c:pt>
                <c:pt idx="1962">
                  <c:v>149.72999999999999</c:v>
                </c:pt>
                <c:pt idx="1963">
                  <c:v>149.22999999999999</c:v>
                </c:pt>
                <c:pt idx="1964">
                  <c:v>149.94999999999999</c:v>
                </c:pt>
                <c:pt idx="1965">
                  <c:v>150.25</c:v>
                </c:pt>
                <c:pt idx="1966">
                  <c:v>149.68</c:v>
                </c:pt>
                <c:pt idx="1967">
                  <c:v>149.52000000000001</c:v>
                </c:pt>
                <c:pt idx="1968">
                  <c:v>147.13</c:v>
                </c:pt>
                <c:pt idx="1969">
                  <c:v>145.56</c:v>
                </c:pt>
                <c:pt idx="1970">
                  <c:v>147.44</c:v>
                </c:pt>
                <c:pt idx="1971">
                  <c:v>145.32000000000002</c:v>
                </c:pt>
                <c:pt idx="1972">
                  <c:v>145</c:v>
                </c:pt>
                <c:pt idx="1973">
                  <c:v>143.13</c:v>
                </c:pt>
                <c:pt idx="1974">
                  <c:v>144.63</c:v>
                </c:pt>
                <c:pt idx="1975">
                  <c:v>144.13</c:v>
                </c:pt>
                <c:pt idx="1976">
                  <c:v>146.66999999999999</c:v>
                </c:pt>
                <c:pt idx="1977">
                  <c:v>147.37</c:v>
                </c:pt>
                <c:pt idx="1978">
                  <c:v>147.69999999999999</c:v>
                </c:pt>
                <c:pt idx="1979">
                  <c:v>148.06</c:v>
                </c:pt>
                <c:pt idx="1980">
                  <c:v>149.84</c:v>
                </c:pt>
                <c:pt idx="1981">
                  <c:v>147.53</c:v>
                </c:pt>
                <c:pt idx="1982">
                  <c:v>146.69</c:v>
                </c:pt>
                <c:pt idx="1983">
                  <c:v>145.44</c:v>
                </c:pt>
                <c:pt idx="1984">
                  <c:v>145.1</c:v>
                </c:pt>
                <c:pt idx="1985">
                  <c:v>142.97999999999999</c:v>
                </c:pt>
                <c:pt idx="1986">
                  <c:v>141.19999999999999</c:v>
                </c:pt>
                <c:pt idx="1987">
                  <c:v>138.63999999999999</c:v>
                </c:pt>
                <c:pt idx="1988">
                  <c:v>138.73999999999998</c:v>
                </c:pt>
                <c:pt idx="1989">
                  <c:v>139.80000000000001</c:v>
                </c:pt>
                <c:pt idx="1990">
                  <c:v>139.52000000000001</c:v>
                </c:pt>
                <c:pt idx="1991">
                  <c:v>138.19999999999999</c:v>
                </c:pt>
                <c:pt idx="1992">
                  <c:v>137.38000000000002</c:v>
                </c:pt>
                <c:pt idx="1993">
                  <c:v>133.18</c:v>
                </c:pt>
                <c:pt idx="1994">
                  <c:v>135.33000000000001</c:v>
                </c:pt>
                <c:pt idx="1995">
                  <c:v>130.76</c:v>
                </c:pt>
                <c:pt idx="1996">
                  <c:v>131.69</c:v>
                </c:pt>
                <c:pt idx="1997">
                  <c:v>134.34</c:v>
                </c:pt>
                <c:pt idx="1998">
                  <c:v>133.47</c:v>
                </c:pt>
                <c:pt idx="1999">
                  <c:v>132.38000000000002</c:v>
                </c:pt>
                <c:pt idx="2000">
                  <c:v>135.9</c:v>
                </c:pt>
                <c:pt idx="2001">
                  <c:v>135.56</c:v>
                </c:pt>
                <c:pt idx="2002">
                  <c:v>137.13999999999999</c:v>
                </c:pt>
                <c:pt idx="2003">
                  <c:v>137.01</c:v>
                </c:pt>
                <c:pt idx="2004">
                  <c:v>133.5</c:v>
                </c:pt>
                <c:pt idx="2005">
                  <c:v>135.01</c:v>
                </c:pt>
                <c:pt idx="2006">
                  <c:v>134.05000000000001</c:v>
                </c:pt>
                <c:pt idx="2007">
                  <c:v>135.84</c:v>
                </c:pt>
                <c:pt idx="2008">
                  <c:v>137.03</c:v>
                </c:pt>
                <c:pt idx="2009">
                  <c:v>136.63999999999999</c:v>
                </c:pt>
                <c:pt idx="2010">
                  <c:v>137.84</c:v>
                </c:pt>
                <c:pt idx="2011">
                  <c:v>133.89000000000001</c:v>
                </c:pt>
                <c:pt idx="2012">
                  <c:v>134.19</c:v>
                </c:pt>
                <c:pt idx="2013">
                  <c:v>131.41999999999999</c:v>
                </c:pt>
                <c:pt idx="2014">
                  <c:v>131.6</c:v>
                </c:pt>
                <c:pt idx="2015">
                  <c:v>130.76</c:v>
                </c:pt>
                <c:pt idx="2016">
                  <c:v>130.63999999999999</c:v>
                </c:pt>
                <c:pt idx="2017">
                  <c:v>131.94999999999999</c:v>
                </c:pt>
                <c:pt idx="2018">
                  <c:v>131.26999999999998</c:v>
                </c:pt>
                <c:pt idx="2019">
                  <c:v>130.76</c:v>
                </c:pt>
                <c:pt idx="2020">
                  <c:v>131.22</c:v>
                </c:pt>
                <c:pt idx="2021">
                  <c:v>129.91</c:v>
                </c:pt>
                <c:pt idx="2022">
                  <c:v>128.75</c:v>
                </c:pt>
                <c:pt idx="2023">
                  <c:v>125.01</c:v>
                </c:pt>
                <c:pt idx="2024">
                  <c:v>122.94000000000001</c:v>
                </c:pt>
                <c:pt idx="2025">
                  <c:v>123.6</c:v>
                </c:pt>
                <c:pt idx="2026">
                  <c:v>121.23</c:v>
                </c:pt>
                <c:pt idx="2027">
                  <c:v>119.16</c:v>
                </c:pt>
                <c:pt idx="2028">
                  <c:v>119.88</c:v>
                </c:pt>
                <c:pt idx="2029">
                  <c:v>121.09</c:v>
                </c:pt>
                <c:pt idx="2030">
                  <c:v>117.31</c:v>
                </c:pt>
                <c:pt idx="2031">
                  <c:v>116.69</c:v>
                </c:pt>
                <c:pt idx="2032">
                  <c:v>117.16</c:v>
                </c:pt>
                <c:pt idx="2033">
                  <c:v>116.14</c:v>
                </c:pt>
                <c:pt idx="2034">
                  <c:v>110.39</c:v>
                </c:pt>
                <c:pt idx="2035">
                  <c:v>114.86</c:v>
                </c:pt>
                <c:pt idx="2036">
                  <c:v>113.05</c:v>
                </c:pt>
                <c:pt idx="2037">
                  <c:v>119.43</c:v>
                </c:pt>
                <c:pt idx="2038">
                  <c:v>119.38</c:v>
                </c:pt>
                <c:pt idx="2039">
                  <c:v>117.07</c:v>
                </c:pt>
                <c:pt idx="2040">
                  <c:v>120.11</c:v>
                </c:pt>
                <c:pt idx="2041">
                  <c:v>118.59</c:v>
                </c:pt>
                <c:pt idx="2042">
                  <c:v>117.59</c:v>
                </c:pt>
                <c:pt idx="2043">
                  <c:v>119.59</c:v>
                </c:pt>
                <c:pt idx="2044">
                  <c:v>121.11</c:v>
                </c:pt>
                <c:pt idx="2045">
                  <c:v>116.24000000000001</c:v>
                </c:pt>
                <c:pt idx="2046">
                  <c:v>115.95</c:v>
                </c:pt>
                <c:pt idx="2047">
                  <c:v>113.34</c:v>
                </c:pt>
                <c:pt idx="2048">
                  <c:v>114.09</c:v>
                </c:pt>
                <c:pt idx="2049">
                  <c:v>112.64</c:v>
                </c:pt>
                <c:pt idx="2050">
                  <c:v>116.16</c:v>
                </c:pt>
                <c:pt idx="2051">
                  <c:v>115.38</c:v>
                </c:pt>
                <c:pt idx="2052">
                  <c:v>115.79</c:v>
                </c:pt>
                <c:pt idx="2053">
                  <c:v>113.17999999999999</c:v>
                </c:pt>
                <c:pt idx="2054">
                  <c:v>115.74000000000001</c:v>
                </c:pt>
                <c:pt idx="2055">
                  <c:v>115.94000000000001</c:v>
                </c:pt>
                <c:pt idx="2056">
                  <c:v>115.35</c:v>
                </c:pt>
                <c:pt idx="2057">
                  <c:v>116.7</c:v>
                </c:pt>
                <c:pt idx="2058">
                  <c:v>115.77</c:v>
                </c:pt>
                <c:pt idx="2059">
                  <c:v>118.71000000000001</c:v>
                </c:pt>
                <c:pt idx="2060">
                  <c:v>121.21000000000001</c:v>
                </c:pt>
                <c:pt idx="2061">
                  <c:v>120.7</c:v>
                </c:pt>
                <c:pt idx="2062">
                  <c:v>118.51</c:v>
                </c:pt>
                <c:pt idx="2063">
                  <c:v>116.66999999999999</c:v>
                </c:pt>
                <c:pt idx="2064">
                  <c:v>114.4</c:v>
                </c:pt>
                <c:pt idx="2065">
                  <c:v>113.35</c:v>
                </c:pt>
                <c:pt idx="2066">
                  <c:v>114.61999999999999</c:v>
                </c:pt>
                <c:pt idx="2067">
                  <c:v>112.51</c:v>
                </c:pt>
                <c:pt idx="2068">
                  <c:v>111.61999999999999</c:v>
                </c:pt>
                <c:pt idx="2069">
                  <c:v>110.04</c:v>
                </c:pt>
                <c:pt idx="2070">
                  <c:v>111.93</c:v>
                </c:pt>
                <c:pt idx="2071">
                  <c:v>113.85</c:v>
                </c:pt>
                <c:pt idx="2072">
                  <c:v>111.53</c:v>
                </c:pt>
                <c:pt idx="2073">
                  <c:v>110.19</c:v>
                </c:pt>
                <c:pt idx="2074">
                  <c:v>103.91000000000001</c:v>
                </c:pt>
                <c:pt idx="2075">
                  <c:v>108.58</c:v>
                </c:pt>
                <c:pt idx="2076">
                  <c:v>107.42</c:v>
                </c:pt>
                <c:pt idx="2077">
                  <c:v>107.35</c:v>
                </c:pt>
                <c:pt idx="2078">
                  <c:v>112.32</c:v>
                </c:pt>
                <c:pt idx="2079">
                  <c:v>111.99000000000001</c:v>
                </c:pt>
                <c:pt idx="2080">
                  <c:v>113.92</c:v>
                </c:pt>
                <c:pt idx="2081">
                  <c:v>113.86999999999999</c:v>
                </c:pt>
                <c:pt idx="2082">
                  <c:v>113.81</c:v>
                </c:pt>
                <c:pt idx="2083">
                  <c:v>117.53</c:v>
                </c:pt>
                <c:pt idx="2084">
                  <c:v>119.56</c:v>
                </c:pt>
                <c:pt idx="2085">
                  <c:v>117.38</c:v>
                </c:pt>
                <c:pt idx="2086">
                  <c:v>117.06</c:v>
                </c:pt>
                <c:pt idx="2087">
                  <c:v>118.6</c:v>
                </c:pt>
                <c:pt idx="2088">
                  <c:v>117.02</c:v>
                </c:pt>
                <c:pt idx="2089">
                  <c:v>116.51</c:v>
                </c:pt>
                <c:pt idx="2090">
                  <c:v>115.36999999999999</c:v>
                </c:pt>
                <c:pt idx="2091">
                  <c:v>114.47</c:v>
                </c:pt>
                <c:pt idx="2092">
                  <c:v>113.16</c:v>
                </c:pt>
                <c:pt idx="2093">
                  <c:v>112.94000000000001</c:v>
                </c:pt>
                <c:pt idx="2094">
                  <c:v>115.51</c:v>
                </c:pt>
                <c:pt idx="2095">
                  <c:v>114.88</c:v>
                </c:pt>
                <c:pt idx="2096">
                  <c:v>117.54</c:v>
                </c:pt>
                <c:pt idx="2097">
                  <c:v>116.23</c:v>
                </c:pt>
                <c:pt idx="2098">
                  <c:v>115.76</c:v>
                </c:pt>
                <c:pt idx="2099">
                  <c:v>115.64999999999999</c:v>
                </c:pt>
                <c:pt idx="2100">
                  <c:v>114.13</c:v>
                </c:pt>
                <c:pt idx="2101">
                  <c:v>115.92</c:v>
                </c:pt>
                <c:pt idx="2102">
                  <c:v>116.85</c:v>
                </c:pt>
                <c:pt idx="2103">
                  <c:v>115.71000000000001</c:v>
                </c:pt>
                <c:pt idx="2104">
                  <c:v>116.13</c:v>
                </c:pt>
                <c:pt idx="2105">
                  <c:v>116.01</c:v>
                </c:pt>
                <c:pt idx="2106">
                  <c:v>119.19</c:v>
                </c:pt>
                <c:pt idx="2107">
                  <c:v>119.13</c:v>
                </c:pt>
                <c:pt idx="2108">
                  <c:v>118.51</c:v>
                </c:pt>
                <c:pt idx="2109">
                  <c:v>119.69</c:v>
                </c:pt>
                <c:pt idx="2110">
                  <c:v>119.78</c:v>
                </c:pt>
                <c:pt idx="2111">
                  <c:v>117.64999999999999</c:v>
                </c:pt>
                <c:pt idx="2112">
                  <c:v>118.06</c:v>
                </c:pt>
                <c:pt idx="2113">
                  <c:v>118.16999999999999</c:v>
                </c:pt>
                <c:pt idx="2114">
                  <c:v>118.82</c:v>
                </c:pt>
                <c:pt idx="2115">
                  <c:v>119.2</c:v>
                </c:pt>
                <c:pt idx="2116">
                  <c:v>118.97</c:v>
                </c:pt>
                <c:pt idx="2117">
                  <c:v>118.49000000000001</c:v>
                </c:pt>
                <c:pt idx="2118">
                  <c:v>115.93</c:v>
                </c:pt>
                <c:pt idx="2119">
                  <c:v>114.33</c:v>
                </c:pt>
                <c:pt idx="2120">
                  <c:v>114.88</c:v>
                </c:pt>
                <c:pt idx="2121">
                  <c:v>113.05</c:v>
                </c:pt>
                <c:pt idx="2122">
                  <c:v>112.56</c:v>
                </c:pt>
                <c:pt idx="2123">
                  <c:v>111.89</c:v>
                </c:pt>
                <c:pt idx="2124">
                  <c:v>112.84</c:v>
                </c:pt>
                <c:pt idx="2125">
                  <c:v>112.26</c:v>
                </c:pt>
                <c:pt idx="2126">
                  <c:v>112.95</c:v>
                </c:pt>
                <c:pt idx="2127">
                  <c:v>111.61</c:v>
                </c:pt>
                <c:pt idx="2128">
                  <c:v>111.94000000000001</c:v>
                </c:pt>
                <c:pt idx="2129">
                  <c:v>110.64999999999999</c:v>
                </c:pt>
                <c:pt idx="2130">
                  <c:v>110.08</c:v>
                </c:pt>
                <c:pt idx="2131">
                  <c:v>108.19</c:v>
                </c:pt>
                <c:pt idx="2132">
                  <c:v>106.5</c:v>
                </c:pt>
                <c:pt idx="2133">
                  <c:v>105.16999999999999</c:v>
                </c:pt>
                <c:pt idx="2134">
                  <c:v>102.84</c:v>
                </c:pt>
                <c:pt idx="2135">
                  <c:v>104.02</c:v>
                </c:pt>
                <c:pt idx="2136">
                  <c:v>105.13</c:v>
                </c:pt>
                <c:pt idx="2137">
                  <c:v>105.05</c:v>
                </c:pt>
                <c:pt idx="2138">
                  <c:v>105.34</c:v>
                </c:pt>
                <c:pt idx="2139">
                  <c:v>103.03</c:v>
                </c:pt>
                <c:pt idx="2140">
                  <c:v>101.75</c:v>
                </c:pt>
                <c:pt idx="2141">
                  <c:v>100.33</c:v>
                </c:pt>
                <c:pt idx="2142">
                  <c:v>99.54</c:v>
                </c:pt>
                <c:pt idx="2143">
                  <c:v>98.51</c:v>
                </c:pt>
                <c:pt idx="2144">
                  <c:v>100.35</c:v>
                </c:pt>
                <c:pt idx="2145">
                  <c:v>97.16</c:v>
                </c:pt>
                <c:pt idx="2146">
                  <c:v>97.23</c:v>
                </c:pt>
                <c:pt idx="2147">
                  <c:v>97.1</c:v>
                </c:pt>
                <c:pt idx="2148">
                  <c:v>94.76</c:v>
                </c:pt>
                <c:pt idx="2149">
                  <c:v>93.57</c:v>
                </c:pt>
                <c:pt idx="2150">
                  <c:v>94.149999999999991</c:v>
                </c:pt>
                <c:pt idx="2151">
                  <c:v>92.33</c:v>
                </c:pt>
                <c:pt idx="2152">
                  <c:v>92.97</c:v>
                </c:pt>
                <c:pt idx="2153">
                  <c:v>92.33</c:v>
                </c:pt>
                <c:pt idx="2154">
                  <c:v>94.59</c:v>
                </c:pt>
                <c:pt idx="2155">
                  <c:v>92.54</c:v>
                </c:pt>
                <c:pt idx="2156">
                  <c:v>89.32</c:v>
                </c:pt>
                <c:pt idx="2157">
                  <c:v>91.64</c:v>
                </c:pt>
                <c:pt idx="2158">
                  <c:v>88.55</c:v>
                </c:pt>
                <c:pt idx="2159">
                  <c:v>90.990000000000009</c:v>
                </c:pt>
                <c:pt idx="2160">
                  <c:v>94.08</c:v>
                </c:pt>
                <c:pt idx="2161">
                  <c:v>96.6</c:v>
                </c:pt>
                <c:pt idx="2162">
                  <c:v>97.25</c:v>
                </c:pt>
                <c:pt idx="2163">
                  <c:v>96.5</c:v>
                </c:pt>
                <c:pt idx="2164">
                  <c:v>99.8</c:v>
                </c:pt>
                <c:pt idx="2165">
                  <c:v>97.27</c:v>
                </c:pt>
                <c:pt idx="2166">
                  <c:v>97.16</c:v>
                </c:pt>
                <c:pt idx="2167">
                  <c:v>95.52</c:v>
                </c:pt>
                <c:pt idx="2168">
                  <c:v>96.81</c:v>
                </c:pt>
                <c:pt idx="2169">
                  <c:v>98.6</c:v>
                </c:pt>
                <c:pt idx="2170">
                  <c:v>97.33</c:v>
                </c:pt>
                <c:pt idx="2171">
                  <c:v>96.77</c:v>
                </c:pt>
                <c:pt idx="2172">
                  <c:v>95.940000000000012</c:v>
                </c:pt>
                <c:pt idx="2173">
                  <c:v>99.63</c:v>
                </c:pt>
                <c:pt idx="2174">
                  <c:v>100.21000000000001</c:v>
                </c:pt>
                <c:pt idx="2175">
                  <c:v>99.45</c:v>
                </c:pt>
                <c:pt idx="2176">
                  <c:v>101.74000000000001</c:v>
                </c:pt>
                <c:pt idx="2177">
                  <c:v>104</c:v>
                </c:pt>
                <c:pt idx="2178">
                  <c:v>103.92</c:v>
                </c:pt>
                <c:pt idx="2179">
                  <c:v>99.53</c:v>
                </c:pt>
                <c:pt idx="2180">
                  <c:v>99.23</c:v>
                </c:pt>
                <c:pt idx="2181">
                  <c:v>100.61999999999999</c:v>
                </c:pt>
                <c:pt idx="2182">
                  <c:v>100.13</c:v>
                </c:pt>
                <c:pt idx="2183">
                  <c:v>97.27</c:v>
                </c:pt>
                <c:pt idx="2184">
                  <c:v>97.13</c:v>
                </c:pt>
                <c:pt idx="2185">
                  <c:v>95.8</c:v>
                </c:pt>
                <c:pt idx="2186">
                  <c:v>98.09</c:v>
                </c:pt>
                <c:pt idx="2187">
                  <c:v>97.82</c:v>
                </c:pt>
                <c:pt idx="2188">
                  <c:v>97.669999999999987</c:v>
                </c:pt>
                <c:pt idx="2189">
                  <c:v>97.5</c:v>
                </c:pt>
                <c:pt idx="2190">
                  <c:v>99.440000000000012</c:v>
                </c:pt>
                <c:pt idx="2191">
                  <c:v>99.6</c:v>
                </c:pt>
                <c:pt idx="2192">
                  <c:v>99.63</c:v>
                </c:pt>
                <c:pt idx="2193">
                  <c:v>101.72</c:v>
                </c:pt>
                <c:pt idx="2194">
                  <c:v>100.38</c:v>
                </c:pt>
                <c:pt idx="2195">
                  <c:v>97.73</c:v>
                </c:pt>
                <c:pt idx="2196">
                  <c:v>95.92</c:v>
                </c:pt>
                <c:pt idx="2197">
                  <c:v>99.940000000000012</c:v>
                </c:pt>
                <c:pt idx="2198">
                  <c:v>100.06</c:v>
                </c:pt>
                <c:pt idx="2199">
                  <c:v>98.3</c:v>
                </c:pt>
                <c:pt idx="2200">
                  <c:v>97.179999999999993</c:v>
                </c:pt>
                <c:pt idx="2201">
                  <c:v>98.440000000000012</c:v>
                </c:pt>
                <c:pt idx="2202">
                  <c:v>95.53</c:v>
                </c:pt>
                <c:pt idx="2203">
                  <c:v>93.72</c:v>
                </c:pt>
                <c:pt idx="2204">
                  <c:v>91.98</c:v>
                </c:pt>
                <c:pt idx="2205">
                  <c:v>91.36</c:v>
                </c:pt>
                <c:pt idx="2206">
                  <c:v>99.35</c:v>
                </c:pt>
                <c:pt idx="2207">
                  <c:v>96.73</c:v>
                </c:pt>
                <c:pt idx="2208">
                  <c:v>94.64</c:v>
                </c:pt>
                <c:pt idx="2209">
                  <c:v>94.11999999999999</c:v>
                </c:pt>
                <c:pt idx="2210">
                  <c:v>95.93</c:v>
                </c:pt>
                <c:pt idx="2211">
                  <c:v>94.410000000000011</c:v>
                </c:pt>
                <c:pt idx="2212">
                  <c:v>90.14</c:v>
                </c:pt>
                <c:pt idx="2213">
                  <c:v>91.9</c:v>
                </c:pt>
                <c:pt idx="2214">
                  <c:v>91.960000000000008</c:v>
                </c:pt>
                <c:pt idx="2215">
                  <c:v>92.04</c:v>
                </c:pt>
                <c:pt idx="2216">
                  <c:v>94.05</c:v>
                </c:pt>
                <c:pt idx="2217">
                  <c:v>88.58</c:v>
                </c:pt>
                <c:pt idx="2218">
                  <c:v>89.6</c:v>
                </c:pt>
                <c:pt idx="2219">
                  <c:v>84.85</c:v>
                </c:pt>
                <c:pt idx="2220">
                  <c:v>83.04</c:v>
                </c:pt>
                <c:pt idx="2221">
                  <c:v>78.179999999999993</c:v>
                </c:pt>
                <c:pt idx="2222">
                  <c:v>84.84</c:v>
                </c:pt>
                <c:pt idx="2223">
                  <c:v>87.31</c:v>
                </c:pt>
                <c:pt idx="2224">
                  <c:v>82.73</c:v>
                </c:pt>
                <c:pt idx="2225">
                  <c:v>79.260000000000005</c:v>
                </c:pt>
                <c:pt idx="2226">
                  <c:v>81.03</c:v>
                </c:pt>
                <c:pt idx="2227">
                  <c:v>83.56</c:v>
                </c:pt>
                <c:pt idx="2228">
                  <c:v>82.25</c:v>
                </c:pt>
                <c:pt idx="2229">
                  <c:v>78.28</c:v>
                </c:pt>
                <c:pt idx="2230">
                  <c:v>78.569999999999993</c:v>
                </c:pt>
                <c:pt idx="2231">
                  <c:v>75.3</c:v>
                </c:pt>
                <c:pt idx="2232">
                  <c:v>74.55</c:v>
                </c:pt>
                <c:pt idx="2233">
                  <c:v>75.33</c:v>
                </c:pt>
                <c:pt idx="2234">
                  <c:v>80.66</c:v>
                </c:pt>
                <c:pt idx="2235">
                  <c:v>82.08</c:v>
                </c:pt>
                <c:pt idx="2236">
                  <c:v>82.8</c:v>
                </c:pt>
                <c:pt idx="2237">
                  <c:v>83.410000000000011</c:v>
                </c:pt>
                <c:pt idx="2238">
                  <c:v>86.76</c:v>
                </c:pt>
                <c:pt idx="2239">
                  <c:v>85.81</c:v>
                </c:pt>
                <c:pt idx="2240">
                  <c:v>82.63</c:v>
                </c:pt>
                <c:pt idx="2241">
                  <c:v>84.149999999999991</c:v>
                </c:pt>
                <c:pt idx="2242">
                  <c:v>84.28</c:v>
                </c:pt>
                <c:pt idx="2243">
                  <c:v>81.990000000000009</c:v>
                </c:pt>
                <c:pt idx="2244">
                  <c:v>79.36999999999999</c:v>
                </c:pt>
                <c:pt idx="2245">
                  <c:v>78.39</c:v>
                </c:pt>
                <c:pt idx="2246">
                  <c:v>78.400000000000006</c:v>
                </c:pt>
                <c:pt idx="2247">
                  <c:v>76.739999999999995</c:v>
                </c:pt>
                <c:pt idx="2248">
                  <c:v>77.940000000000012</c:v>
                </c:pt>
                <c:pt idx="2249">
                  <c:v>76.06</c:v>
                </c:pt>
                <c:pt idx="2250">
                  <c:v>74.19</c:v>
                </c:pt>
                <c:pt idx="2251">
                  <c:v>73.209999999999994</c:v>
                </c:pt>
                <c:pt idx="2252">
                  <c:v>77.31</c:v>
                </c:pt>
                <c:pt idx="2253">
                  <c:v>77.459999999999994</c:v>
                </c:pt>
                <c:pt idx="2254">
                  <c:v>77.55</c:v>
                </c:pt>
                <c:pt idx="2255">
                  <c:v>79.28</c:v>
                </c:pt>
                <c:pt idx="2256">
                  <c:v>80.48</c:v>
                </c:pt>
                <c:pt idx="2257">
                  <c:v>75.849999999999994</c:v>
                </c:pt>
                <c:pt idx="2258">
                  <c:v>76.83</c:v>
                </c:pt>
                <c:pt idx="2259">
                  <c:v>76.989999999999995</c:v>
                </c:pt>
                <c:pt idx="2260">
                  <c:v>76.290000000000006</c:v>
                </c:pt>
                <c:pt idx="2261">
                  <c:v>74.28</c:v>
                </c:pt>
                <c:pt idx="2262">
                  <c:v>78.16</c:v>
                </c:pt>
                <c:pt idx="2263">
                  <c:v>79.98</c:v>
                </c:pt>
                <c:pt idx="2264">
                  <c:v>79.599999999999994</c:v>
                </c:pt>
                <c:pt idx="2265">
                  <c:v>79.02</c:v>
                </c:pt>
                <c:pt idx="2266">
                  <c:v>76.92</c:v>
                </c:pt>
                <c:pt idx="2267">
                  <c:v>76.95</c:v>
                </c:pt>
                <c:pt idx="2268">
                  <c:v>76.98</c:v>
                </c:pt>
                <c:pt idx="2269">
                  <c:v>76.149999999999991</c:v>
                </c:pt>
                <c:pt idx="2270">
                  <c:v>76.27</c:v>
                </c:pt>
                <c:pt idx="2271">
                  <c:v>76.510000000000005</c:v>
                </c:pt>
                <c:pt idx="2272">
                  <c:v>75.25</c:v>
                </c:pt>
                <c:pt idx="2273">
                  <c:v>75.22</c:v>
                </c:pt>
                <c:pt idx="2274">
                  <c:v>74.83</c:v>
                </c:pt>
                <c:pt idx="2275">
                  <c:v>75.239999999999995</c:v>
                </c:pt>
                <c:pt idx="2276">
                  <c:v>76.2</c:v>
                </c:pt>
                <c:pt idx="2277">
                  <c:v>76.930000000000007</c:v>
                </c:pt>
                <c:pt idx="2278">
                  <c:v>80</c:v>
                </c:pt>
                <c:pt idx="2279">
                  <c:v>81.95</c:v>
                </c:pt>
                <c:pt idx="2280">
                  <c:v>84.72</c:v>
                </c:pt>
                <c:pt idx="2281">
                  <c:v>83.33</c:v>
                </c:pt>
                <c:pt idx="2282">
                  <c:v>82.179999999999993</c:v>
                </c:pt>
                <c:pt idx="2283">
                  <c:v>82.29</c:v>
                </c:pt>
                <c:pt idx="2284">
                  <c:v>80.88</c:v>
                </c:pt>
                <c:pt idx="2285">
                  <c:v>79.25</c:v>
                </c:pt>
                <c:pt idx="2286">
                  <c:v>76.069999999999993</c:v>
                </c:pt>
                <c:pt idx="2287">
                  <c:v>75.63</c:v>
                </c:pt>
                <c:pt idx="2288">
                  <c:v>76.069999999999993</c:v>
                </c:pt>
                <c:pt idx="2289">
                  <c:v>75.52</c:v>
                </c:pt>
                <c:pt idx="2290">
                  <c:v>73.569999999999993</c:v>
                </c:pt>
                <c:pt idx="2291">
                  <c:v>73.440000000000012</c:v>
                </c:pt>
                <c:pt idx="2292">
                  <c:v>72.709999999999994</c:v>
                </c:pt>
                <c:pt idx="2293">
                  <c:v>72.75</c:v>
                </c:pt>
                <c:pt idx="2294">
                  <c:v>74.040000000000006</c:v>
                </c:pt>
                <c:pt idx="2295">
                  <c:v>74.77</c:v>
                </c:pt>
                <c:pt idx="2296">
                  <c:v>77.040000000000006</c:v>
                </c:pt>
                <c:pt idx="2297">
                  <c:v>75.81</c:v>
                </c:pt>
                <c:pt idx="2298">
                  <c:v>76.14</c:v>
                </c:pt>
                <c:pt idx="2299">
                  <c:v>73.5</c:v>
                </c:pt>
                <c:pt idx="2300">
                  <c:v>74.84</c:v>
                </c:pt>
                <c:pt idx="2301">
                  <c:v>77.39</c:v>
                </c:pt>
                <c:pt idx="2302">
                  <c:v>78.08</c:v>
                </c:pt>
                <c:pt idx="2303">
                  <c:v>79.959999999999994</c:v>
                </c:pt>
                <c:pt idx="2304">
                  <c:v>80.8</c:v>
                </c:pt>
                <c:pt idx="2305">
                  <c:v>77.98</c:v>
                </c:pt>
                <c:pt idx="2306">
                  <c:v>77.55</c:v>
                </c:pt>
                <c:pt idx="2307">
                  <c:v>76.149999999999991</c:v>
                </c:pt>
                <c:pt idx="2308">
                  <c:v>76.09</c:v>
                </c:pt>
                <c:pt idx="2309">
                  <c:v>75.010000000000005</c:v>
                </c:pt>
                <c:pt idx="2310">
                  <c:v>73.649999999999991</c:v>
                </c:pt>
                <c:pt idx="2311">
                  <c:v>73.34</c:v>
                </c:pt>
                <c:pt idx="2312">
                  <c:v>73.179999999999993</c:v>
                </c:pt>
                <c:pt idx="2313">
                  <c:v>70.930000000000007</c:v>
                </c:pt>
                <c:pt idx="2314">
                  <c:v>70.179999999999993</c:v>
                </c:pt>
                <c:pt idx="2315">
                  <c:v>69.099999999999994</c:v>
                </c:pt>
                <c:pt idx="2316">
                  <c:v>68.5</c:v>
                </c:pt>
                <c:pt idx="2317">
                  <c:v>69.790000000000006</c:v>
                </c:pt>
                <c:pt idx="2318">
                  <c:v>68.61</c:v>
                </c:pt>
                <c:pt idx="2319">
                  <c:v>65.47</c:v>
                </c:pt>
                <c:pt idx="2320">
                  <c:v>64.77</c:v>
                </c:pt>
                <c:pt idx="2321">
                  <c:v>67.819999999999993</c:v>
                </c:pt>
                <c:pt idx="2322">
                  <c:v>65.92</c:v>
                </c:pt>
                <c:pt idx="2323">
                  <c:v>65.040000000000006</c:v>
                </c:pt>
                <c:pt idx="2324">
                  <c:v>64.27</c:v>
                </c:pt>
                <c:pt idx="2325">
                  <c:v>66.95</c:v>
                </c:pt>
                <c:pt idx="2326">
                  <c:v>66.61</c:v>
                </c:pt>
                <c:pt idx="2327">
                  <c:v>66.75</c:v>
                </c:pt>
                <c:pt idx="2328">
                  <c:v>67.55</c:v>
                </c:pt>
                <c:pt idx="2329">
                  <c:v>68.73</c:v>
                </c:pt>
                <c:pt idx="2330">
                  <c:v>68.02</c:v>
                </c:pt>
                <c:pt idx="2331">
                  <c:v>67.22</c:v>
                </c:pt>
                <c:pt idx="2332">
                  <c:v>67.099999999999994</c:v>
                </c:pt>
                <c:pt idx="2333">
                  <c:v>67.63</c:v>
                </c:pt>
                <c:pt idx="2334">
                  <c:v>69.900000000000006</c:v>
                </c:pt>
                <c:pt idx="2335">
                  <c:v>69.69</c:v>
                </c:pt>
                <c:pt idx="2336">
                  <c:v>70.11999999999999</c:v>
                </c:pt>
                <c:pt idx="2337">
                  <c:v>69.989999999999995</c:v>
                </c:pt>
                <c:pt idx="2338">
                  <c:v>68.72</c:v>
                </c:pt>
                <c:pt idx="2339">
                  <c:v>65.34</c:v>
                </c:pt>
                <c:pt idx="2340">
                  <c:v>67.77</c:v>
                </c:pt>
                <c:pt idx="2341">
                  <c:v>69.319999999999993</c:v>
                </c:pt>
                <c:pt idx="2342">
                  <c:v>73.16</c:v>
                </c:pt>
                <c:pt idx="2343">
                  <c:v>74.02</c:v>
                </c:pt>
                <c:pt idx="2344">
                  <c:v>73.3</c:v>
                </c:pt>
                <c:pt idx="2345">
                  <c:v>72.290000000000006</c:v>
                </c:pt>
                <c:pt idx="2346">
                  <c:v>72.56</c:v>
                </c:pt>
                <c:pt idx="2347">
                  <c:v>74.39</c:v>
                </c:pt>
                <c:pt idx="2348">
                  <c:v>76.19</c:v>
                </c:pt>
                <c:pt idx="2349">
                  <c:v>75.649999999999991</c:v>
                </c:pt>
                <c:pt idx="2350">
                  <c:v>77.23</c:v>
                </c:pt>
                <c:pt idx="2351">
                  <c:v>78.86</c:v>
                </c:pt>
                <c:pt idx="2352">
                  <c:v>75.06</c:v>
                </c:pt>
                <c:pt idx="2353">
                  <c:v>75.34</c:v>
                </c:pt>
                <c:pt idx="2354">
                  <c:v>76.98</c:v>
                </c:pt>
                <c:pt idx="2355">
                  <c:v>76.78</c:v>
                </c:pt>
                <c:pt idx="2356">
                  <c:v>79.06</c:v>
                </c:pt>
                <c:pt idx="2357">
                  <c:v>79.400000000000006</c:v>
                </c:pt>
                <c:pt idx="2358">
                  <c:v>77.39</c:v>
                </c:pt>
                <c:pt idx="2359">
                  <c:v>78.819999999999993</c:v>
                </c:pt>
                <c:pt idx="2360">
                  <c:v>80.27</c:v>
                </c:pt>
                <c:pt idx="2361">
                  <c:v>80.25</c:v>
                </c:pt>
                <c:pt idx="2362">
                  <c:v>82.77</c:v>
                </c:pt>
                <c:pt idx="2363">
                  <c:v>83.57</c:v>
                </c:pt>
                <c:pt idx="2364">
                  <c:v>84.86999999999999</c:v>
                </c:pt>
                <c:pt idx="2365">
                  <c:v>83.88</c:v>
                </c:pt>
                <c:pt idx="2366">
                  <c:v>85.6</c:v>
                </c:pt>
                <c:pt idx="2367">
                  <c:v>83.440000000000012</c:v>
                </c:pt>
                <c:pt idx="2368">
                  <c:v>82.58</c:v>
                </c:pt>
                <c:pt idx="2369">
                  <c:v>79.33</c:v>
                </c:pt>
                <c:pt idx="2370">
                  <c:v>80.010000000000005</c:v>
                </c:pt>
                <c:pt idx="2371">
                  <c:v>80.81</c:v>
                </c:pt>
                <c:pt idx="2372">
                  <c:v>82.1</c:v>
                </c:pt>
                <c:pt idx="2373">
                  <c:v>84</c:v>
                </c:pt>
                <c:pt idx="2374">
                  <c:v>84.25</c:v>
                </c:pt>
                <c:pt idx="2375">
                  <c:v>82.28</c:v>
                </c:pt>
                <c:pt idx="2376">
                  <c:v>81.93</c:v>
                </c:pt>
                <c:pt idx="2377">
                  <c:v>81.72</c:v>
                </c:pt>
                <c:pt idx="2378">
                  <c:v>82</c:v>
                </c:pt>
                <c:pt idx="2379">
                  <c:v>82.710000000000008</c:v>
                </c:pt>
                <c:pt idx="2380">
                  <c:v>81.319999999999993</c:v>
                </c:pt>
                <c:pt idx="2381">
                  <c:v>80.849999999999994</c:v>
                </c:pt>
                <c:pt idx="2382">
                  <c:v>84.5</c:v>
                </c:pt>
                <c:pt idx="2383">
                  <c:v>84.72</c:v>
                </c:pt>
                <c:pt idx="2384">
                  <c:v>82.649999999999991</c:v>
                </c:pt>
                <c:pt idx="2385">
                  <c:v>82.07</c:v>
                </c:pt>
                <c:pt idx="2386">
                  <c:v>82.38</c:v>
                </c:pt>
                <c:pt idx="2387">
                  <c:v>81.22</c:v>
                </c:pt>
                <c:pt idx="2388">
                  <c:v>81.400000000000006</c:v>
                </c:pt>
                <c:pt idx="2389">
                  <c:v>82.490000000000009</c:v>
                </c:pt>
                <c:pt idx="2390">
                  <c:v>83.23</c:v>
                </c:pt>
                <c:pt idx="2391">
                  <c:v>82.669999999999987</c:v>
                </c:pt>
                <c:pt idx="2392">
                  <c:v>80.23</c:v>
                </c:pt>
                <c:pt idx="2393">
                  <c:v>80.11999999999999</c:v>
                </c:pt>
                <c:pt idx="2394">
                  <c:v>77.63</c:v>
                </c:pt>
                <c:pt idx="2395">
                  <c:v>77.849999999999994</c:v>
                </c:pt>
                <c:pt idx="2396">
                  <c:v>78.66</c:v>
                </c:pt>
                <c:pt idx="2397">
                  <c:v>76.430000000000007</c:v>
                </c:pt>
                <c:pt idx="2398">
                  <c:v>75.910000000000011</c:v>
                </c:pt>
                <c:pt idx="2399">
                  <c:v>77.540000000000006</c:v>
                </c:pt>
                <c:pt idx="2400">
                  <c:v>77.819999999999993</c:v>
                </c:pt>
                <c:pt idx="2401">
                  <c:v>78.36</c:v>
                </c:pt>
                <c:pt idx="2402">
                  <c:v>79.69</c:v>
                </c:pt>
                <c:pt idx="2403">
                  <c:v>78.7</c:v>
                </c:pt>
                <c:pt idx="2404">
                  <c:v>78.47</c:v>
                </c:pt>
                <c:pt idx="2405">
                  <c:v>77</c:v>
                </c:pt>
                <c:pt idx="2406">
                  <c:v>76.959999999999994</c:v>
                </c:pt>
                <c:pt idx="2407">
                  <c:v>76.02</c:v>
                </c:pt>
                <c:pt idx="2408">
                  <c:v>75.05</c:v>
                </c:pt>
                <c:pt idx="2409">
                  <c:v>73.77</c:v>
                </c:pt>
                <c:pt idx="2410">
                  <c:v>73.98</c:v>
                </c:pt>
                <c:pt idx="2411">
                  <c:v>73.459999999999994</c:v>
                </c:pt>
                <c:pt idx="2412">
                  <c:v>74.910000000000011</c:v>
                </c:pt>
                <c:pt idx="2413">
                  <c:v>76.33</c:v>
                </c:pt>
                <c:pt idx="2414">
                  <c:v>77.52</c:v>
                </c:pt>
                <c:pt idx="2415">
                  <c:v>77.599999999999994</c:v>
                </c:pt>
                <c:pt idx="2416">
                  <c:v>77.52</c:v>
                </c:pt>
                <c:pt idx="2417">
                  <c:v>78.099999999999994</c:v>
                </c:pt>
                <c:pt idx="2418">
                  <c:v>78.66</c:v>
                </c:pt>
                <c:pt idx="2419">
                  <c:v>79.19</c:v>
                </c:pt>
                <c:pt idx="2420">
                  <c:v>80.179999999999993</c:v>
                </c:pt>
                <c:pt idx="2421">
                  <c:v>80.209999999999994</c:v>
                </c:pt>
                <c:pt idx="2422">
                  <c:v>80.28</c:v>
                </c:pt>
                <c:pt idx="2423">
                  <c:v>79.77</c:v>
                </c:pt>
                <c:pt idx="2424">
                  <c:v>80.72</c:v>
                </c:pt>
                <c:pt idx="2425">
                  <c:v>82.3</c:v>
                </c:pt>
                <c:pt idx="2426">
                  <c:v>82.16</c:v>
                </c:pt>
                <c:pt idx="2427">
                  <c:v>82.89</c:v>
                </c:pt>
                <c:pt idx="2428">
                  <c:v>83.53</c:v>
                </c:pt>
                <c:pt idx="2429">
                  <c:v>83.89</c:v>
                </c:pt>
                <c:pt idx="2430">
                  <c:v>84.460000000000008</c:v>
                </c:pt>
                <c:pt idx="2431">
                  <c:v>84.61</c:v>
                </c:pt>
                <c:pt idx="2432">
                  <c:v>84.85</c:v>
                </c:pt>
                <c:pt idx="2433">
                  <c:v>83.48</c:v>
                </c:pt>
                <c:pt idx="2434">
                  <c:v>84.36999999999999</c:v>
                </c:pt>
                <c:pt idx="2435">
                  <c:v>85.39</c:v>
                </c:pt>
                <c:pt idx="2436">
                  <c:v>85.5</c:v>
                </c:pt>
                <c:pt idx="2437">
                  <c:v>83.740000000000009</c:v>
                </c:pt>
                <c:pt idx="2438">
                  <c:v>85.07</c:v>
                </c:pt>
                <c:pt idx="2439">
                  <c:v>84.410000000000011</c:v>
                </c:pt>
                <c:pt idx="2440">
                  <c:v>85.54</c:v>
                </c:pt>
                <c:pt idx="2441">
                  <c:v>87.08</c:v>
                </c:pt>
                <c:pt idx="2442">
                  <c:v>88.38</c:v>
                </c:pt>
                <c:pt idx="2443">
                  <c:v>88.8</c:v>
                </c:pt>
                <c:pt idx="2444">
                  <c:v>88.1</c:v>
                </c:pt>
                <c:pt idx="2445">
                  <c:v>87.6</c:v>
                </c:pt>
                <c:pt idx="2446">
                  <c:v>88.08</c:v>
                </c:pt>
                <c:pt idx="2447">
                  <c:v>87.81</c:v>
                </c:pt>
                <c:pt idx="2448">
                  <c:v>86.04</c:v>
                </c:pt>
                <c:pt idx="2449">
                  <c:v>85.149999999999991</c:v>
                </c:pt>
                <c:pt idx="2450">
                  <c:v>85.83</c:v>
                </c:pt>
                <c:pt idx="2451">
                  <c:v>87.04</c:v>
                </c:pt>
                <c:pt idx="2452">
                  <c:v>88.679999999999993</c:v>
                </c:pt>
                <c:pt idx="2453">
                  <c:v>88.72</c:v>
                </c:pt>
                <c:pt idx="2454">
                  <c:v>89.01</c:v>
                </c:pt>
                <c:pt idx="2455">
                  <c:v>89.47</c:v>
                </c:pt>
                <c:pt idx="2456">
                  <c:v>90.38</c:v>
                </c:pt>
                <c:pt idx="2457">
                  <c:v>90.04</c:v>
                </c:pt>
                <c:pt idx="2458">
                  <c:v>90.13</c:v>
                </c:pt>
                <c:pt idx="2459">
                  <c:v>91.61999999999999</c:v>
                </c:pt>
                <c:pt idx="2460">
                  <c:v>91.92</c:v>
                </c:pt>
                <c:pt idx="2461">
                  <c:v>91.440000000000012</c:v>
                </c:pt>
                <c:pt idx="2462">
                  <c:v>90.86</c:v>
                </c:pt>
                <c:pt idx="2463">
                  <c:v>90.66</c:v>
                </c:pt>
                <c:pt idx="2464">
                  <c:v>90.89</c:v>
                </c:pt>
                <c:pt idx="2465">
                  <c:v>89.22</c:v>
                </c:pt>
                <c:pt idx="2466">
                  <c:v>88.72</c:v>
                </c:pt>
                <c:pt idx="2467">
                  <c:v>89.86999999999999</c:v>
                </c:pt>
                <c:pt idx="2468">
                  <c:v>90.29</c:v>
                </c:pt>
                <c:pt idx="2469">
                  <c:v>90.76</c:v>
                </c:pt>
                <c:pt idx="2470">
                  <c:v>89.83</c:v>
                </c:pt>
                <c:pt idx="2471">
                  <c:v>88.53</c:v>
                </c:pt>
                <c:pt idx="2472">
                  <c:v>89.31</c:v>
                </c:pt>
                <c:pt idx="2473">
                  <c:v>90.43</c:v>
                </c:pt>
                <c:pt idx="2474">
                  <c:v>90.39</c:v>
                </c:pt>
                <c:pt idx="2475">
                  <c:v>91.33</c:v>
                </c:pt>
                <c:pt idx="2476">
                  <c:v>90.9</c:v>
                </c:pt>
                <c:pt idx="2477">
                  <c:v>91</c:v>
                </c:pt>
                <c:pt idx="2478">
                  <c:v>90.490000000000009</c:v>
                </c:pt>
                <c:pt idx="2479">
                  <c:v>91.27</c:v>
                </c:pt>
                <c:pt idx="2480">
                  <c:v>92.08</c:v>
                </c:pt>
                <c:pt idx="2481">
                  <c:v>91.86999999999999</c:v>
                </c:pt>
                <c:pt idx="2482">
                  <c:v>92.95</c:v>
                </c:pt>
                <c:pt idx="2483">
                  <c:v>93.34</c:v>
                </c:pt>
                <c:pt idx="2484">
                  <c:v>93.440000000000012</c:v>
                </c:pt>
                <c:pt idx="2485">
                  <c:v>92.5</c:v>
                </c:pt>
                <c:pt idx="2486">
                  <c:v>91.33</c:v>
                </c:pt>
                <c:pt idx="2487">
                  <c:v>91.06</c:v>
                </c:pt>
                <c:pt idx="2488">
                  <c:v>91.58</c:v>
                </c:pt>
                <c:pt idx="2489">
                  <c:v>90.11</c:v>
                </c:pt>
                <c:pt idx="2490">
                  <c:v>91.1</c:v>
                </c:pt>
                <c:pt idx="2491">
                  <c:v>89.940000000000012</c:v>
                </c:pt>
                <c:pt idx="2492">
                  <c:v>89.740000000000009</c:v>
                </c:pt>
                <c:pt idx="2493">
                  <c:v>89.63</c:v>
                </c:pt>
                <c:pt idx="2494">
                  <c:v>91.07</c:v>
                </c:pt>
                <c:pt idx="2495">
                  <c:v>91.14</c:v>
                </c:pt>
                <c:pt idx="2496">
                  <c:v>91.54</c:v>
                </c:pt>
                <c:pt idx="2497">
                  <c:v>92.79</c:v>
                </c:pt>
                <c:pt idx="2498">
                  <c:v>92.79</c:v>
                </c:pt>
                <c:pt idx="2499">
                  <c:v>92.75</c:v>
                </c:pt>
                <c:pt idx="2500">
                  <c:v>93.25</c:v>
                </c:pt>
                <c:pt idx="2501">
                  <c:v>94.05</c:v>
                </c:pt>
                <c:pt idx="2502">
                  <c:v>94.89</c:v>
                </c:pt>
                <c:pt idx="2503">
                  <c:v>95.03</c:v>
                </c:pt>
                <c:pt idx="2504">
                  <c:v>94.54</c:v>
                </c:pt>
                <c:pt idx="2505">
                  <c:v>93.14</c:v>
                </c:pt>
                <c:pt idx="2506">
                  <c:v>92.52</c:v>
                </c:pt>
                <c:pt idx="2507">
                  <c:v>93.48</c:v>
                </c:pt>
                <c:pt idx="2508">
                  <c:v>93.13</c:v>
                </c:pt>
                <c:pt idx="2509">
                  <c:v>93.06</c:v>
                </c:pt>
                <c:pt idx="2510">
                  <c:v>90.77</c:v>
                </c:pt>
                <c:pt idx="2511">
                  <c:v>91.26</c:v>
                </c:pt>
                <c:pt idx="2512">
                  <c:v>89.95</c:v>
                </c:pt>
                <c:pt idx="2513">
                  <c:v>92.45</c:v>
                </c:pt>
                <c:pt idx="2514">
                  <c:v>92.78</c:v>
                </c:pt>
                <c:pt idx="2515">
                  <c:v>92.28</c:v>
                </c:pt>
                <c:pt idx="2516">
                  <c:v>93.669999999999987</c:v>
                </c:pt>
                <c:pt idx="2517">
                  <c:v>93.28</c:v>
                </c:pt>
                <c:pt idx="2518">
                  <c:v>92.11</c:v>
                </c:pt>
                <c:pt idx="2519">
                  <c:v>90.84</c:v>
                </c:pt>
                <c:pt idx="2520">
                  <c:v>91.9</c:v>
                </c:pt>
                <c:pt idx="2521">
                  <c:v>92.57</c:v>
                </c:pt>
                <c:pt idx="2522">
                  <c:v>93.33</c:v>
                </c:pt>
                <c:pt idx="2523">
                  <c:v>93.59</c:v>
                </c:pt>
                <c:pt idx="2524">
                  <c:v>94.39</c:v>
                </c:pt>
                <c:pt idx="2525">
                  <c:v>93.16</c:v>
                </c:pt>
                <c:pt idx="2526">
                  <c:v>92.92</c:v>
                </c:pt>
                <c:pt idx="2527">
                  <c:v>93.97</c:v>
                </c:pt>
                <c:pt idx="2528">
                  <c:v>94.5</c:v>
                </c:pt>
                <c:pt idx="2529">
                  <c:v>94.61</c:v>
                </c:pt>
                <c:pt idx="2530">
                  <c:v>94.460000000000008</c:v>
                </c:pt>
                <c:pt idx="2531">
                  <c:v>94.72</c:v>
                </c:pt>
                <c:pt idx="2532">
                  <c:v>95.25</c:v>
                </c:pt>
                <c:pt idx="2533">
                  <c:v>95.42</c:v>
                </c:pt>
                <c:pt idx="2534">
                  <c:v>95.82</c:v>
                </c:pt>
                <c:pt idx="2535">
                  <c:v>96.54</c:v>
                </c:pt>
                <c:pt idx="2536">
                  <c:v>96.440000000000012</c:v>
                </c:pt>
                <c:pt idx="2537">
                  <c:v>96.679999999999993</c:v>
                </c:pt>
                <c:pt idx="2538">
                  <c:v>96.36999999999999</c:v>
                </c:pt>
                <c:pt idx="2539">
                  <c:v>96.89</c:v>
                </c:pt>
                <c:pt idx="2540">
                  <c:v>97.02</c:v>
                </c:pt>
                <c:pt idx="2541">
                  <c:v>96.169999999999987</c:v>
                </c:pt>
                <c:pt idx="2542">
                  <c:v>96.81</c:v>
                </c:pt>
                <c:pt idx="2543">
                  <c:v>97.51</c:v>
                </c:pt>
                <c:pt idx="2544">
                  <c:v>97.179999999999993</c:v>
                </c:pt>
                <c:pt idx="2545">
                  <c:v>97.93</c:v>
                </c:pt>
                <c:pt idx="2546">
                  <c:v>99.53</c:v>
                </c:pt>
                <c:pt idx="2547">
                  <c:v>98.81</c:v>
                </c:pt>
                <c:pt idx="2548">
                  <c:v>97.88</c:v>
                </c:pt>
                <c:pt idx="2549">
                  <c:v>96.52</c:v>
                </c:pt>
                <c:pt idx="2550">
                  <c:v>96.79</c:v>
                </c:pt>
                <c:pt idx="2551">
                  <c:v>97.28</c:v>
                </c:pt>
                <c:pt idx="2552">
                  <c:v>97.02</c:v>
                </c:pt>
                <c:pt idx="2553">
                  <c:v>96.58</c:v>
                </c:pt>
                <c:pt idx="2554">
                  <c:v>96.82</c:v>
                </c:pt>
                <c:pt idx="2555">
                  <c:v>96.86999999999999</c:v>
                </c:pt>
                <c:pt idx="2556">
                  <c:v>97.88</c:v>
                </c:pt>
                <c:pt idx="2557">
                  <c:v>97.57</c:v>
                </c:pt>
                <c:pt idx="2558">
                  <c:v>95.460000000000008</c:v>
                </c:pt>
                <c:pt idx="2559">
                  <c:v>93.86</c:v>
                </c:pt>
                <c:pt idx="2560">
                  <c:v>94.240000000000009</c:v>
                </c:pt>
                <c:pt idx="2561">
                  <c:v>93.95</c:v>
                </c:pt>
                <c:pt idx="2562">
                  <c:v>94.66</c:v>
                </c:pt>
                <c:pt idx="2563">
                  <c:v>95.05</c:v>
                </c:pt>
                <c:pt idx="2564">
                  <c:v>94.81</c:v>
                </c:pt>
                <c:pt idx="2565">
                  <c:v>95.03</c:v>
                </c:pt>
                <c:pt idx="2566">
                  <c:v>95.179999999999993</c:v>
                </c:pt>
                <c:pt idx="2567">
                  <c:v>96.48</c:v>
                </c:pt>
                <c:pt idx="2568">
                  <c:v>96.89</c:v>
                </c:pt>
                <c:pt idx="2569">
                  <c:v>97.52</c:v>
                </c:pt>
                <c:pt idx="2570">
                  <c:v>97.27</c:v>
                </c:pt>
                <c:pt idx="2571">
                  <c:v>96.52</c:v>
                </c:pt>
                <c:pt idx="2572">
                  <c:v>96.25</c:v>
                </c:pt>
                <c:pt idx="2573">
                  <c:v>94.93</c:v>
                </c:pt>
                <c:pt idx="2574">
                  <c:v>95.79</c:v>
                </c:pt>
                <c:pt idx="2575">
                  <c:v>96.679999999999993</c:v>
                </c:pt>
                <c:pt idx="2576">
                  <c:v>97.2</c:v>
                </c:pt>
                <c:pt idx="2577">
                  <c:v>97.63</c:v>
                </c:pt>
                <c:pt idx="2578">
                  <c:v>97.990000000000009</c:v>
                </c:pt>
                <c:pt idx="2579">
                  <c:v>98.81</c:v>
                </c:pt>
                <c:pt idx="2580">
                  <c:v>98.47</c:v>
                </c:pt>
                <c:pt idx="2581">
                  <c:v>98.23</c:v>
                </c:pt>
                <c:pt idx="2582">
                  <c:v>98.05</c:v>
                </c:pt>
                <c:pt idx="2583">
                  <c:v>98.4</c:v>
                </c:pt>
                <c:pt idx="2584">
                  <c:v>99.08</c:v>
                </c:pt>
                <c:pt idx="2585">
                  <c:v>98.27</c:v>
                </c:pt>
                <c:pt idx="2586">
                  <c:v>98.92</c:v>
                </c:pt>
                <c:pt idx="2587">
                  <c:v>99.76</c:v>
                </c:pt>
                <c:pt idx="2588">
                  <c:v>99.95</c:v>
                </c:pt>
                <c:pt idx="2589">
                  <c:v>99.210000000000008</c:v>
                </c:pt>
                <c:pt idx="2590">
                  <c:v>98.92</c:v>
                </c:pt>
                <c:pt idx="2591">
                  <c:v>99.440000000000012</c:v>
                </c:pt>
                <c:pt idx="2592">
                  <c:v>99.240000000000009</c:v>
                </c:pt>
                <c:pt idx="2593">
                  <c:v>100.24000000000001</c:v>
                </c:pt>
                <c:pt idx="2594">
                  <c:v>100.02</c:v>
                </c:pt>
                <c:pt idx="2595">
                  <c:v>100.59</c:v>
                </c:pt>
                <c:pt idx="2596">
                  <c:v>100.83</c:v>
                </c:pt>
                <c:pt idx="2597">
                  <c:v>100.74000000000001</c:v>
                </c:pt>
                <c:pt idx="2598">
                  <c:v>101.76</c:v>
                </c:pt>
                <c:pt idx="2599">
                  <c:v>102.23</c:v>
                </c:pt>
                <c:pt idx="2600">
                  <c:v>102.22</c:v>
                </c:pt>
                <c:pt idx="2601">
                  <c:v>101.51</c:v>
                </c:pt>
                <c:pt idx="2602">
                  <c:v>102.79</c:v>
                </c:pt>
                <c:pt idx="2603">
                  <c:v>102.89</c:v>
                </c:pt>
                <c:pt idx="2604">
                  <c:v>102.78</c:v>
                </c:pt>
                <c:pt idx="2605">
                  <c:v>103.23</c:v>
                </c:pt>
                <c:pt idx="2606">
                  <c:v>103.61999999999999</c:v>
                </c:pt>
                <c:pt idx="2607">
                  <c:v>102.28</c:v>
                </c:pt>
                <c:pt idx="2608">
                  <c:v>101.41000000000001</c:v>
                </c:pt>
                <c:pt idx="2609">
                  <c:v>102.67999999999999</c:v>
                </c:pt>
                <c:pt idx="2610">
                  <c:v>102.33</c:v>
                </c:pt>
                <c:pt idx="2611">
                  <c:v>101.56</c:v>
                </c:pt>
                <c:pt idx="2612">
                  <c:v>101.92</c:v>
                </c:pt>
                <c:pt idx="2613">
                  <c:v>102.23</c:v>
                </c:pt>
                <c:pt idx="2614">
                  <c:v>98.95</c:v>
                </c:pt>
                <c:pt idx="2615">
                  <c:v>97.77</c:v>
                </c:pt>
                <c:pt idx="2616">
                  <c:v>98.940000000000012</c:v>
                </c:pt>
                <c:pt idx="2617">
                  <c:v>98.710000000000008</c:v>
                </c:pt>
                <c:pt idx="2618">
                  <c:v>99.14</c:v>
                </c:pt>
                <c:pt idx="2619">
                  <c:v>96.4</c:v>
                </c:pt>
                <c:pt idx="2620">
                  <c:v>95.53</c:v>
                </c:pt>
                <c:pt idx="2621">
                  <c:v>93.81</c:v>
                </c:pt>
                <c:pt idx="2622">
                  <c:v>89.910000000000011</c:v>
                </c:pt>
                <c:pt idx="2623">
                  <c:v>95.56</c:v>
                </c:pt>
                <c:pt idx="2624">
                  <c:v>95.4</c:v>
                </c:pt>
                <c:pt idx="2625">
                  <c:v>97.81</c:v>
                </c:pt>
                <c:pt idx="2626">
                  <c:v>98.11999999999999</c:v>
                </c:pt>
                <c:pt idx="2627">
                  <c:v>95.22</c:v>
                </c:pt>
                <c:pt idx="2628">
                  <c:v>95.14</c:v>
                </c:pt>
                <c:pt idx="2629">
                  <c:v>96.07</c:v>
                </c:pt>
                <c:pt idx="2630">
                  <c:v>93.11999999999999</c:v>
                </c:pt>
                <c:pt idx="2631">
                  <c:v>91.04</c:v>
                </c:pt>
                <c:pt idx="2632">
                  <c:v>90.55</c:v>
                </c:pt>
                <c:pt idx="2633">
                  <c:v>90.92</c:v>
                </c:pt>
                <c:pt idx="2634">
                  <c:v>88.86999999999999</c:v>
                </c:pt>
                <c:pt idx="2635">
                  <c:v>90.69</c:v>
                </c:pt>
                <c:pt idx="2636">
                  <c:v>93.36999999999999</c:v>
                </c:pt>
                <c:pt idx="2637">
                  <c:v>93.490000000000009</c:v>
                </c:pt>
                <c:pt idx="2638">
                  <c:v>93.61999999999999</c:v>
                </c:pt>
                <c:pt idx="2639">
                  <c:v>94.42</c:v>
                </c:pt>
                <c:pt idx="2640">
                  <c:v>94.48</c:v>
                </c:pt>
                <c:pt idx="2641">
                  <c:v>95.69</c:v>
                </c:pt>
                <c:pt idx="2642">
                  <c:v>94.27</c:v>
                </c:pt>
                <c:pt idx="2643">
                  <c:v>93.649999999999991</c:v>
                </c:pt>
                <c:pt idx="2644">
                  <c:v>92.58</c:v>
                </c:pt>
                <c:pt idx="2645">
                  <c:v>93.960000000000008</c:v>
                </c:pt>
                <c:pt idx="2646">
                  <c:v>95.28</c:v>
                </c:pt>
                <c:pt idx="2647">
                  <c:v>95.460000000000008</c:v>
                </c:pt>
                <c:pt idx="2648">
                  <c:v>96.59</c:v>
                </c:pt>
                <c:pt idx="2649">
                  <c:v>97.45</c:v>
                </c:pt>
                <c:pt idx="2650">
                  <c:v>97.36999999999999</c:v>
                </c:pt>
                <c:pt idx="2651">
                  <c:v>97.179999999999993</c:v>
                </c:pt>
                <c:pt idx="2652">
                  <c:v>97.5</c:v>
                </c:pt>
                <c:pt idx="2653">
                  <c:v>98</c:v>
                </c:pt>
                <c:pt idx="2654">
                  <c:v>97.86</c:v>
                </c:pt>
                <c:pt idx="2655">
                  <c:v>96.88</c:v>
                </c:pt>
                <c:pt idx="2656">
                  <c:v>95.19</c:v>
                </c:pt>
                <c:pt idx="2657">
                  <c:v>94.08</c:v>
                </c:pt>
                <c:pt idx="2658">
                  <c:v>94.960000000000008</c:v>
                </c:pt>
                <c:pt idx="2659">
                  <c:v>92.59</c:v>
                </c:pt>
                <c:pt idx="2660">
                  <c:v>91.07</c:v>
                </c:pt>
                <c:pt idx="2661">
                  <c:v>88.73</c:v>
                </c:pt>
                <c:pt idx="2662">
                  <c:v>89.07</c:v>
                </c:pt>
                <c:pt idx="2663">
                  <c:v>89.35</c:v>
                </c:pt>
                <c:pt idx="2664">
                  <c:v>91.33</c:v>
                </c:pt>
                <c:pt idx="2665">
                  <c:v>92.460000000000008</c:v>
                </c:pt>
                <c:pt idx="2666">
                  <c:v>93.16</c:v>
                </c:pt>
                <c:pt idx="2667">
                  <c:v>93.490000000000009</c:v>
                </c:pt>
                <c:pt idx="2668">
                  <c:v>93.61</c:v>
                </c:pt>
                <c:pt idx="2669">
                  <c:v>95.22</c:v>
                </c:pt>
                <c:pt idx="2670">
                  <c:v>94.89</c:v>
                </c:pt>
                <c:pt idx="2671">
                  <c:v>94.210000000000008</c:v>
                </c:pt>
                <c:pt idx="2672">
                  <c:v>92.940000000000012</c:v>
                </c:pt>
                <c:pt idx="2673">
                  <c:v>92.3</c:v>
                </c:pt>
                <c:pt idx="2674">
                  <c:v>92.33</c:v>
                </c:pt>
                <c:pt idx="2675">
                  <c:v>93.440000000000012</c:v>
                </c:pt>
                <c:pt idx="2676">
                  <c:v>94.93</c:v>
                </c:pt>
                <c:pt idx="2677">
                  <c:v>95.86999999999999</c:v>
                </c:pt>
                <c:pt idx="2678">
                  <c:v>96.29</c:v>
                </c:pt>
                <c:pt idx="2679">
                  <c:v>96.52</c:v>
                </c:pt>
                <c:pt idx="2680">
                  <c:v>96.26</c:v>
                </c:pt>
                <c:pt idx="2681">
                  <c:v>96.33</c:v>
                </c:pt>
                <c:pt idx="2682">
                  <c:v>95.490000000000009</c:v>
                </c:pt>
                <c:pt idx="2683">
                  <c:v>97.86</c:v>
                </c:pt>
                <c:pt idx="2684">
                  <c:v>98.39</c:v>
                </c:pt>
                <c:pt idx="2685">
                  <c:v>98.649999999999991</c:v>
                </c:pt>
                <c:pt idx="2686">
                  <c:v>98.08</c:v>
                </c:pt>
                <c:pt idx="2687">
                  <c:v>96.83</c:v>
                </c:pt>
                <c:pt idx="2688">
                  <c:v>98.08</c:v>
                </c:pt>
                <c:pt idx="2689">
                  <c:v>96.98</c:v>
                </c:pt>
                <c:pt idx="2690">
                  <c:v>95.23</c:v>
                </c:pt>
                <c:pt idx="2691">
                  <c:v>94.910000000000011</c:v>
                </c:pt>
                <c:pt idx="2692">
                  <c:v>95.38</c:v>
                </c:pt>
                <c:pt idx="2693">
                  <c:v>95.35</c:v>
                </c:pt>
                <c:pt idx="2694">
                  <c:v>96.440000000000012</c:v>
                </c:pt>
                <c:pt idx="2695">
                  <c:v>96.09</c:v>
                </c:pt>
                <c:pt idx="2696">
                  <c:v>94.81</c:v>
                </c:pt>
                <c:pt idx="2697">
                  <c:v>94.04</c:v>
                </c:pt>
                <c:pt idx="2698">
                  <c:v>94.77</c:v>
                </c:pt>
                <c:pt idx="2699">
                  <c:v>93.2</c:v>
                </c:pt>
                <c:pt idx="2700">
                  <c:v>92.69</c:v>
                </c:pt>
                <c:pt idx="2701">
                  <c:v>92.98</c:v>
                </c:pt>
                <c:pt idx="2702">
                  <c:v>93.669999999999987</c:v>
                </c:pt>
                <c:pt idx="2703">
                  <c:v>93.76</c:v>
                </c:pt>
                <c:pt idx="2704">
                  <c:v>93.34</c:v>
                </c:pt>
                <c:pt idx="2705">
                  <c:v>95.86</c:v>
                </c:pt>
                <c:pt idx="2706">
                  <c:v>96.31</c:v>
                </c:pt>
                <c:pt idx="2707">
                  <c:v>96.92</c:v>
                </c:pt>
                <c:pt idx="2708">
                  <c:v>97.48</c:v>
                </c:pt>
                <c:pt idx="2709">
                  <c:v>96.64</c:v>
                </c:pt>
                <c:pt idx="2710">
                  <c:v>97.910000000000011</c:v>
                </c:pt>
                <c:pt idx="2711">
                  <c:v>98.649999999999991</c:v>
                </c:pt>
                <c:pt idx="2712">
                  <c:v>98.51</c:v>
                </c:pt>
                <c:pt idx="2713">
                  <c:v>98.78</c:v>
                </c:pt>
                <c:pt idx="2714">
                  <c:v>98.460000000000008</c:v>
                </c:pt>
                <c:pt idx="2715">
                  <c:v>98.56</c:v>
                </c:pt>
                <c:pt idx="2716">
                  <c:v>97.8</c:v>
                </c:pt>
                <c:pt idx="2717">
                  <c:v>97.03</c:v>
                </c:pt>
                <c:pt idx="2718">
                  <c:v>97.81</c:v>
                </c:pt>
                <c:pt idx="2719">
                  <c:v>97.47</c:v>
                </c:pt>
                <c:pt idx="2720">
                  <c:v>95.740000000000009</c:v>
                </c:pt>
                <c:pt idx="2721">
                  <c:v>96.13</c:v>
                </c:pt>
                <c:pt idx="2722">
                  <c:v>96.76</c:v>
                </c:pt>
                <c:pt idx="2723">
                  <c:v>96.58</c:v>
                </c:pt>
                <c:pt idx="2724">
                  <c:v>95.960000000000008</c:v>
                </c:pt>
                <c:pt idx="2725">
                  <c:v>95.490000000000009</c:v>
                </c:pt>
                <c:pt idx="2726">
                  <c:v>95.16</c:v>
                </c:pt>
                <c:pt idx="2727">
                  <c:v>94.88</c:v>
                </c:pt>
                <c:pt idx="2728">
                  <c:v>94.910000000000011</c:v>
                </c:pt>
                <c:pt idx="2729">
                  <c:v>95.95</c:v>
                </c:pt>
                <c:pt idx="2730">
                  <c:v>96.43</c:v>
                </c:pt>
                <c:pt idx="2731">
                  <c:v>96.92</c:v>
                </c:pt>
                <c:pt idx="2732">
                  <c:v>96.83</c:v>
                </c:pt>
                <c:pt idx="2733">
                  <c:v>97.45</c:v>
                </c:pt>
                <c:pt idx="2734">
                  <c:v>96.710000000000008</c:v>
                </c:pt>
                <c:pt idx="2735">
                  <c:v>97.960000000000008</c:v>
                </c:pt>
                <c:pt idx="2736">
                  <c:v>97.960000000000008</c:v>
                </c:pt>
                <c:pt idx="2737">
                  <c:v>98.08</c:v>
                </c:pt>
                <c:pt idx="2738">
                  <c:v>98.26</c:v>
                </c:pt>
                <c:pt idx="2739">
                  <c:v>97.86999999999999</c:v>
                </c:pt>
                <c:pt idx="2740">
                  <c:v>97.69</c:v>
                </c:pt>
                <c:pt idx="2741">
                  <c:v>98.01</c:v>
                </c:pt>
                <c:pt idx="2742">
                  <c:v>98.08</c:v>
                </c:pt>
                <c:pt idx="2743">
                  <c:v>98.61999999999999</c:v>
                </c:pt>
                <c:pt idx="2744">
                  <c:v>99.11</c:v>
                </c:pt>
                <c:pt idx="2745">
                  <c:v>98.149999999999991</c:v>
                </c:pt>
                <c:pt idx="2746">
                  <c:v>99.2</c:v>
                </c:pt>
                <c:pt idx="2747">
                  <c:v>100.1</c:v>
                </c:pt>
                <c:pt idx="2748">
                  <c:v>100.11</c:v>
                </c:pt>
                <c:pt idx="2749">
                  <c:v>100.3</c:v>
                </c:pt>
                <c:pt idx="2750">
                  <c:v>99.649999999999991</c:v>
                </c:pt>
                <c:pt idx="2751">
                  <c:v>100.78</c:v>
                </c:pt>
                <c:pt idx="2752">
                  <c:v>100.98</c:v>
                </c:pt>
                <c:pt idx="2753">
                  <c:v>100.67999999999999</c:v>
                </c:pt>
                <c:pt idx="2754">
                  <c:v>101.69</c:v>
                </c:pt>
                <c:pt idx="2755">
                  <c:v>100.95</c:v>
                </c:pt>
                <c:pt idx="2756">
                  <c:v>100.61</c:v>
                </c:pt>
                <c:pt idx="2757">
                  <c:v>100.06</c:v>
                </c:pt>
                <c:pt idx="2758">
                  <c:v>101.14</c:v>
                </c:pt>
                <c:pt idx="2759">
                  <c:v>98.960000000000008</c:v>
                </c:pt>
                <c:pt idx="2760">
                  <c:v>99.31</c:v>
                </c:pt>
                <c:pt idx="2761">
                  <c:v>100.21000000000001</c:v>
                </c:pt>
                <c:pt idx="2762">
                  <c:v>99.7</c:v>
                </c:pt>
                <c:pt idx="2763">
                  <c:v>98.54</c:v>
                </c:pt>
                <c:pt idx="2764">
                  <c:v>97.440000000000012</c:v>
                </c:pt>
                <c:pt idx="2765">
                  <c:v>97.58</c:v>
                </c:pt>
                <c:pt idx="2766">
                  <c:v>97.76</c:v>
                </c:pt>
                <c:pt idx="2767">
                  <c:v>97.410000000000011</c:v>
                </c:pt>
                <c:pt idx="2768">
                  <c:v>95.84</c:v>
                </c:pt>
                <c:pt idx="2769">
                  <c:v>95.679999999999993</c:v>
                </c:pt>
                <c:pt idx="2770">
                  <c:v>96.98</c:v>
                </c:pt>
                <c:pt idx="2771">
                  <c:v>98.11</c:v>
                </c:pt>
                <c:pt idx="2772">
                  <c:v>97.88</c:v>
                </c:pt>
                <c:pt idx="2773">
                  <c:v>98.33</c:v>
                </c:pt>
                <c:pt idx="2774">
                  <c:v>99.03</c:v>
                </c:pt>
                <c:pt idx="2775">
                  <c:v>99.54</c:v>
                </c:pt>
                <c:pt idx="2776">
                  <c:v>100.14</c:v>
                </c:pt>
                <c:pt idx="2777">
                  <c:v>100.11999999999999</c:v>
                </c:pt>
                <c:pt idx="2778">
                  <c:v>100.26</c:v>
                </c:pt>
                <c:pt idx="2779">
                  <c:v>100.33</c:v>
                </c:pt>
                <c:pt idx="2780">
                  <c:v>99.35</c:v>
                </c:pt>
                <c:pt idx="2781">
                  <c:v>99.53</c:v>
                </c:pt>
                <c:pt idx="2782">
                  <c:v>98.710000000000008</c:v>
                </c:pt>
                <c:pt idx="2783">
                  <c:v>99.740000000000009</c:v>
                </c:pt>
                <c:pt idx="2784">
                  <c:v>100.49000000000001</c:v>
                </c:pt>
                <c:pt idx="2785">
                  <c:v>100.53</c:v>
                </c:pt>
                <c:pt idx="2786">
                  <c:v>100.9</c:v>
                </c:pt>
                <c:pt idx="2787">
                  <c:v>100.82</c:v>
                </c:pt>
                <c:pt idx="2788">
                  <c:v>100.01</c:v>
                </c:pt>
                <c:pt idx="2789">
                  <c:v>100.2</c:v>
                </c:pt>
                <c:pt idx="2790">
                  <c:v>100.5</c:v>
                </c:pt>
                <c:pt idx="2791">
                  <c:v>99.08</c:v>
                </c:pt>
                <c:pt idx="2792">
                  <c:v>98.82</c:v>
                </c:pt>
                <c:pt idx="2793">
                  <c:v>98.59</c:v>
                </c:pt>
                <c:pt idx="2794">
                  <c:v>99.55</c:v>
                </c:pt>
                <c:pt idx="2795">
                  <c:v>99.649999999999991</c:v>
                </c:pt>
                <c:pt idx="2796">
                  <c:v>100.27</c:v>
                </c:pt>
                <c:pt idx="2797">
                  <c:v>99.84</c:v>
                </c:pt>
                <c:pt idx="2798">
                  <c:v>99.22</c:v>
                </c:pt>
                <c:pt idx="2799">
                  <c:v>100.43</c:v>
                </c:pt>
                <c:pt idx="2800">
                  <c:v>101.63</c:v>
                </c:pt>
                <c:pt idx="2801">
                  <c:v>100.64999999999999</c:v>
                </c:pt>
                <c:pt idx="2802">
                  <c:v>100.6</c:v>
                </c:pt>
                <c:pt idx="2803">
                  <c:v>101.35</c:v>
                </c:pt>
                <c:pt idx="2804">
                  <c:v>102.09</c:v>
                </c:pt>
                <c:pt idx="2805">
                  <c:v>100.78</c:v>
                </c:pt>
                <c:pt idx="2806">
                  <c:v>99.61999999999999</c:v>
                </c:pt>
                <c:pt idx="2807">
                  <c:v>100.19</c:v>
                </c:pt>
                <c:pt idx="2808">
                  <c:v>100.55</c:v>
                </c:pt>
                <c:pt idx="2809">
                  <c:v>99.84</c:v>
                </c:pt>
                <c:pt idx="2810">
                  <c:v>100.61</c:v>
                </c:pt>
                <c:pt idx="2811">
                  <c:v>100.8</c:v>
                </c:pt>
                <c:pt idx="2812">
                  <c:v>100.01</c:v>
                </c:pt>
                <c:pt idx="2813">
                  <c:v>99.84</c:v>
                </c:pt>
                <c:pt idx="2814">
                  <c:v>100.85</c:v>
                </c:pt>
                <c:pt idx="2815">
                  <c:v>101.16999999999999</c:v>
                </c:pt>
                <c:pt idx="2816">
                  <c:v>101.4</c:v>
                </c:pt>
                <c:pt idx="2817">
                  <c:v>101.79</c:v>
                </c:pt>
                <c:pt idx="2818">
                  <c:v>103.07</c:v>
                </c:pt>
                <c:pt idx="2819">
                  <c:v>102.66999999999999</c:v>
                </c:pt>
                <c:pt idx="2820">
                  <c:v>101.92</c:v>
                </c:pt>
                <c:pt idx="2821">
                  <c:v>101.57</c:v>
                </c:pt>
                <c:pt idx="2822">
                  <c:v>102.23</c:v>
                </c:pt>
                <c:pt idx="2823">
                  <c:v>102.76</c:v>
                </c:pt>
                <c:pt idx="2824">
                  <c:v>102.63</c:v>
                </c:pt>
                <c:pt idx="2825">
                  <c:v>103.06</c:v>
                </c:pt>
                <c:pt idx="2826">
                  <c:v>103.39</c:v>
                </c:pt>
                <c:pt idx="2827">
                  <c:v>103.89</c:v>
                </c:pt>
                <c:pt idx="2828">
                  <c:v>102.51</c:v>
                </c:pt>
                <c:pt idx="2829">
                  <c:v>101.72</c:v>
                </c:pt>
                <c:pt idx="2830">
                  <c:v>100.53</c:v>
                </c:pt>
                <c:pt idx="2831">
                  <c:v>99.88</c:v>
                </c:pt>
                <c:pt idx="2832">
                  <c:v>101.26</c:v>
                </c:pt>
                <c:pt idx="2833">
                  <c:v>102.09</c:v>
                </c:pt>
                <c:pt idx="2834">
                  <c:v>101.56</c:v>
                </c:pt>
                <c:pt idx="2835">
                  <c:v>100.55</c:v>
                </c:pt>
                <c:pt idx="2836">
                  <c:v>100.64</c:v>
                </c:pt>
                <c:pt idx="2837">
                  <c:v>100.09</c:v>
                </c:pt>
                <c:pt idx="2838">
                  <c:v>99.73</c:v>
                </c:pt>
                <c:pt idx="2839">
                  <c:v>100.14999999999999</c:v>
                </c:pt>
                <c:pt idx="2840">
                  <c:v>100.31</c:v>
                </c:pt>
                <c:pt idx="2841">
                  <c:v>98.75</c:v>
                </c:pt>
                <c:pt idx="2842">
                  <c:v>97.79</c:v>
                </c:pt>
                <c:pt idx="2843">
                  <c:v>96.75</c:v>
                </c:pt>
                <c:pt idx="2844">
                  <c:v>94.88</c:v>
                </c:pt>
                <c:pt idx="2845">
                  <c:v>93.5</c:v>
                </c:pt>
                <c:pt idx="2846">
                  <c:v>95.01</c:v>
                </c:pt>
                <c:pt idx="2847">
                  <c:v>95.22</c:v>
                </c:pt>
                <c:pt idx="2848">
                  <c:v>96.95</c:v>
                </c:pt>
                <c:pt idx="2849">
                  <c:v>96.56</c:v>
                </c:pt>
                <c:pt idx="2850">
                  <c:v>96.92</c:v>
                </c:pt>
                <c:pt idx="2851">
                  <c:v>96.75</c:v>
                </c:pt>
                <c:pt idx="2852">
                  <c:v>96.78</c:v>
                </c:pt>
                <c:pt idx="2853">
                  <c:v>96.83</c:v>
                </c:pt>
                <c:pt idx="2854">
                  <c:v>96.61</c:v>
                </c:pt>
                <c:pt idx="2855">
                  <c:v>97.05</c:v>
                </c:pt>
                <c:pt idx="2856">
                  <c:v>96.53</c:v>
                </c:pt>
                <c:pt idx="2857">
                  <c:v>97.61</c:v>
                </c:pt>
                <c:pt idx="2858">
                  <c:v>97.43</c:v>
                </c:pt>
                <c:pt idx="2859">
                  <c:v>97.47</c:v>
                </c:pt>
                <c:pt idx="2860">
                  <c:v>97.52</c:v>
                </c:pt>
                <c:pt idx="2861">
                  <c:v>97.16</c:v>
                </c:pt>
                <c:pt idx="2862">
                  <c:v>97.36999999999999</c:v>
                </c:pt>
                <c:pt idx="2863">
                  <c:v>97.31</c:v>
                </c:pt>
                <c:pt idx="2864">
                  <c:v>96.29</c:v>
                </c:pt>
                <c:pt idx="2865">
                  <c:v>97.08</c:v>
                </c:pt>
                <c:pt idx="2866">
                  <c:v>96.35</c:v>
                </c:pt>
                <c:pt idx="2867">
                  <c:v>96.5</c:v>
                </c:pt>
                <c:pt idx="2868">
                  <c:v>95.25</c:v>
                </c:pt>
                <c:pt idx="2869">
                  <c:v>95.05</c:v>
                </c:pt>
                <c:pt idx="2870">
                  <c:v>95.990000000000009</c:v>
                </c:pt>
                <c:pt idx="2871">
                  <c:v>95.66</c:v>
                </c:pt>
                <c:pt idx="2872">
                  <c:v>95.89</c:v>
                </c:pt>
                <c:pt idx="2873">
                  <c:v>95.84</c:v>
                </c:pt>
                <c:pt idx="2874">
                  <c:v>96.740000000000009</c:v>
                </c:pt>
                <c:pt idx="2875">
                  <c:v>96.910000000000011</c:v>
                </c:pt>
                <c:pt idx="2876">
                  <c:v>96.95</c:v>
                </c:pt>
                <c:pt idx="2877">
                  <c:v>96.45</c:v>
                </c:pt>
                <c:pt idx="2878">
                  <c:v>95.92</c:v>
                </c:pt>
                <c:pt idx="2879">
                  <c:v>95.710000000000008</c:v>
                </c:pt>
                <c:pt idx="2880">
                  <c:v>96.27</c:v>
                </c:pt>
                <c:pt idx="2881">
                  <c:v>96.08</c:v>
                </c:pt>
                <c:pt idx="2882">
                  <c:v>96.09</c:v>
                </c:pt>
                <c:pt idx="2883">
                  <c:v>96.490000000000009</c:v>
                </c:pt>
                <c:pt idx="2884">
                  <c:v>95.82</c:v>
                </c:pt>
                <c:pt idx="2885">
                  <c:v>95.09</c:v>
                </c:pt>
                <c:pt idx="2886">
                  <c:v>94.56</c:v>
                </c:pt>
                <c:pt idx="2887">
                  <c:v>93.73</c:v>
                </c:pt>
                <c:pt idx="2888">
                  <c:v>93.64</c:v>
                </c:pt>
                <c:pt idx="2889">
                  <c:v>94</c:v>
                </c:pt>
                <c:pt idx="2890">
                  <c:v>93.95</c:v>
                </c:pt>
                <c:pt idx="2891">
                  <c:v>92.36999999999999</c:v>
                </c:pt>
                <c:pt idx="2892">
                  <c:v>92.34</c:v>
                </c:pt>
                <c:pt idx="2893">
                  <c:v>92.03</c:v>
                </c:pt>
                <c:pt idx="2894">
                  <c:v>92</c:v>
                </c:pt>
                <c:pt idx="2895">
                  <c:v>92.27</c:v>
                </c:pt>
                <c:pt idx="2896">
                  <c:v>92.08</c:v>
                </c:pt>
                <c:pt idx="2897">
                  <c:v>92.55</c:v>
                </c:pt>
                <c:pt idx="2898">
                  <c:v>91.82</c:v>
                </c:pt>
                <c:pt idx="2899">
                  <c:v>90.95</c:v>
                </c:pt>
                <c:pt idx="2900">
                  <c:v>90.649999999999991</c:v>
                </c:pt>
                <c:pt idx="2901">
                  <c:v>90.07</c:v>
                </c:pt>
                <c:pt idx="2902">
                  <c:v>90.149999999999991</c:v>
                </c:pt>
                <c:pt idx="2903">
                  <c:v>89.23</c:v>
                </c:pt>
                <c:pt idx="2904">
                  <c:v>89.460000000000008</c:v>
                </c:pt>
                <c:pt idx="2905">
                  <c:v>88.5</c:v>
                </c:pt>
                <c:pt idx="2906">
                  <c:v>88.63</c:v>
                </c:pt>
                <c:pt idx="2907">
                  <c:v>89.26</c:v>
                </c:pt>
                <c:pt idx="2908">
                  <c:v>88.22</c:v>
                </c:pt>
                <c:pt idx="2909">
                  <c:v>87.7</c:v>
                </c:pt>
                <c:pt idx="2910">
                  <c:v>87.86999999999999</c:v>
                </c:pt>
                <c:pt idx="2911">
                  <c:v>86.490000000000009</c:v>
                </c:pt>
                <c:pt idx="2912">
                  <c:v>87.3</c:v>
                </c:pt>
                <c:pt idx="2913">
                  <c:v>87</c:v>
                </c:pt>
                <c:pt idx="2914">
                  <c:v>86.11999999999999</c:v>
                </c:pt>
                <c:pt idx="2915">
                  <c:v>85.9</c:v>
                </c:pt>
                <c:pt idx="2916">
                  <c:v>86.11999999999999</c:v>
                </c:pt>
                <c:pt idx="2917">
                  <c:v>86.42</c:v>
                </c:pt>
                <c:pt idx="2918">
                  <c:v>88</c:v>
                </c:pt>
                <c:pt idx="2919">
                  <c:v>89.13</c:v>
                </c:pt>
                <c:pt idx="2920">
                  <c:v>89.86999999999999</c:v>
                </c:pt>
                <c:pt idx="2921">
                  <c:v>89.84</c:v>
                </c:pt>
                <c:pt idx="2922">
                  <c:v>89.9</c:v>
                </c:pt>
                <c:pt idx="2923">
                  <c:v>89.55</c:v>
                </c:pt>
                <c:pt idx="2924">
                  <c:v>89.9</c:v>
                </c:pt>
                <c:pt idx="2925">
                  <c:v>89.66</c:v>
                </c:pt>
                <c:pt idx="2926">
                  <c:v>88.23</c:v>
                </c:pt>
                <c:pt idx="2927">
                  <c:v>87.78</c:v>
                </c:pt>
                <c:pt idx="2928">
                  <c:v>88.169999999999987</c:v>
                </c:pt>
                <c:pt idx="2929">
                  <c:v>87.42</c:v>
                </c:pt>
                <c:pt idx="2930">
                  <c:v>87.52</c:v>
                </c:pt>
                <c:pt idx="2931">
                  <c:v>85.98</c:v>
                </c:pt>
                <c:pt idx="2932">
                  <c:v>86.83</c:v>
                </c:pt>
                <c:pt idx="2933">
                  <c:v>88.02</c:v>
                </c:pt>
                <c:pt idx="2934">
                  <c:v>88.73</c:v>
                </c:pt>
                <c:pt idx="2935">
                  <c:v>89.43</c:v>
                </c:pt>
                <c:pt idx="2936">
                  <c:v>89.07</c:v>
                </c:pt>
                <c:pt idx="2937">
                  <c:v>88.61999999999999</c:v>
                </c:pt>
                <c:pt idx="2938">
                  <c:v>87.35</c:v>
                </c:pt>
                <c:pt idx="2939">
                  <c:v>87.440000000000012</c:v>
                </c:pt>
                <c:pt idx="2940">
                  <c:v>87.210000000000008</c:v>
                </c:pt>
                <c:pt idx="2941">
                  <c:v>86.03</c:v>
                </c:pt>
                <c:pt idx="2942">
                  <c:v>84.710000000000008</c:v>
                </c:pt>
                <c:pt idx="2943">
                  <c:v>83.97</c:v>
                </c:pt>
                <c:pt idx="2944">
                  <c:v>81.39</c:v>
                </c:pt>
                <c:pt idx="2945">
                  <c:v>79.61999999999999</c:v>
                </c:pt>
                <c:pt idx="2946">
                  <c:v>76.75</c:v>
                </c:pt>
                <c:pt idx="2947">
                  <c:v>76.940000000000012</c:v>
                </c:pt>
                <c:pt idx="2948">
                  <c:v>75.349999999999994</c:v>
                </c:pt>
                <c:pt idx="2949">
                  <c:v>77.23</c:v>
                </c:pt>
                <c:pt idx="2950">
                  <c:v>80.290000000000006</c:v>
                </c:pt>
                <c:pt idx="2951">
                  <c:v>80.319999999999993</c:v>
                </c:pt>
                <c:pt idx="2952">
                  <c:v>79.39</c:v>
                </c:pt>
                <c:pt idx="2953">
                  <c:v>79.59</c:v>
                </c:pt>
                <c:pt idx="2954">
                  <c:v>76.239999999999995</c:v>
                </c:pt>
                <c:pt idx="2955">
                  <c:v>75.75</c:v>
                </c:pt>
                <c:pt idx="2956">
                  <c:v>76.81</c:v>
                </c:pt>
                <c:pt idx="2957">
                  <c:v>76.959999999999994</c:v>
                </c:pt>
                <c:pt idx="2958">
                  <c:v>78.440000000000012</c:v>
                </c:pt>
                <c:pt idx="2959">
                  <c:v>77.66</c:v>
                </c:pt>
                <c:pt idx="2960">
                  <c:v>77.03</c:v>
                </c:pt>
                <c:pt idx="2961">
                  <c:v>77.940000000000012</c:v>
                </c:pt>
                <c:pt idx="2962">
                  <c:v>78.89</c:v>
                </c:pt>
                <c:pt idx="2963">
                  <c:v>80.95</c:v>
                </c:pt>
                <c:pt idx="2964">
                  <c:v>81.39</c:v>
                </c:pt>
                <c:pt idx="2965">
                  <c:v>80.14</c:v>
                </c:pt>
                <c:pt idx="2966">
                  <c:v>77.59</c:v>
                </c:pt>
                <c:pt idx="2967">
                  <c:v>76.83</c:v>
                </c:pt>
                <c:pt idx="2968">
                  <c:v>78.98</c:v>
                </c:pt>
                <c:pt idx="2969">
                  <c:v>79.910000000000011</c:v>
                </c:pt>
                <c:pt idx="2970">
                  <c:v>78.239999999999995</c:v>
                </c:pt>
                <c:pt idx="2971">
                  <c:v>76.56</c:v>
                </c:pt>
                <c:pt idx="2972">
                  <c:v>77.14</c:v>
                </c:pt>
                <c:pt idx="2973">
                  <c:v>78.27</c:v>
                </c:pt>
                <c:pt idx="2974">
                  <c:v>79.36999999999999</c:v>
                </c:pt>
                <c:pt idx="2975">
                  <c:v>79.910000000000011</c:v>
                </c:pt>
                <c:pt idx="2976">
                  <c:v>78.42</c:v>
                </c:pt>
                <c:pt idx="2977">
                  <c:v>79.78</c:v>
                </c:pt>
                <c:pt idx="2978">
                  <c:v>78.83</c:v>
                </c:pt>
                <c:pt idx="2979">
                  <c:v>75.649999999999991</c:v>
                </c:pt>
                <c:pt idx="2980">
                  <c:v>76.06</c:v>
                </c:pt>
                <c:pt idx="2981">
                  <c:v>77.849999999999994</c:v>
                </c:pt>
                <c:pt idx="2982">
                  <c:v>80.61999999999999</c:v>
                </c:pt>
                <c:pt idx="2983">
                  <c:v>80.349999999999994</c:v>
                </c:pt>
                <c:pt idx="2984">
                  <c:v>81.23</c:v>
                </c:pt>
                <c:pt idx="2985">
                  <c:v>80.56</c:v>
                </c:pt>
                <c:pt idx="2986">
                  <c:v>79.669999999999987</c:v>
                </c:pt>
                <c:pt idx="2987">
                  <c:v>78.19</c:v>
                </c:pt>
                <c:pt idx="2988">
                  <c:v>79.47</c:v>
                </c:pt>
                <c:pt idx="2989">
                  <c:v>81.08</c:v>
                </c:pt>
                <c:pt idx="2990">
                  <c:v>81.66</c:v>
                </c:pt>
                <c:pt idx="2991">
                  <c:v>83.26</c:v>
                </c:pt>
                <c:pt idx="2992">
                  <c:v>82.59</c:v>
                </c:pt>
                <c:pt idx="2993">
                  <c:v>84.26</c:v>
                </c:pt>
                <c:pt idx="2994">
                  <c:v>83.36</c:v>
                </c:pt>
                <c:pt idx="2995">
                  <c:v>84.05</c:v>
                </c:pt>
                <c:pt idx="2996">
                  <c:v>82.97</c:v>
                </c:pt>
                <c:pt idx="2997">
                  <c:v>82.13</c:v>
                </c:pt>
                <c:pt idx="2998">
                  <c:v>82.649999999999991</c:v>
                </c:pt>
                <c:pt idx="2999">
                  <c:v>80.72</c:v>
                </c:pt>
                <c:pt idx="3000">
                  <c:v>82.53</c:v>
                </c:pt>
                <c:pt idx="3001">
                  <c:v>83.11999999999999</c:v>
                </c:pt>
                <c:pt idx="3002">
                  <c:v>82.11999999999999</c:v>
                </c:pt>
                <c:pt idx="3003">
                  <c:v>81.95</c:v>
                </c:pt>
                <c:pt idx="3004">
                  <c:v>85.26</c:v>
                </c:pt>
                <c:pt idx="3005">
                  <c:v>84.04</c:v>
                </c:pt>
                <c:pt idx="3006">
                  <c:v>82.05</c:v>
                </c:pt>
                <c:pt idx="3007">
                  <c:v>78.400000000000006</c:v>
                </c:pt>
                <c:pt idx="3008">
                  <c:v>78.940000000000012</c:v>
                </c:pt>
                <c:pt idx="3009">
                  <c:v>80.56</c:v>
                </c:pt>
                <c:pt idx="3010">
                  <c:v>79.03</c:v>
                </c:pt>
                <c:pt idx="3011">
                  <c:v>79.149999999999991</c:v>
                </c:pt>
                <c:pt idx="3012">
                  <c:v>79.16</c:v>
                </c:pt>
                <c:pt idx="3013">
                  <c:v>77.36999999999999</c:v>
                </c:pt>
                <c:pt idx="3014">
                  <c:v>77.09</c:v>
                </c:pt>
                <c:pt idx="3015">
                  <c:v>79.06</c:v>
                </c:pt>
                <c:pt idx="3016">
                  <c:v>77.86999999999999</c:v>
                </c:pt>
                <c:pt idx="3017">
                  <c:v>77.11999999999999</c:v>
                </c:pt>
                <c:pt idx="3018">
                  <c:v>77.14</c:v>
                </c:pt>
                <c:pt idx="3019">
                  <c:v>76.56</c:v>
                </c:pt>
                <c:pt idx="3020">
                  <c:v>76.34</c:v>
                </c:pt>
                <c:pt idx="3021">
                  <c:v>73.599999999999994</c:v>
                </c:pt>
                <c:pt idx="3022">
                  <c:v>72.69</c:v>
                </c:pt>
                <c:pt idx="3023">
                  <c:v>71.319999999999993</c:v>
                </c:pt>
                <c:pt idx="3024">
                  <c:v>70.679999999999993</c:v>
                </c:pt>
                <c:pt idx="3025">
                  <c:v>71.08</c:v>
                </c:pt>
                <c:pt idx="3026">
                  <c:v>74.03</c:v>
                </c:pt>
                <c:pt idx="3027">
                  <c:v>74.540000000000006</c:v>
                </c:pt>
                <c:pt idx="3028">
                  <c:v>77.31</c:v>
                </c:pt>
                <c:pt idx="3029">
                  <c:v>76.410000000000011</c:v>
                </c:pt>
                <c:pt idx="3030">
                  <c:v>77.34</c:v>
                </c:pt>
                <c:pt idx="3031">
                  <c:v>78.69</c:v>
                </c:pt>
                <c:pt idx="3032">
                  <c:v>78.05</c:v>
                </c:pt>
                <c:pt idx="3033">
                  <c:v>77.8</c:v>
                </c:pt>
                <c:pt idx="3034">
                  <c:v>75.97</c:v>
                </c:pt>
                <c:pt idx="3035">
                  <c:v>77.25</c:v>
                </c:pt>
                <c:pt idx="3036">
                  <c:v>75.69</c:v>
                </c:pt>
                <c:pt idx="3037">
                  <c:v>75.48</c:v>
                </c:pt>
                <c:pt idx="3038">
                  <c:v>73.92</c:v>
                </c:pt>
                <c:pt idx="3039">
                  <c:v>74.440000000000012</c:v>
                </c:pt>
                <c:pt idx="3040">
                  <c:v>74.45</c:v>
                </c:pt>
                <c:pt idx="3041">
                  <c:v>74.63</c:v>
                </c:pt>
                <c:pt idx="3042">
                  <c:v>75.86999999999999</c:v>
                </c:pt>
                <c:pt idx="3043">
                  <c:v>75.53</c:v>
                </c:pt>
                <c:pt idx="3044">
                  <c:v>76.08</c:v>
                </c:pt>
                <c:pt idx="3045">
                  <c:v>76.83</c:v>
                </c:pt>
                <c:pt idx="3046">
                  <c:v>76.89</c:v>
                </c:pt>
                <c:pt idx="3047">
                  <c:v>76.260000000000005</c:v>
                </c:pt>
                <c:pt idx="3048">
                  <c:v>76.98</c:v>
                </c:pt>
                <c:pt idx="3049">
                  <c:v>77.56</c:v>
                </c:pt>
                <c:pt idx="3050">
                  <c:v>78.23</c:v>
                </c:pt>
                <c:pt idx="3051">
                  <c:v>79.400000000000006</c:v>
                </c:pt>
                <c:pt idx="3052">
                  <c:v>79.11</c:v>
                </c:pt>
                <c:pt idx="3053">
                  <c:v>78.260000000000005</c:v>
                </c:pt>
                <c:pt idx="3054">
                  <c:v>78.36999999999999</c:v>
                </c:pt>
                <c:pt idx="3055">
                  <c:v>77.95</c:v>
                </c:pt>
                <c:pt idx="3056">
                  <c:v>79.09</c:v>
                </c:pt>
                <c:pt idx="3057">
                  <c:v>78.83</c:v>
                </c:pt>
                <c:pt idx="3058">
                  <c:v>78.739999999999995</c:v>
                </c:pt>
                <c:pt idx="3059">
                  <c:v>78.92</c:v>
                </c:pt>
                <c:pt idx="3060">
                  <c:v>79.36999999999999</c:v>
                </c:pt>
                <c:pt idx="3061">
                  <c:v>79.959999999999994</c:v>
                </c:pt>
                <c:pt idx="3062">
                  <c:v>79.649999999999991</c:v>
                </c:pt>
                <c:pt idx="3063">
                  <c:v>80.489999999999995</c:v>
                </c:pt>
                <c:pt idx="3064">
                  <c:v>80.22</c:v>
                </c:pt>
                <c:pt idx="3065">
                  <c:v>80.16</c:v>
                </c:pt>
                <c:pt idx="3066">
                  <c:v>80.05</c:v>
                </c:pt>
                <c:pt idx="3067">
                  <c:v>79.400000000000006</c:v>
                </c:pt>
                <c:pt idx="3068">
                  <c:v>80.27</c:v>
                </c:pt>
                <c:pt idx="3069">
                  <c:v>79.55</c:v>
                </c:pt>
                <c:pt idx="3070">
                  <c:v>78.540000000000006</c:v>
                </c:pt>
                <c:pt idx="3071">
                  <c:v>79.169999999999987</c:v>
                </c:pt>
                <c:pt idx="3072">
                  <c:v>80.489999999999995</c:v>
                </c:pt>
                <c:pt idx="3073">
                  <c:v>80.61</c:v>
                </c:pt>
                <c:pt idx="3074">
                  <c:v>82.1</c:v>
                </c:pt>
                <c:pt idx="3075">
                  <c:v>81.990000000000009</c:v>
                </c:pt>
                <c:pt idx="3076">
                  <c:v>81.83</c:v>
                </c:pt>
                <c:pt idx="3077">
                  <c:v>81.56</c:v>
                </c:pt>
                <c:pt idx="3078">
                  <c:v>81.669999999999987</c:v>
                </c:pt>
                <c:pt idx="3079">
                  <c:v>81.13</c:v>
                </c:pt>
                <c:pt idx="3080">
                  <c:v>81.61999999999999</c:v>
                </c:pt>
                <c:pt idx="3081">
                  <c:v>81.42</c:v>
                </c:pt>
                <c:pt idx="3082">
                  <c:v>81.75</c:v>
                </c:pt>
                <c:pt idx="3083">
                  <c:v>81.75</c:v>
                </c:pt>
                <c:pt idx="3084">
                  <c:v>82.210000000000008</c:v>
                </c:pt>
                <c:pt idx="3085">
                  <c:v>82.75</c:v>
                </c:pt>
                <c:pt idx="3086">
                  <c:v>82.14</c:v>
                </c:pt>
                <c:pt idx="3087">
                  <c:v>81.510000000000005</c:v>
                </c:pt>
                <c:pt idx="3088">
                  <c:v>81.040000000000006</c:v>
                </c:pt>
                <c:pt idx="3089">
                  <c:v>81.27</c:v>
                </c:pt>
                <c:pt idx="3090">
                  <c:v>81.06</c:v>
                </c:pt>
                <c:pt idx="3091">
                  <c:v>80.92</c:v>
                </c:pt>
                <c:pt idx="3092">
                  <c:v>81.08</c:v>
                </c:pt>
                <c:pt idx="3093">
                  <c:v>81.790000000000006</c:v>
                </c:pt>
                <c:pt idx="3094">
                  <c:v>81.93</c:v>
                </c:pt>
                <c:pt idx="3095">
                  <c:v>81.510000000000005</c:v>
                </c:pt>
                <c:pt idx="3096">
                  <c:v>79.33</c:v>
                </c:pt>
                <c:pt idx="3097">
                  <c:v>79.61</c:v>
                </c:pt>
                <c:pt idx="3098">
                  <c:v>80.5</c:v>
                </c:pt>
                <c:pt idx="3099">
                  <c:v>80.86</c:v>
                </c:pt>
                <c:pt idx="3100">
                  <c:v>80.5</c:v>
                </c:pt>
                <c:pt idx="3101">
                  <c:v>82.04</c:v>
                </c:pt>
                <c:pt idx="3102">
                  <c:v>81.990000000000009</c:v>
                </c:pt>
                <c:pt idx="3103">
                  <c:v>82.460000000000008</c:v>
                </c:pt>
                <c:pt idx="3104">
                  <c:v>82.92</c:v>
                </c:pt>
                <c:pt idx="3105">
                  <c:v>83.25</c:v>
                </c:pt>
                <c:pt idx="3106">
                  <c:v>82.47</c:v>
                </c:pt>
                <c:pt idx="3107">
                  <c:v>81.95</c:v>
                </c:pt>
                <c:pt idx="3108">
                  <c:v>80.95</c:v>
                </c:pt>
                <c:pt idx="3109">
                  <c:v>81.28</c:v>
                </c:pt>
                <c:pt idx="3110">
                  <c:v>82.05</c:v>
                </c:pt>
                <c:pt idx="3111">
                  <c:v>81.83</c:v>
                </c:pt>
                <c:pt idx="3112">
                  <c:v>80.86</c:v>
                </c:pt>
                <c:pt idx="3113">
                  <c:v>79.36</c:v>
                </c:pt>
                <c:pt idx="3114">
                  <c:v>80.3</c:v>
                </c:pt>
                <c:pt idx="3115">
                  <c:v>80.33</c:v>
                </c:pt>
                <c:pt idx="3116">
                  <c:v>79.319999999999993</c:v>
                </c:pt>
                <c:pt idx="3117">
                  <c:v>76.78</c:v>
                </c:pt>
                <c:pt idx="3118">
                  <c:v>76.77</c:v>
                </c:pt>
                <c:pt idx="3119">
                  <c:v>74.459999999999994</c:v>
                </c:pt>
                <c:pt idx="3120">
                  <c:v>74.989999999999995</c:v>
                </c:pt>
                <c:pt idx="3121">
                  <c:v>75.16</c:v>
                </c:pt>
                <c:pt idx="3122">
                  <c:v>73.430000000000007</c:v>
                </c:pt>
                <c:pt idx="3123">
                  <c:v>73.28</c:v>
                </c:pt>
                <c:pt idx="3124">
                  <c:v>75.239999999999995</c:v>
                </c:pt>
                <c:pt idx="3125">
                  <c:v>73.849999999999994</c:v>
                </c:pt>
                <c:pt idx="3126">
                  <c:v>72.790000000000006</c:v>
                </c:pt>
                <c:pt idx="3127">
                  <c:v>73.410000000000011</c:v>
                </c:pt>
                <c:pt idx="3128">
                  <c:v>71.33</c:v>
                </c:pt>
                <c:pt idx="3129">
                  <c:v>72.89</c:v>
                </c:pt>
                <c:pt idx="3130">
                  <c:v>74.430000000000007</c:v>
                </c:pt>
                <c:pt idx="3131">
                  <c:v>74.13</c:v>
                </c:pt>
                <c:pt idx="3132">
                  <c:v>75.040000000000006</c:v>
                </c:pt>
                <c:pt idx="3133">
                  <c:v>74.179999999999993</c:v>
                </c:pt>
                <c:pt idx="3134">
                  <c:v>74.23</c:v>
                </c:pt>
                <c:pt idx="3135">
                  <c:v>73.430000000000007</c:v>
                </c:pt>
                <c:pt idx="3136">
                  <c:v>73.400000000000006</c:v>
                </c:pt>
                <c:pt idx="3137">
                  <c:v>71.81</c:v>
                </c:pt>
                <c:pt idx="3138">
                  <c:v>72.649999999999991</c:v>
                </c:pt>
                <c:pt idx="3139">
                  <c:v>72.02</c:v>
                </c:pt>
                <c:pt idx="3140">
                  <c:v>71.66</c:v>
                </c:pt>
                <c:pt idx="3141">
                  <c:v>72.27</c:v>
                </c:pt>
                <c:pt idx="3142">
                  <c:v>72.16</c:v>
                </c:pt>
                <c:pt idx="3143">
                  <c:v>70.260000000000005</c:v>
                </c:pt>
                <c:pt idx="3144">
                  <c:v>69.55</c:v>
                </c:pt>
                <c:pt idx="3145">
                  <c:v>69.569999999999993</c:v>
                </c:pt>
                <c:pt idx="3146">
                  <c:v>68.81</c:v>
                </c:pt>
                <c:pt idx="3147">
                  <c:v>68.08</c:v>
                </c:pt>
                <c:pt idx="3148">
                  <c:v>68.64</c:v>
                </c:pt>
                <c:pt idx="3149">
                  <c:v>69.930000000000007</c:v>
                </c:pt>
                <c:pt idx="3150">
                  <c:v>67.86999999999999</c:v>
                </c:pt>
                <c:pt idx="3151">
                  <c:v>68.58</c:v>
                </c:pt>
                <c:pt idx="3152">
                  <c:v>68.36</c:v>
                </c:pt>
                <c:pt idx="3153">
                  <c:v>67.930000000000007</c:v>
                </c:pt>
                <c:pt idx="3154">
                  <c:v>68.260000000000005</c:v>
                </c:pt>
                <c:pt idx="3155">
                  <c:v>67.209999999999994</c:v>
                </c:pt>
                <c:pt idx="3156">
                  <c:v>66.77</c:v>
                </c:pt>
                <c:pt idx="3157">
                  <c:v>65.55</c:v>
                </c:pt>
                <c:pt idx="3158">
                  <c:v>65.400000000000006</c:v>
                </c:pt>
                <c:pt idx="3159">
                  <c:v>65.290000000000006</c:v>
                </c:pt>
                <c:pt idx="3160">
                  <c:v>67</c:v>
                </c:pt>
                <c:pt idx="3161">
                  <c:v>67.440000000000012</c:v>
                </c:pt>
                <c:pt idx="3162">
                  <c:v>67.56</c:v>
                </c:pt>
                <c:pt idx="3163">
                  <c:v>67.23</c:v>
                </c:pt>
                <c:pt idx="3164">
                  <c:v>67.319999999999993</c:v>
                </c:pt>
                <c:pt idx="3165">
                  <c:v>66.940000000000012</c:v>
                </c:pt>
                <c:pt idx="3166">
                  <c:v>67.040000000000006</c:v>
                </c:pt>
                <c:pt idx="3167">
                  <c:v>68.25</c:v>
                </c:pt>
                <c:pt idx="3168">
                  <c:v>67.3</c:v>
                </c:pt>
                <c:pt idx="3169">
                  <c:v>68.38</c:v>
                </c:pt>
                <c:pt idx="3170">
                  <c:v>69.319999999999993</c:v>
                </c:pt>
                <c:pt idx="3171">
                  <c:v>69.069999999999993</c:v>
                </c:pt>
              </c:numCache>
            </c:numRef>
          </c:val>
        </c:ser>
        <c:ser>
          <c:idx val="2"/>
          <c:order val="2"/>
          <c:tx>
            <c:strRef>
              <c:f>Histories!$D$1</c:f>
              <c:strCache>
                <c:ptCount val="1"/>
                <c:pt idx="0">
                  <c:v>STXE 600(NR)</c:v>
                </c:pt>
              </c:strCache>
            </c:strRef>
          </c:tx>
          <c:spPr>
            <a:ln>
              <a:solidFill>
                <a:schemeClr val="accent2"/>
              </a:solidFill>
            </a:ln>
          </c:spPr>
          <c:marker>
            <c:symbol val="none"/>
          </c:marker>
          <c:cat>
            <c:numRef>
              <c:f>Histories!$A$3:$A$3174</c:f>
              <c:numCache>
                <c:formatCode>m/d/yyyy</c:formatCode>
                <c:ptCount val="3172"/>
                <c:pt idx="0">
                  <c:v>36605</c:v>
                </c:pt>
                <c:pt idx="1">
                  <c:v>36606</c:v>
                </c:pt>
                <c:pt idx="2">
                  <c:v>36607</c:v>
                </c:pt>
                <c:pt idx="3">
                  <c:v>36608</c:v>
                </c:pt>
                <c:pt idx="4">
                  <c:v>36609</c:v>
                </c:pt>
                <c:pt idx="5">
                  <c:v>36612</c:v>
                </c:pt>
                <c:pt idx="6">
                  <c:v>36613</c:v>
                </c:pt>
                <c:pt idx="7">
                  <c:v>36614</c:v>
                </c:pt>
                <c:pt idx="8">
                  <c:v>36615</c:v>
                </c:pt>
                <c:pt idx="9">
                  <c:v>36616</c:v>
                </c:pt>
                <c:pt idx="10">
                  <c:v>36619</c:v>
                </c:pt>
                <c:pt idx="11">
                  <c:v>36620</c:v>
                </c:pt>
                <c:pt idx="12">
                  <c:v>36621</c:v>
                </c:pt>
                <c:pt idx="13">
                  <c:v>36622</c:v>
                </c:pt>
                <c:pt idx="14">
                  <c:v>36623</c:v>
                </c:pt>
                <c:pt idx="15">
                  <c:v>36626</c:v>
                </c:pt>
                <c:pt idx="16">
                  <c:v>36627</c:v>
                </c:pt>
                <c:pt idx="17">
                  <c:v>36628</c:v>
                </c:pt>
                <c:pt idx="18">
                  <c:v>36629</c:v>
                </c:pt>
                <c:pt idx="19">
                  <c:v>36630</c:v>
                </c:pt>
                <c:pt idx="20">
                  <c:v>36633</c:v>
                </c:pt>
                <c:pt idx="21">
                  <c:v>36634</c:v>
                </c:pt>
                <c:pt idx="22">
                  <c:v>36635</c:v>
                </c:pt>
                <c:pt idx="23">
                  <c:v>36636</c:v>
                </c:pt>
                <c:pt idx="24">
                  <c:v>36637</c:v>
                </c:pt>
                <c:pt idx="25">
                  <c:v>36640</c:v>
                </c:pt>
                <c:pt idx="26">
                  <c:v>36641</c:v>
                </c:pt>
                <c:pt idx="27">
                  <c:v>36642</c:v>
                </c:pt>
                <c:pt idx="28">
                  <c:v>36643</c:v>
                </c:pt>
                <c:pt idx="29">
                  <c:v>36644</c:v>
                </c:pt>
                <c:pt idx="30">
                  <c:v>36647</c:v>
                </c:pt>
                <c:pt idx="31">
                  <c:v>36648</c:v>
                </c:pt>
                <c:pt idx="32">
                  <c:v>36649</c:v>
                </c:pt>
                <c:pt idx="33">
                  <c:v>36650</c:v>
                </c:pt>
                <c:pt idx="34">
                  <c:v>36651</c:v>
                </c:pt>
                <c:pt idx="35">
                  <c:v>36654</c:v>
                </c:pt>
                <c:pt idx="36">
                  <c:v>36655</c:v>
                </c:pt>
                <c:pt idx="37">
                  <c:v>36656</c:v>
                </c:pt>
                <c:pt idx="38">
                  <c:v>36657</c:v>
                </c:pt>
                <c:pt idx="39">
                  <c:v>36658</c:v>
                </c:pt>
                <c:pt idx="40">
                  <c:v>36661</c:v>
                </c:pt>
                <c:pt idx="41">
                  <c:v>36662</c:v>
                </c:pt>
                <c:pt idx="42">
                  <c:v>36663</c:v>
                </c:pt>
                <c:pt idx="43">
                  <c:v>36664</c:v>
                </c:pt>
                <c:pt idx="44">
                  <c:v>36665</c:v>
                </c:pt>
                <c:pt idx="45">
                  <c:v>36668</c:v>
                </c:pt>
                <c:pt idx="46">
                  <c:v>36669</c:v>
                </c:pt>
                <c:pt idx="47">
                  <c:v>36670</c:v>
                </c:pt>
                <c:pt idx="48">
                  <c:v>36671</c:v>
                </c:pt>
                <c:pt idx="49">
                  <c:v>36672</c:v>
                </c:pt>
                <c:pt idx="50">
                  <c:v>36675</c:v>
                </c:pt>
                <c:pt idx="51">
                  <c:v>36676</c:v>
                </c:pt>
                <c:pt idx="52">
                  <c:v>36677</c:v>
                </c:pt>
                <c:pt idx="53">
                  <c:v>36678</c:v>
                </c:pt>
                <c:pt idx="54">
                  <c:v>36679</c:v>
                </c:pt>
                <c:pt idx="55">
                  <c:v>36682</c:v>
                </c:pt>
                <c:pt idx="56">
                  <c:v>36683</c:v>
                </c:pt>
                <c:pt idx="57">
                  <c:v>36684</c:v>
                </c:pt>
                <c:pt idx="58">
                  <c:v>36685</c:v>
                </c:pt>
                <c:pt idx="59">
                  <c:v>36686</c:v>
                </c:pt>
                <c:pt idx="60">
                  <c:v>36689</c:v>
                </c:pt>
                <c:pt idx="61">
                  <c:v>36690</c:v>
                </c:pt>
                <c:pt idx="62">
                  <c:v>36691</c:v>
                </c:pt>
                <c:pt idx="63">
                  <c:v>36692</c:v>
                </c:pt>
                <c:pt idx="64">
                  <c:v>36693</c:v>
                </c:pt>
                <c:pt idx="65">
                  <c:v>36696</c:v>
                </c:pt>
                <c:pt idx="66">
                  <c:v>36697</c:v>
                </c:pt>
                <c:pt idx="67">
                  <c:v>36698</c:v>
                </c:pt>
                <c:pt idx="68">
                  <c:v>36699</c:v>
                </c:pt>
                <c:pt idx="69">
                  <c:v>36700</c:v>
                </c:pt>
                <c:pt idx="70">
                  <c:v>36703</c:v>
                </c:pt>
                <c:pt idx="71">
                  <c:v>36704</c:v>
                </c:pt>
                <c:pt idx="72">
                  <c:v>36705</c:v>
                </c:pt>
                <c:pt idx="73">
                  <c:v>36706</c:v>
                </c:pt>
                <c:pt idx="74">
                  <c:v>36707</c:v>
                </c:pt>
                <c:pt idx="75">
                  <c:v>36710</c:v>
                </c:pt>
                <c:pt idx="76">
                  <c:v>36711</c:v>
                </c:pt>
                <c:pt idx="77">
                  <c:v>36712</c:v>
                </c:pt>
                <c:pt idx="78">
                  <c:v>36713</c:v>
                </c:pt>
                <c:pt idx="79">
                  <c:v>36714</c:v>
                </c:pt>
                <c:pt idx="80">
                  <c:v>36717</c:v>
                </c:pt>
                <c:pt idx="81">
                  <c:v>36718</c:v>
                </c:pt>
                <c:pt idx="82">
                  <c:v>36719</c:v>
                </c:pt>
                <c:pt idx="83">
                  <c:v>36720</c:v>
                </c:pt>
                <c:pt idx="84">
                  <c:v>36721</c:v>
                </c:pt>
                <c:pt idx="85">
                  <c:v>36724</c:v>
                </c:pt>
                <c:pt idx="86">
                  <c:v>36725</c:v>
                </c:pt>
                <c:pt idx="87">
                  <c:v>36726</c:v>
                </c:pt>
                <c:pt idx="88">
                  <c:v>36727</c:v>
                </c:pt>
                <c:pt idx="89">
                  <c:v>36728</c:v>
                </c:pt>
                <c:pt idx="90">
                  <c:v>36731</c:v>
                </c:pt>
                <c:pt idx="91">
                  <c:v>36732</c:v>
                </c:pt>
                <c:pt idx="92">
                  <c:v>36733</c:v>
                </c:pt>
                <c:pt idx="93">
                  <c:v>36734</c:v>
                </c:pt>
                <c:pt idx="94">
                  <c:v>36735</c:v>
                </c:pt>
                <c:pt idx="95">
                  <c:v>36738</c:v>
                </c:pt>
                <c:pt idx="96">
                  <c:v>36739</c:v>
                </c:pt>
                <c:pt idx="97">
                  <c:v>36740</c:v>
                </c:pt>
                <c:pt idx="98">
                  <c:v>36741</c:v>
                </c:pt>
                <c:pt idx="99">
                  <c:v>36742</c:v>
                </c:pt>
                <c:pt idx="100">
                  <c:v>36745</c:v>
                </c:pt>
                <c:pt idx="101">
                  <c:v>36746</c:v>
                </c:pt>
                <c:pt idx="102">
                  <c:v>36747</c:v>
                </c:pt>
                <c:pt idx="103">
                  <c:v>36748</c:v>
                </c:pt>
                <c:pt idx="104">
                  <c:v>36749</c:v>
                </c:pt>
                <c:pt idx="105">
                  <c:v>36752</c:v>
                </c:pt>
                <c:pt idx="106">
                  <c:v>36753</c:v>
                </c:pt>
                <c:pt idx="107">
                  <c:v>36754</c:v>
                </c:pt>
                <c:pt idx="108">
                  <c:v>36755</c:v>
                </c:pt>
                <c:pt idx="109">
                  <c:v>36756</c:v>
                </c:pt>
                <c:pt idx="110">
                  <c:v>36759</c:v>
                </c:pt>
                <c:pt idx="111">
                  <c:v>36760</c:v>
                </c:pt>
                <c:pt idx="112">
                  <c:v>36761</c:v>
                </c:pt>
                <c:pt idx="113">
                  <c:v>36762</c:v>
                </c:pt>
                <c:pt idx="114">
                  <c:v>36763</c:v>
                </c:pt>
                <c:pt idx="115">
                  <c:v>36766</c:v>
                </c:pt>
                <c:pt idx="116">
                  <c:v>36767</c:v>
                </c:pt>
                <c:pt idx="117">
                  <c:v>36768</c:v>
                </c:pt>
                <c:pt idx="118">
                  <c:v>36769</c:v>
                </c:pt>
                <c:pt idx="119">
                  <c:v>36770</c:v>
                </c:pt>
                <c:pt idx="120">
                  <c:v>36773</c:v>
                </c:pt>
                <c:pt idx="121">
                  <c:v>36774</c:v>
                </c:pt>
                <c:pt idx="122">
                  <c:v>36775</c:v>
                </c:pt>
                <c:pt idx="123">
                  <c:v>36776</c:v>
                </c:pt>
                <c:pt idx="124">
                  <c:v>36777</c:v>
                </c:pt>
                <c:pt idx="125">
                  <c:v>36780</c:v>
                </c:pt>
                <c:pt idx="126">
                  <c:v>36781</c:v>
                </c:pt>
                <c:pt idx="127">
                  <c:v>36782</c:v>
                </c:pt>
                <c:pt idx="128">
                  <c:v>36783</c:v>
                </c:pt>
                <c:pt idx="129">
                  <c:v>36784</c:v>
                </c:pt>
                <c:pt idx="130">
                  <c:v>36787</c:v>
                </c:pt>
                <c:pt idx="131">
                  <c:v>36788</c:v>
                </c:pt>
                <c:pt idx="132">
                  <c:v>36789</c:v>
                </c:pt>
                <c:pt idx="133">
                  <c:v>36790</c:v>
                </c:pt>
                <c:pt idx="134">
                  <c:v>36791</c:v>
                </c:pt>
                <c:pt idx="135">
                  <c:v>36794</c:v>
                </c:pt>
                <c:pt idx="136">
                  <c:v>36795</c:v>
                </c:pt>
                <c:pt idx="137">
                  <c:v>36796</c:v>
                </c:pt>
                <c:pt idx="138">
                  <c:v>36797</c:v>
                </c:pt>
                <c:pt idx="139">
                  <c:v>36798</c:v>
                </c:pt>
                <c:pt idx="140">
                  <c:v>36801</c:v>
                </c:pt>
                <c:pt idx="141">
                  <c:v>36802</c:v>
                </c:pt>
                <c:pt idx="142">
                  <c:v>36803</c:v>
                </c:pt>
                <c:pt idx="143">
                  <c:v>36804</c:v>
                </c:pt>
                <c:pt idx="144">
                  <c:v>36805</c:v>
                </c:pt>
                <c:pt idx="145">
                  <c:v>36808</c:v>
                </c:pt>
                <c:pt idx="146">
                  <c:v>36809</c:v>
                </c:pt>
                <c:pt idx="147">
                  <c:v>36810</c:v>
                </c:pt>
                <c:pt idx="148">
                  <c:v>36811</c:v>
                </c:pt>
                <c:pt idx="149">
                  <c:v>36812</c:v>
                </c:pt>
                <c:pt idx="150">
                  <c:v>36815</c:v>
                </c:pt>
                <c:pt idx="151">
                  <c:v>36816</c:v>
                </c:pt>
                <c:pt idx="152">
                  <c:v>36817</c:v>
                </c:pt>
                <c:pt idx="153">
                  <c:v>36818</c:v>
                </c:pt>
                <c:pt idx="154">
                  <c:v>36819</c:v>
                </c:pt>
                <c:pt idx="155">
                  <c:v>36822</c:v>
                </c:pt>
                <c:pt idx="156">
                  <c:v>36823</c:v>
                </c:pt>
                <c:pt idx="157">
                  <c:v>36824</c:v>
                </c:pt>
                <c:pt idx="158">
                  <c:v>36825</c:v>
                </c:pt>
                <c:pt idx="159">
                  <c:v>36826</c:v>
                </c:pt>
                <c:pt idx="160">
                  <c:v>36829</c:v>
                </c:pt>
                <c:pt idx="161">
                  <c:v>36830</c:v>
                </c:pt>
                <c:pt idx="162">
                  <c:v>36831</c:v>
                </c:pt>
                <c:pt idx="163">
                  <c:v>36832</c:v>
                </c:pt>
                <c:pt idx="164">
                  <c:v>36833</c:v>
                </c:pt>
                <c:pt idx="165">
                  <c:v>36836</c:v>
                </c:pt>
                <c:pt idx="166">
                  <c:v>36837</c:v>
                </c:pt>
                <c:pt idx="167">
                  <c:v>36838</c:v>
                </c:pt>
                <c:pt idx="168">
                  <c:v>36839</c:v>
                </c:pt>
                <c:pt idx="169">
                  <c:v>36840</c:v>
                </c:pt>
                <c:pt idx="170">
                  <c:v>36843</c:v>
                </c:pt>
                <c:pt idx="171">
                  <c:v>36844</c:v>
                </c:pt>
                <c:pt idx="172">
                  <c:v>36845</c:v>
                </c:pt>
                <c:pt idx="173">
                  <c:v>36846</c:v>
                </c:pt>
                <c:pt idx="174">
                  <c:v>36847</c:v>
                </c:pt>
                <c:pt idx="175">
                  <c:v>36850</c:v>
                </c:pt>
                <c:pt idx="176">
                  <c:v>36851</c:v>
                </c:pt>
                <c:pt idx="177">
                  <c:v>36852</c:v>
                </c:pt>
                <c:pt idx="178">
                  <c:v>36853</c:v>
                </c:pt>
                <c:pt idx="179">
                  <c:v>36854</c:v>
                </c:pt>
                <c:pt idx="180">
                  <c:v>36857</c:v>
                </c:pt>
                <c:pt idx="181">
                  <c:v>36858</c:v>
                </c:pt>
                <c:pt idx="182">
                  <c:v>36859</c:v>
                </c:pt>
                <c:pt idx="183">
                  <c:v>36860</c:v>
                </c:pt>
                <c:pt idx="184">
                  <c:v>36861</c:v>
                </c:pt>
                <c:pt idx="185">
                  <c:v>36864</c:v>
                </c:pt>
                <c:pt idx="186">
                  <c:v>36865</c:v>
                </c:pt>
                <c:pt idx="187">
                  <c:v>36866</c:v>
                </c:pt>
                <c:pt idx="188">
                  <c:v>36867</c:v>
                </c:pt>
                <c:pt idx="189">
                  <c:v>36868</c:v>
                </c:pt>
                <c:pt idx="190">
                  <c:v>36871</c:v>
                </c:pt>
                <c:pt idx="191">
                  <c:v>36872</c:v>
                </c:pt>
                <c:pt idx="192">
                  <c:v>36873</c:v>
                </c:pt>
                <c:pt idx="193">
                  <c:v>36874</c:v>
                </c:pt>
                <c:pt idx="194">
                  <c:v>36875</c:v>
                </c:pt>
                <c:pt idx="195">
                  <c:v>36878</c:v>
                </c:pt>
                <c:pt idx="196">
                  <c:v>36879</c:v>
                </c:pt>
                <c:pt idx="197">
                  <c:v>36880</c:v>
                </c:pt>
                <c:pt idx="198">
                  <c:v>36881</c:v>
                </c:pt>
                <c:pt idx="199">
                  <c:v>36882</c:v>
                </c:pt>
                <c:pt idx="200">
                  <c:v>36885</c:v>
                </c:pt>
                <c:pt idx="201">
                  <c:v>36886</c:v>
                </c:pt>
                <c:pt idx="202">
                  <c:v>36887</c:v>
                </c:pt>
                <c:pt idx="203">
                  <c:v>36888</c:v>
                </c:pt>
                <c:pt idx="204">
                  <c:v>36889</c:v>
                </c:pt>
                <c:pt idx="205">
                  <c:v>36892</c:v>
                </c:pt>
                <c:pt idx="206">
                  <c:v>36893</c:v>
                </c:pt>
                <c:pt idx="207">
                  <c:v>36894</c:v>
                </c:pt>
                <c:pt idx="208">
                  <c:v>36895</c:v>
                </c:pt>
                <c:pt idx="209">
                  <c:v>36896</c:v>
                </c:pt>
                <c:pt idx="210">
                  <c:v>36899</c:v>
                </c:pt>
                <c:pt idx="211">
                  <c:v>36900</c:v>
                </c:pt>
                <c:pt idx="212">
                  <c:v>36901</c:v>
                </c:pt>
                <c:pt idx="213">
                  <c:v>36902</c:v>
                </c:pt>
                <c:pt idx="214">
                  <c:v>36903</c:v>
                </c:pt>
                <c:pt idx="215">
                  <c:v>36906</c:v>
                </c:pt>
                <c:pt idx="216">
                  <c:v>36907</c:v>
                </c:pt>
                <c:pt idx="217">
                  <c:v>36908</c:v>
                </c:pt>
                <c:pt idx="218">
                  <c:v>36909</c:v>
                </c:pt>
                <c:pt idx="219">
                  <c:v>36910</c:v>
                </c:pt>
                <c:pt idx="220">
                  <c:v>36913</c:v>
                </c:pt>
                <c:pt idx="221">
                  <c:v>36914</c:v>
                </c:pt>
                <c:pt idx="222">
                  <c:v>36915</c:v>
                </c:pt>
                <c:pt idx="223">
                  <c:v>36916</c:v>
                </c:pt>
                <c:pt idx="224">
                  <c:v>36917</c:v>
                </c:pt>
                <c:pt idx="225">
                  <c:v>36920</c:v>
                </c:pt>
                <c:pt idx="226">
                  <c:v>36921</c:v>
                </c:pt>
                <c:pt idx="227">
                  <c:v>36922</c:v>
                </c:pt>
                <c:pt idx="228">
                  <c:v>36923</c:v>
                </c:pt>
                <c:pt idx="229">
                  <c:v>36924</c:v>
                </c:pt>
                <c:pt idx="230">
                  <c:v>36927</c:v>
                </c:pt>
                <c:pt idx="231">
                  <c:v>36928</c:v>
                </c:pt>
                <c:pt idx="232">
                  <c:v>36929</c:v>
                </c:pt>
                <c:pt idx="233">
                  <c:v>36930</c:v>
                </c:pt>
                <c:pt idx="234">
                  <c:v>36931</c:v>
                </c:pt>
                <c:pt idx="235">
                  <c:v>36934</c:v>
                </c:pt>
                <c:pt idx="236">
                  <c:v>36935</c:v>
                </c:pt>
                <c:pt idx="237">
                  <c:v>36936</c:v>
                </c:pt>
                <c:pt idx="238">
                  <c:v>36937</c:v>
                </c:pt>
                <c:pt idx="239">
                  <c:v>36938</c:v>
                </c:pt>
                <c:pt idx="240">
                  <c:v>36941</c:v>
                </c:pt>
                <c:pt idx="241">
                  <c:v>36942</c:v>
                </c:pt>
                <c:pt idx="242">
                  <c:v>36943</c:v>
                </c:pt>
                <c:pt idx="243">
                  <c:v>36944</c:v>
                </c:pt>
                <c:pt idx="244">
                  <c:v>36945</c:v>
                </c:pt>
                <c:pt idx="245">
                  <c:v>36948</c:v>
                </c:pt>
                <c:pt idx="246">
                  <c:v>36949</c:v>
                </c:pt>
                <c:pt idx="247">
                  <c:v>36950</c:v>
                </c:pt>
                <c:pt idx="248">
                  <c:v>36951</c:v>
                </c:pt>
                <c:pt idx="249">
                  <c:v>36952</c:v>
                </c:pt>
                <c:pt idx="250">
                  <c:v>36955</c:v>
                </c:pt>
                <c:pt idx="251">
                  <c:v>36956</c:v>
                </c:pt>
                <c:pt idx="252">
                  <c:v>36957</c:v>
                </c:pt>
                <c:pt idx="253">
                  <c:v>36958</c:v>
                </c:pt>
                <c:pt idx="254">
                  <c:v>36959</c:v>
                </c:pt>
                <c:pt idx="255">
                  <c:v>36962</c:v>
                </c:pt>
                <c:pt idx="256">
                  <c:v>36963</c:v>
                </c:pt>
                <c:pt idx="257">
                  <c:v>36964</c:v>
                </c:pt>
                <c:pt idx="258">
                  <c:v>36965</c:v>
                </c:pt>
                <c:pt idx="259">
                  <c:v>36966</c:v>
                </c:pt>
                <c:pt idx="260">
                  <c:v>36969</c:v>
                </c:pt>
                <c:pt idx="261">
                  <c:v>36970</c:v>
                </c:pt>
                <c:pt idx="262">
                  <c:v>36971</c:v>
                </c:pt>
                <c:pt idx="263">
                  <c:v>36972</c:v>
                </c:pt>
                <c:pt idx="264">
                  <c:v>36973</c:v>
                </c:pt>
                <c:pt idx="265">
                  <c:v>36976</c:v>
                </c:pt>
                <c:pt idx="266">
                  <c:v>36977</c:v>
                </c:pt>
                <c:pt idx="267">
                  <c:v>36978</c:v>
                </c:pt>
                <c:pt idx="268">
                  <c:v>36979</c:v>
                </c:pt>
                <c:pt idx="269">
                  <c:v>36980</c:v>
                </c:pt>
                <c:pt idx="270">
                  <c:v>36983</c:v>
                </c:pt>
                <c:pt idx="271">
                  <c:v>36984</c:v>
                </c:pt>
                <c:pt idx="272">
                  <c:v>36985</c:v>
                </c:pt>
                <c:pt idx="273">
                  <c:v>36986</c:v>
                </c:pt>
                <c:pt idx="274">
                  <c:v>36987</c:v>
                </c:pt>
                <c:pt idx="275">
                  <c:v>36990</c:v>
                </c:pt>
                <c:pt idx="276">
                  <c:v>36991</c:v>
                </c:pt>
                <c:pt idx="277">
                  <c:v>36992</c:v>
                </c:pt>
                <c:pt idx="278">
                  <c:v>36993</c:v>
                </c:pt>
                <c:pt idx="279">
                  <c:v>36994</c:v>
                </c:pt>
                <c:pt idx="280">
                  <c:v>36997</c:v>
                </c:pt>
                <c:pt idx="281">
                  <c:v>36998</c:v>
                </c:pt>
                <c:pt idx="282">
                  <c:v>36999</c:v>
                </c:pt>
                <c:pt idx="283">
                  <c:v>37000</c:v>
                </c:pt>
                <c:pt idx="284">
                  <c:v>37001</c:v>
                </c:pt>
                <c:pt idx="285">
                  <c:v>37004</c:v>
                </c:pt>
                <c:pt idx="286">
                  <c:v>37005</c:v>
                </c:pt>
                <c:pt idx="287">
                  <c:v>37006</c:v>
                </c:pt>
                <c:pt idx="288">
                  <c:v>37007</c:v>
                </c:pt>
                <c:pt idx="289">
                  <c:v>37008</c:v>
                </c:pt>
                <c:pt idx="290">
                  <c:v>37011</c:v>
                </c:pt>
                <c:pt idx="291">
                  <c:v>37012</c:v>
                </c:pt>
                <c:pt idx="292">
                  <c:v>37013</c:v>
                </c:pt>
                <c:pt idx="293">
                  <c:v>37014</c:v>
                </c:pt>
                <c:pt idx="294">
                  <c:v>37015</c:v>
                </c:pt>
                <c:pt idx="295">
                  <c:v>37018</c:v>
                </c:pt>
                <c:pt idx="296">
                  <c:v>37019</c:v>
                </c:pt>
                <c:pt idx="297">
                  <c:v>37020</c:v>
                </c:pt>
                <c:pt idx="298">
                  <c:v>37021</c:v>
                </c:pt>
                <c:pt idx="299">
                  <c:v>37022</c:v>
                </c:pt>
                <c:pt idx="300">
                  <c:v>37025</c:v>
                </c:pt>
                <c:pt idx="301">
                  <c:v>37026</c:v>
                </c:pt>
                <c:pt idx="302">
                  <c:v>37027</c:v>
                </c:pt>
                <c:pt idx="303">
                  <c:v>37028</c:v>
                </c:pt>
                <c:pt idx="304">
                  <c:v>37029</c:v>
                </c:pt>
                <c:pt idx="305">
                  <c:v>37032</c:v>
                </c:pt>
                <c:pt idx="306">
                  <c:v>37033</c:v>
                </c:pt>
                <c:pt idx="307">
                  <c:v>37034</c:v>
                </c:pt>
                <c:pt idx="308">
                  <c:v>37035</c:v>
                </c:pt>
                <c:pt idx="309">
                  <c:v>37036</c:v>
                </c:pt>
                <c:pt idx="310">
                  <c:v>37039</c:v>
                </c:pt>
                <c:pt idx="311">
                  <c:v>37040</c:v>
                </c:pt>
                <c:pt idx="312">
                  <c:v>37041</c:v>
                </c:pt>
                <c:pt idx="313">
                  <c:v>37042</c:v>
                </c:pt>
                <c:pt idx="314">
                  <c:v>37043</c:v>
                </c:pt>
                <c:pt idx="315">
                  <c:v>37046</c:v>
                </c:pt>
                <c:pt idx="316">
                  <c:v>37047</c:v>
                </c:pt>
                <c:pt idx="317">
                  <c:v>37048</c:v>
                </c:pt>
                <c:pt idx="318">
                  <c:v>37049</c:v>
                </c:pt>
                <c:pt idx="319">
                  <c:v>37050</c:v>
                </c:pt>
                <c:pt idx="320">
                  <c:v>37053</c:v>
                </c:pt>
                <c:pt idx="321">
                  <c:v>37054</c:v>
                </c:pt>
                <c:pt idx="322">
                  <c:v>37055</c:v>
                </c:pt>
                <c:pt idx="323">
                  <c:v>37056</c:v>
                </c:pt>
                <c:pt idx="324">
                  <c:v>37057</c:v>
                </c:pt>
                <c:pt idx="325">
                  <c:v>37060</c:v>
                </c:pt>
                <c:pt idx="326">
                  <c:v>37061</c:v>
                </c:pt>
                <c:pt idx="327">
                  <c:v>37062</c:v>
                </c:pt>
                <c:pt idx="328">
                  <c:v>37063</c:v>
                </c:pt>
                <c:pt idx="329">
                  <c:v>37064</c:v>
                </c:pt>
                <c:pt idx="330">
                  <c:v>37067</c:v>
                </c:pt>
                <c:pt idx="331">
                  <c:v>37068</c:v>
                </c:pt>
                <c:pt idx="332">
                  <c:v>37069</c:v>
                </c:pt>
                <c:pt idx="333">
                  <c:v>37070</c:v>
                </c:pt>
                <c:pt idx="334">
                  <c:v>37071</c:v>
                </c:pt>
                <c:pt idx="335">
                  <c:v>37074</c:v>
                </c:pt>
                <c:pt idx="336">
                  <c:v>37075</c:v>
                </c:pt>
                <c:pt idx="337">
                  <c:v>37076</c:v>
                </c:pt>
                <c:pt idx="338">
                  <c:v>37077</c:v>
                </c:pt>
                <c:pt idx="339">
                  <c:v>37078</c:v>
                </c:pt>
                <c:pt idx="340">
                  <c:v>37081</c:v>
                </c:pt>
                <c:pt idx="341">
                  <c:v>37082</c:v>
                </c:pt>
                <c:pt idx="342">
                  <c:v>37083</c:v>
                </c:pt>
                <c:pt idx="343">
                  <c:v>37084</c:v>
                </c:pt>
                <c:pt idx="344">
                  <c:v>37085</c:v>
                </c:pt>
                <c:pt idx="345">
                  <c:v>37088</c:v>
                </c:pt>
                <c:pt idx="346">
                  <c:v>37089</c:v>
                </c:pt>
                <c:pt idx="347">
                  <c:v>37090</c:v>
                </c:pt>
                <c:pt idx="348">
                  <c:v>37091</c:v>
                </c:pt>
                <c:pt idx="349">
                  <c:v>37092</c:v>
                </c:pt>
                <c:pt idx="350">
                  <c:v>37095</c:v>
                </c:pt>
                <c:pt idx="351">
                  <c:v>37096</c:v>
                </c:pt>
                <c:pt idx="352">
                  <c:v>37097</c:v>
                </c:pt>
                <c:pt idx="353">
                  <c:v>37098</c:v>
                </c:pt>
                <c:pt idx="354">
                  <c:v>37099</c:v>
                </c:pt>
                <c:pt idx="355">
                  <c:v>37102</c:v>
                </c:pt>
                <c:pt idx="356">
                  <c:v>37103</c:v>
                </c:pt>
                <c:pt idx="357">
                  <c:v>37104</c:v>
                </c:pt>
                <c:pt idx="358">
                  <c:v>37105</c:v>
                </c:pt>
                <c:pt idx="359">
                  <c:v>37106</c:v>
                </c:pt>
                <c:pt idx="360">
                  <c:v>37109</c:v>
                </c:pt>
                <c:pt idx="361">
                  <c:v>37110</c:v>
                </c:pt>
                <c:pt idx="362">
                  <c:v>37111</c:v>
                </c:pt>
                <c:pt idx="363">
                  <c:v>37112</c:v>
                </c:pt>
                <c:pt idx="364">
                  <c:v>37113</c:v>
                </c:pt>
                <c:pt idx="365">
                  <c:v>37116</c:v>
                </c:pt>
                <c:pt idx="366">
                  <c:v>37117</c:v>
                </c:pt>
                <c:pt idx="367">
                  <c:v>37118</c:v>
                </c:pt>
                <c:pt idx="368">
                  <c:v>37119</c:v>
                </c:pt>
                <c:pt idx="369">
                  <c:v>37120</c:v>
                </c:pt>
                <c:pt idx="370">
                  <c:v>37123</c:v>
                </c:pt>
                <c:pt idx="371">
                  <c:v>37124</c:v>
                </c:pt>
                <c:pt idx="372">
                  <c:v>37125</c:v>
                </c:pt>
                <c:pt idx="373">
                  <c:v>37126</c:v>
                </c:pt>
                <c:pt idx="374">
                  <c:v>37127</c:v>
                </c:pt>
                <c:pt idx="375">
                  <c:v>37130</c:v>
                </c:pt>
                <c:pt idx="376">
                  <c:v>37131</c:v>
                </c:pt>
                <c:pt idx="377">
                  <c:v>37132</c:v>
                </c:pt>
                <c:pt idx="378">
                  <c:v>37133</c:v>
                </c:pt>
                <c:pt idx="379">
                  <c:v>37134</c:v>
                </c:pt>
                <c:pt idx="380">
                  <c:v>37137</c:v>
                </c:pt>
                <c:pt idx="381">
                  <c:v>37138</c:v>
                </c:pt>
                <c:pt idx="382">
                  <c:v>37139</c:v>
                </c:pt>
                <c:pt idx="383">
                  <c:v>37140</c:v>
                </c:pt>
                <c:pt idx="384">
                  <c:v>37141</c:v>
                </c:pt>
                <c:pt idx="385">
                  <c:v>37144</c:v>
                </c:pt>
                <c:pt idx="386">
                  <c:v>37145</c:v>
                </c:pt>
                <c:pt idx="387">
                  <c:v>37146</c:v>
                </c:pt>
                <c:pt idx="388">
                  <c:v>37147</c:v>
                </c:pt>
                <c:pt idx="389">
                  <c:v>37148</c:v>
                </c:pt>
                <c:pt idx="390">
                  <c:v>37151</c:v>
                </c:pt>
                <c:pt idx="391">
                  <c:v>37152</c:v>
                </c:pt>
                <c:pt idx="392">
                  <c:v>37153</c:v>
                </c:pt>
                <c:pt idx="393">
                  <c:v>37154</c:v>
                </c:pt>
                <c:pt idx="394">
                  <c:v>37155</c:v>
                </c:pt>
                <c:pt idx="395">
                  <c:v>37158</c:v>
                </c:pt>
                <c:pt idx="396">
                  <c:v>37159</c:v>
                </c:pt>
                <c:pt idx="397">
                  <c:v>37160</c:v>
                </c:pt>
                <c:pt idx="398">
                  <c:v>37161</c:v>
                </c:pt>
                <c:pt idx="399">
                  <c:v>37162</c:v>
                </c:pt>
                <c:pt idx="400">
                  <c:v>37165</c:v>
                </c:pt>
                <c:pt idx="401">
                  <c:v>37166</c:v>
                </c:pt>
                <c:pt idx="402">
                  <c:v>37167</c:v>
                </c:pt>
                <c:pt idx="403">
                  <c:v>37168</c:v>
                </c:pt>
                <c:pt idx="404">
                  <c:v>37169</c:v>
                </c:pt>
                <c:pt idx="405">
                  <c:v>37172</c:v>
                </c:pt>
                <c:pt idx="406">
                  <c:v>37173</c:v>
                </c:pt>
                <c:pt idx="407">
                  <c:v>37174</c:v>
                </c:pt>
                <c:pt idx="408">
                  <c:v>37175</c:v>
                </c:pt>
                <c:pt idx="409">
                  <c:v>37176</c:v>
                </c:pt>
                <c:pt idx="410">
                  <c:v>37179</c:v>
                </c:pt>
                <c:pt idx="411">
                  <c:v>37180</c:v>
                </c:pt>
                <c:pt idx="412">
                  <c:v>37181</c:v>
                </c:pt>
                <c:pt idx="413">
                  <c:v>37182</c:v>
                </c:pt>
                <c:pt idx="414">
                  <c:v>37183</c:v>
                </c:pt>
                <c:pt idx="415">
                  <c:v>37186</c:v>
                </c:pt>
                <c:pt idx="416">
                  <c:v>37187</c:v>
                </c:pt>
                <c:pt idx="417">
                  <c:v>37188</c:v>
                </c:pt>
                <c:pt idx="418">
                  <c:v>37189</c:v>
                </c:pt>
                <c:pt idx="419">
                  <c:v>37190</c:v>
                </c:pt>
                <c:pt idx="420">
                  <c:v>37193</c:v>
                </c:pt>
                <c:pt idx="421">
                  <c:v>37194</c:v>
                </c:pt>
                <c:pt idx="422">
                  <c:v>37195</c:v>
                </c:pt>
                <c:pt idx="423">
                  <c:v>37196</c:v>
                </c:pt>
                <c:pt idx="424">
                  <c:v>37197</c:v>
                </c:pt>
                <c:pt idx="425">
                  <c:v>37200</c:v>
                </c:pt>
                <c:pt idx="426">
                  <c:v>37201</c:v>
                </c:pt>
                <c:pt idx="427">
                  <c:v>37202</c:v>
                </c:pt>
                <c:pt idx="428">
                  <c:v>37203</c:v>
                </c:pt>
                <c:pt idx="429">
                  <c:v>37204</c:v>
                </c:pt>
                <c:pt idx="430">
                  <c:v>37207</c:v>
                </c:pt>
                <c:pt idx="431">
                  <c:v>37208</c:v>
                </c:pt>
                <c:pt idx="432">
                  <c:v>37209</c:v>
                </c:pt>
                <c:pt idx="433">
                  <c:v>37210</c:v>
                </c:pt>
                <c:pt idx="434">
                  <c:v>37211</c:v>
                </c:pt>
                <c:pt idx="435">
                  <c:v>37214</c:v>
                </c:pt>
                <c:pt idx="436">
                  <c:v>37215</c:v>
                </c:pt>
                <c:pt idx="437">
                  <c:v>37216</c:v>
                </c:pt>
                <c:pt idx="438">
                  <c:v>37217</c:v>
                </c:pt>
                <c:pt idx="439">
                  <c:v>37218</c:v>
                </c:pt>
                <c:pt idx="440">
                  <c:v>37221</c:v>
                </c:pt>
                <c:pt idx="441">
                  <c:v>37222</c:v>
                </c:pt>
                <c:pt idx="442">
                  <c:v>37223</c:v>
                </c:pt>
                <c:pt idx="443">
                  <c:v>37224</c:v>
                </c:pt>
                <c:pt idx="444">
                  <c:v>37225</c:v>
                </c:pt>
                <c:pt idx="445">
                  <c:v>37228</c:v>
                </c:pt>
                <c:pt idx="446">
                  <c:v>37229</c:v>
                </c:pt>
                <c:pt idx="447">
                  <c:v>37230</c:v>
                </c:pt>
                <c:pt idx="448">
                  <c:v>37231</c:v>
                </c:pt>
                <c:pt idx="449">
                  <c:v>37232</c:v>
                </c:pt>
                <c:pt idx="450">
                  <c:v>37235</c:v>
                </c:pt>
                <c:pt idx="451">
                  <c:v>37236</c:v>
                </c:pt>
                <c:pt idx="452">
                  <c:v>37237</c:v>
                </c:pt>
                <c:pt idx="453">
                  <c:v>37238</c:v>
                </c:pt>
                <c:pt idx="454">
                  <c:v>37239</c:v>
                </c:pt>
                <c:pt idx="455">
                  <c:v>37242</c:v>
                </c:pt>
                <c:pt idx="456">
                  <c:v>37243</c:v>
                </c:pt>
                <c:pt idx="457">
                  <c:v>37244</c:v>
                </c:pt>
                <c:pt idx="458">
                  <c:v>37245</c:v>
                </c:pt>
                <c:pt idx="459">
                  <c:v>37246</c:v>
                </c:pt>
                <c:pt idx="460">
                  <c:v>37252</c:v>
                </c:pt>
                <c:pt idx="461">
                  <c:v>37253</c:v>
                </c:pt>
                <c:pt idx="462">
                  <c:v>37256</c:v>
                </c:pt>
                <c:pt idx="463">
                  <c:v>37257</c:v>
                </c:pt>
                <c:pt idx="464">
                  <c:v>37258</c:v>
                </c:pt>
                <c:pt idx="465">
                  <c:v>37259</c:v>
                </c:pt>
                <c:pt idx="466">
                  <c:v>37260</c:v>
                </c:pt>
                <c:pt idx="467">
                  <c:v>37263</c:v>
                </c:pt>
                <c:pt idx="468">
                  <c:v>37264</c:v>
                </c:pt>
                <c:pt idx="469">
                  <c:v>37265</c:v>
                </c:pt>
                <c:pt idx="470">
                  <c:v>37266</c:v>
                </c:pt>
                <c:pt idx="471">
                  <c:v>37267</c:v>
                </c:pt>
                <c:pt idx="472">
                  <c:v>37270</c:v>
                </c:pt>
                <c:pt idx="473">
                  <c:v>37271</c:v>
                </c:pt>
                <c:pt idx="474">
                  <c:v>37272</c:v>
                </c:pt>
                <c:pt idx="475">
                  <c:v>37273</c:v>
                </c:pt>
                <c:pt idx="476">
                  <c:v>37274</c:v>
                </c:pt>
                <c:pt idx="477">
                  <c:v>37277</c:v>
                </c:pt>
                <c:pt idx="478">
                  <c:v>37278</c:v>
                </c:pt>
                <c:pt idx="479">
                  <c:v>37279</c:v>
                </c:pt>
                <c:pt idx="480">
                  <c:v>37280</c:v>
                </c:pt>
                <c:pt idx="481">
                  <c:v>37281</c:v>
                </c:pt>
                <c:pt idx="482">
                  <c:v>37284</c:v>
                </c:pt>
                <c:pt idx="483">
                  <c:v>37285</c:v>
                </c:pt>
                <c:pt idx="484">
                  <c:v>37286</c:v>
                </c:pt>
                <c:pt idx="485">
                  <c:v>37287</c:v>
                </c:pt>
                <c:pt idx="486">
                  <c:v>37288</c:v>
                </c:pt>
                <c:pt idx="487">
                  <c:v>37291</c:v>
                </c:pt>
                <c:pt idx="488">
                  <c:v>37292</c:v>
                </c:pt>
                <c:pt idx="489">
                  <c:v>37293</c:v>
                </c:pt>
                <c:pt idx="490">
                  <c:v>37294</c:v>
                </c:pt>
                <c:pt idx="491">
                  <c:v>37295</c:v>
                </c:pt>
                <c:pt idx="492">
                  <c:v>37298</c:v>
                </c:pt>
                <c:pt idx="493">
                  <c:v>37299</c:v>
                </c:pt>
                <c:pt idx="494">
                  <c:v>37300</c:v>
                </c:pt>
                <c:pt idx="495">
                  <c:v>37301</c:v>
                </c:pt>
                <c:pt idx="496">
                  <c:v>37302</c:v>
                </c:pt>
                <c:pt idx="497">
                  <c:v>37305</c:v>
                </c:pt>
                <c:pt idx="498">
                  <c:v>37306</c:v>
                </c:pt>
                <c:pt idx="499">
                  <c:v>37307</c:v>
                </c:pt>
                <c:pt idx="500">
                  <c:v>37308</c:v>
                </c:pt>
                <c:pt idx="501">
                  <c:v>37309</c:v>
                </c:pt>
                <c:pt idx="502">
                  <c:v>37312</c:v>
                </c:pt>
                <c:pt idx="503">
                  <c:v>37313</c:v>
                </c:pt>
                <c:pt idx="504">
                  <c:v>37314</c:v>
                </c:pt>
                <c:pt idx="505">
                  <c:v>37315</c:v>
                </c:pt>
                <c:pt idx="506">
                  <c:v>37316</c:v>
                </c:pt>
                <c:pt idx="507">
                  <c:v>37319</c:v>
                </c:pt>
                <c:pt idx="508">
                  <c:v>37320</c:v>
                </c:pt>
                <c:pt idx="509">
                  <c:v>37321</c:v>
                </c:pt>
                <c:pt idx="510">
                  <c:v>37322</c:v>
                </c:pt>
                <c:pt idx="511">
                  <c:v>37323</c:v>
                </c:pt>
                <c:pt idx="512">
                  <c:v>37326</c:v>
                </c:pt>
                <c:pt idx="513">
                  <c:v>37327</c:v>
                </c:pt>
                <c:pt idx="514">
                  <c:v>37328</c:v>
                </c:pt>
                <c:pt idx="515">
                  <c:v>37329</c:v>
                </c:pt>
                <c:pt idx="516">
                  <c:v>37330</c:v>
                </c:pt>
                <c:pt idx="517">
                  <c:v>37333</c:v>
                </c:pt>
                <c:pt idx="518">
                  <c:v>37334</c:v>
                </c:pt>
                <c:pt idx="519">
                  <c:v>37335</c:v>
                </c:pt>
                <c:pt idx="520">
                  <c:v>37336</c:v>
                </c:pt>
                <c:pt idx="521">
                  <c:v>37337</c:v>
                </c:pt>
                <c:pt idx="522">
                  <c:v>37340</c:v>
                </c:pt>
                <c:pt idx="523">
                  <c:v>37341</c:v>
                </c:pt>
                <c:pt idx="524">
                  <c:v>37342</c:v>
                </c:pt>
                <c:pt idx="525">
                  <c:v>37343</c:v>
                </c:pt>
                <c:pt idx="526">
                  <c:v>37344</c:v>
                </c:pt>
                <c:pt idx="527">
                  <c:v>37347</c:v>
                </c:pt>
                <c:pt idx="528">
                  <c:v>37348</c:v>
                </c:pt>
                <c:pt idx="529">
                  <c:v>37349</c:v>
                </c:pt>
                <c:pt idx="530">
                  <c:v>37350</c:v>
                </c:pt>
                <c:pt idx="531">
                  <c:v>37351</c:v>
                </c:pt>
                <c:pt idx="532">
                  <c:v>37354</c:v>
                </c:pt>
                <c:pt idx="533">
                  <c:v>37355</c:v>
                </c:pt>
                <c:pt idx="534">
                  <c:v>37356</c:v>
                </c:pt>
                <c:pt idx="535">
                  <c:v>37357</c:v>
                </c:pt>
                <c:pt idx="536">
                  <c:v>37358</c:v>
                </c:pt>
                <c:pt idx="537">
                  <c:v>37361</c:v>
                </c:pt>
                <c:pt idx="538">
                  <c:v>37362</c:v>
                </c:pt>
                <c:pt idx="539">
                  <c:v>37363</c:v>
                </c:pt>
                <c:pt idx="540">
                  <c:v>37364</c:v>
                </c:pt>
                <c:pt idx="541">
                  <c:v>37365</c:v>
                </c:pt>
                <c:pt idx="542">
                  <c:v>37368</c:v>
                </c:pt>
                <c:pt idx="543">
                  <c:v>37369</c:v>
                </c:pt>
                <c:pt idx="544">
                  <c:v>37370</c:v>
                </c:pt>
                <c:pt idx="545">
                  <c:v>37371</c:v>
                </c:pt>
                <c:pt idx="546">
                  <c:v>37372</c:v>
                </c:pt>
                <c:pt idx="547">
                  <c:v>37375</c:v>
                </c:pt>
                <c:pt idx="548">
                  <c:v>37376</c:v>
                </c:pt>
                <c:pt idx="549">
                  <c:v>37377</c:v>
                </c:pt>
                <c:pt idx="550">
                  <c:v>37378</c:v>
                </c:pt>
                <c:pt idx="551">
                  <c:v>37379</c:v>
                </c:pt>
                <c:pt idx="552">
                  <c:v>37382</c:v>
                </c:pt>
                <c:pt idx="553">
                  <c:v>37383</c:v>
                </c:pt>
                <c:pt idx="554">
                  <c:v>37384</c:v>
                </c:pt>
                <c:pt idx="555">
                  <c:v>37385</c:v>
                </c:pt>
                <c:pt idx="556">
                  <c:v>37386</c:v>
                </c:pt>
                <c:pt idx="557">
                  <c:v>37389</c:v>
                </c:pt>
                <c:pt idx="558">
                  <c:v>37390</c:v>
                </c:pt>
                <c:pt idx="559">
                  <c:v>37391</c:v>
                </c:pt>
                <c:pt idx="560">
                  <c:v>37392</c:v>
                </c:pt>
                <c:pt idx="561">
                  <c:v>37393</c:v>
                </c:pt>
                <c:pt idx="562">
                  <c:v>37396</c:v>
                </c:pt>
                <c:pt idx="563">
                  <c:v>37397</c:v>
                </c:pt>
                <c:pt idx="564">
                  <c:v>37398</c:v>
                </c:pt>
                <c:pt idx="565">
                  <c:v>37399</c:v>
                </c:pt>
                <c:pt idx="566">
                  <c:v>37400</c:v>
                </c:pt>
                <c:pt idx="567">
                  <c:v>37403</c:v>
                </c:pt>
                <c:pt idx="568">
                  <c:v>37404</c:v>
                </c:pt>
                <c:pt idx="569">
                  <c:v>37405</c:v>
                </c:pt>
                <c:pt idx="570">
                  <c:v>37406</c:v>
                </c:pt>
                <c:pt idx="571">
                  <c:v>37407</c:v>
                </c:pt>
                <c:pt idx="572">
                  <c:v>37410</c:v>
                </c:pt>
                <c:pt idx="573">
                  <c:v>37411</c:v>
                </c:pt>
                <c:pt idx="574">
                  <c:v>37412</c:v>
                </c:pt>
                <c:pt idx="575">
                  <c:v>37413</c:v>
                </c:pt>
                <c:pt idx="576">
                  <c:v>37414</c:v>
                </c:pt>
                <c:pt idx="577">
                  <c:v>37417</c:v>
                </c:pt>
                <c:pt idx="578">
                  <c:v>37418</c:v>
                </c:pt>
                <c:pt idx="579">
                  <c:v>37419</c:v>
                </c:pt>
                <c:pt idx="580">
                  <c:v>37420</c:v>
                </c:pt>
                <c:pt idx="581">
                  <c:v>37421</c:v>
                </c:pt>
                <c:pt idx="582">
                  <c:v>37424</c:v>
                </c:pt>
                <c:pt idx="583">
                  <c:v>37425</c:v>
                </c:pt>
                <c:pt idx="584">
                  <c:v>37426</c:v>
                </c:pt>
                <c:pt idx="585">
                  <c:v>37427</c:v>
                </c:pt>
                <c:pt idx="586">
                  <c:v>37428</c:v>
                </c:pt>
                <c:pt idx="587">
                  <c:v>37431</c:v>
                </c:pt>
                <c:pt idx="588">
                  <c:v>37432</c:v>
                </c:pt>
                <c:pt idx="589">
                  <c:v>37433</c:v>
                </c:pt>
                <c:pt idx="590">
                  <c:v>37434</c:v>
                </c:pt>
                <c:pt idx="591">
                  <c:v>37435</c:v>
                </c:pt>
                <c:pt idx="592">
                  <c:v>37438</c:v>
                </c:pt>
                <c:pt idx="593">
                  <c:v>37439</c:v>
                </c:pt>
                <c:pt idx="594">
                  <c:v>37440</c:v>
                </c:pt>
                <c:pt idx="595">
                  <c:v>37441</c:v>
                </c:pt>
                <c:pt idx="596">
                  <c:v>37442</c:v>
                </c:pt>
                <c:pt idx="597">
                  <c:v>37445</c:v>
                </c:pt>
                <c:pt idx="598">
                  <c:v>37446</c:v>
                </c:pt>
                <c:pt idx="599">
                  <c:v>37447</c:v>
                </c:pt>
                <c:pt idx="600">
                  <c:v>37448</c:v>
                </c:pt>
                <c:pt idx="601">
                  <c:v>37449</c:v>
                </c:pt>
                <c:pt idx="602">
                  <c:v>37452</c:v>
                </c:pt>
                <c:pt idx="603">
                  <c:v>37453</c:v>
                </c:pt>
                <c:pt idx="604">
                  <c:v>37454</c:v>
                </c:pt>
                <c:pt idx="605">
                  <c:v>37455</c:v>
                </c:pt>
                <c:pt idx="606">
                  <c:v>37456</c:v>
                </c:pt>
                <c:pt idx="607">
                  <c:v>37459</c:v>
                </c:pt>
                <c:pt idx="608">
                  <c:v>37460</c:v>
                </c:pt>
                <c:pt idx="609">
                  <c:v>37461</c:v>
                </c:pt>
                <c:pt idx="610">
                  <c:v>37462</c:v>
                </c:pt>
                <c:pt idx="611">
                  <c:v>37463</c:v>
                </c:pt>
                <c:pt idx="612">
                  <c:v>37466</c:v>
                </c:pt>
                <c:pt idx="613">
                  <c:v>37467</c:v>
                </c:pt>
                <c:pt idx="614">
                  <c:v>37468</c:v>
                </c:pt>
                <c:pt idx="615">
                  <c:v>37469</c:v>
                </c:pt>
                <c:pt idx="616">
                  <c:v>37470</c:v>
                </c:pt>
                <c:pt idx="617">
                  <c:v>37473</c:v>
                </c:pt>
                <c:pt idx="618">
                  <c:v>37474</c:v>
                </c:pt>
                <c:pt idx="619">
                  <c:v>37475</c:v>
                </c:pt>
                <c:pt idx="620">
                  <c:v>37476</c:v>
                </c:pt>
                <c:pt idx="621">
                  <c:v>37477</c:v>
                </c:pt>
                <c:pt idx="622">
                  <c:v>37480</c:v>
                </c:pt>
                <c:pt idx="623">
                  <c:v>37481</c:v>
                </c:pt>
                <c:pt idx="624">
                  <c:v>37482</c:v>
                </c:pt>
                <c:pt idx="625">
                  <c:v>37483</c:v>
                </c:pt>
                <c:pt idx="626">
                  <c:v>37484</c:v>
                </c:pt>
                <c:pt idx="627">
                  <c:v>37487</c:v>
                </c:pt>
                <c:pt idx="628">
                  <c:v>37488</c:v>
                </c:pt>
                <c:pt idx="629">
                  <c:v>37489</c:v>
                </c:pt>
                <c:pt idx="630">
                  <c:v>37490</c:v>
                </c:pt>
                <c:pt idx="631">
                  <c:v>37491</c:v>
                </c:pt>
                <c:pt idx="632">
                  <c:v>37494</c:v>
                </c:pt>
                <c:pt idx="633">
                  <c:v>37495</c:v>
                </c:pt>
                <c:pt idx="634">
                  <c:v>37496</c:v>
                </c:pt>
                <c:pt idx="635">
                  <c:v>37497</c:v>
                </c:pt>
                <c:pt idx="636">
                  <c:v>37498</c:v>
                </c:pt>
                <c:pt idx="637">
                  <c:v>37501</c:v>
                </c:pt>
                <c:pt idx="638">
                  <c:v>37502</c:v>
                </c:pt>
                <c:pt idx="639">
                  <c:v>37503</c:v>
                </c:pt>
                <c:pt idx="640">
                  <c:v>37504</c:v>
                </c:pt>
                <c:pt idx="641">
                  <c:v>37505</c:v>
                </c:pt>
                <c:pt idx="642">
                  <c:v>37508</c:v>
                </c:pt>
                <c:pt idx="643">
                  <c:v>37509</c:v>
                </c:pt>
                <c:pt idx="644">
                  <c:v>37510</c:v>
                </c:pt>
                <c:pt idx="645">
                  <c:v>37511</c:v>
                </c:pt>
                <c:pt idx="646">
                  <c:v>37512</c:v>
                </c:pt>
                <c:pt idx="647">
                  <c:v>37515</c:v>
                </c:pt>
                <c:pt idx="648">
                  <c:v>37516</c:v>
                </c:pt>
                <c:pt idx="649">
                  <c:v>37517</c:v>
                </c:pt>
                <c:pt idx="650">
                  <c:v>37518</c:v>
                </c:pt>
                <c:pt idx="651">
                  <c:v>37519</c:v>
                </c:pt>
                <c:pt idx="652">
                  <c:v>37522</c:v>
                </c:pt>
                <c:pt idx="653">
                  <c:v>37523</c:v>
                </c:pt>
                <c:pt idx="654">
                  <c:v>37524</c:v>
                </c:pt>
                <c:pt idx="655">
                  <c:v>37525</c:v>
                </c:pt>
                <c:pt idx="656">
                  <c:v>37526</c:v>
                </c:pt>
                <c:pt idx="657">
                  <c:v>37529</c:v>
                </c:pt>
                <c:pt idx="658">
                  <c:v>37530</c:v>
                </c:pt>
                <c:pt idx="659">
                  <c:v>37531</c:v>
                </c:pt>
                <c:pt idx="660">
                  <c:v>37532</c:v>
                </c:pt>
                <c:pt idx="661">
                  <c:v>37533</c:v>
                </c:pt>
                <c:pt idx="662">
                  <c:v>37536</c:v>
                </c:pt>
                <c:pt idx="663">
                  <c:v>37537</c:v>
                </c:pt>
                <c:pt idx="664">
                  <c:v>37538</c:v>
                </c:pt>
                <c:pt idx="665">
                  <c:v>37539</c:v>
                </c:pt>
                <c:pt idx="666">
                  <c:v>37540</c:v>
                </c:pt>
                <c:pt idx="667">
                  <c:v>37543</c:v>
                </c:pt>
                <c:pt idx="668">
                  <c:v>37544</c:v>
                </c:pt>
                <c:pt idx="669">
                  <c:v>37545</c:v>
                </c:pt>
                <c:pt idx="670">
                  <c:v>37546</c:v>
                </c:pt>
                <c:pt idx="671">
                  <c:v>37547</c:v>
                </c:pt>
                <c:pt idx="672">
                  <c:v>37550</c:v>
                </c:pt>
                <c:pt idx="673">
                  <c:v>37551</c:v>
                </c:pt>
                <c:pt idx="674">
                  <c:v>37552</c:v>
                </c:pt>
                <c:pt idx="675">
                  <c:v>37553</c:v>
                </c:pt>
                <c:pt idx="676">
                  <c:v>37554</c:v>
                </c:pt>
                <c:pt idx="677">
                  <c:v>37557</c:v>
                </c:pt>
                <c:pt idx="678">
                  <c:v>37558</c:v>
                </c:pt>
                <c:pt idx="679">
                  <c:v>37559</c:v>
                </c:pt>
                <c:pt idx="680">
                  <c:v>37560</c:v>
                </c:pt>
                <c:pt idx="681">
                  <c:v>37561</c:v>
                </c:pt>
                <c:pt idx="682">
                  <c:v>37564</c:v>
                </c:pt>
                <c:pt idx="683">
                  <c:v>37565</c:v>
                </c:pt>
                <c:pt idx="684">
                  <c:v>37566</c:v>
                </c:pt>
                <c:pt idx="685">
                  <c:v>37567</c:v>
                </c:pt>
                <c:pt idx="686">
                  <c:v>37568</c:v>
                </c:pt>
                <c:pt idx="687">
                  <c:v>37571</c:v>
                </c:pt>
                <c:pt idx="688">
                  <c:v>37572</c:v>
                </c:pt>
                <c:pt idx="689">
                  <c:v>37573</c:v>
                </c:pt>
                <c:pt idx="690">
                  <c:v>37574</c:v>
                </c:pt>
                <c:pt idx="691">
                  <c:v>37575</c:v>
                </c:pt>
                <c:pt idx="692">
                  <c:v>37578</c:v>
                </c:pt>
                <c:pt idx="693">
                  <c:v>37579</c:v>
                </c:pt>
                <c:pt idx="694">
                  <c:v>37580</c:v>
                </c:pt>
                <c:pt idx="695">
                  <c:v>37581</c:v>
                </c:pt>
                <c:pt idx="696">
                  <c:v>37582</c:v>
                </c:pt>
                <c:pt idx="697">
                  <c:v>37585</c:v>
                </c:pt>
                <c:pt idx="698">
                  <c:v>37586</c:v>
                </c:pt>
                <c:pt idx="699">
                  <c:v>37587</c:v>
                </c:pt>
                <c:pt idx="700">
                  <c:v>37588</c:v>
                </c:pt>
                <c:pt idx="701">
                  <c:v>37589</c:v>
                </c:pt>
                <c:pt idx="702">
                  <c:v>37592</c:v>
                </c:pt>
                <c:pt idx="703">
                  <c:v>37593</c:v>
                </c:pt>
                <c:pt idx="704">
                  <c:v>37594</c:v>
                </c:pt>
                <c:pt idx="705">
                  <c:v>37595</c:v>
                </c:pt>
                <c:pt idx="706">
                  <c:v>37596</c:v>
                </c:pt>
                <c:pt idx="707">
                  <c:v>37599</c:v>
                </c:pt>
                <c:pt idx="708">
                  <c:v>37600</c:v>
                </c:pt>
                <c:pt idx="709">
                  <c:v>37601</c:v>
                </c:pt>
                <c:pt idx="710">
                  <c:v>37602</c:v>
                </c:pt>
                <c:pt idx="711">
                  <c:v>37603</c:v>
                </c:pt>
                <c:pt idx="712">
                  <c:v>37606</c:v>
                </c:pt>
                <c:pt idx="713">
                  <c:v>37607</c:v>
                </c:pt>
                <c:pt idx="714">
                  <c:v>37608</c:v>
                </c:pt>
                <c:pt idx="715">
                  <c:v>37609</c:v>
                </c:pt>
                <c:pt idx="716">
                  <c:v>37610</c:v>
                </c:pt>
                <c:pt idx="717">
                  <c:v>37613</c:v>
                </c:pt>
                <c:pt idx="718">
                  <c:v>37614</c:v>
                </c:pt>
                <c:pt idx="719">
                  <c:v>37615</c:v>
                </c:pt>
                <c:pt idx="720">
                  <c:v>37616</c:v>
                </c:pt>
                <c:pt idx="721">
                  <c:v>37617</c:v>
                </c:pt>
                <c:pt idx="722">
                  <c:v>37620</c:v>
                </c:pt>
                <c:pt idx="723">
                  <c:v>37621</c:v>
                </c:pt>
                <c:pt idx="724">
                  <c:v>37622</c:v>
                </c:pt>
                <c:pt idx="725">
                  <c:v>37623</c:v>
                </c:pt>
                <c:pt idx="726">
                  <c:v>37624</c:v>
                </c:pt>
                <c:pt idx="727">
                  <c:v>37627</c:v>
                </c:pt>
                <c:pt idx="728">
                  <c:v>37628</c:v>
                </c:pt>
                <c:pt idx="729">
                  <c:v>37629</c:v>
                </c:pt>
                <c:pt idx="730">
                  <c:v>37630</c:v>
                </c:pt>
                <c:pt idx="731">
                  <c:v>37631</c:v>
                </c:pt>
                <c:pt idx="732">
                  <c:v>37634</c:v>
                </c:pt>
                <c:pt idx="733">
                  <c:v>37635</c:v>
                </c:pt>
                <c:pt idx="734">
                  <c:v>37636</c:v>
                </c:pt>
                <c:pt idx="735">
                  <c:v>37637</c:v>
                </c:pt>
                <c:pt idx="736">
                  <c:v>37638</c:v>
                </c:pt>
                <c:pt idx="737">
                  <c:v>37641</c:v>
                </c:pt>
                <c:pt idx="738">
                  <c:v>37642</c:v>
                </c:pt>
                <c:pt idx="739">
                  <c:v>37643</c:v>
                </c:pt>
                <c:pt idx="740">
                  <c:v>37644</c:v>
                </c:pt>
                <c:pt idx="741">
                  <c:v>37645</c:v>
                </c:pt>
                <c:pt idx="742">
                  <c:v>37648</c:v>
                </c:pt>
                <c:pt idx="743">
                  <c:v>37649</c:v>
                </c:pt>
                <c:pt idx="744">
                  <c:v>37650</c:v>
                </c:pt>
                <c:pt idx="745">
                  <c:v>37651</c:v>
                </c:pt>
                <c:pt idx="746">
                  <c:v>37652</c:v>
                </c:pt>
                <c:pt idx="747">
                  <c:v>37655</c:v>
                </c:pt>
                <c:pt idx="748">
                  <c:v>37656</c:v>
                </c:pt>
                <c:pt idx="749">
                  <c:v>37657</c:v>
                </c:pt>
                <c:pt idx="750">
                  <c:v>37658</c:v>
                </c:pt>
                <c:pt idx="751">
                  <c:v>37659</c:v>
                </c:pt>
                <c:pt idx="752">
                  <c:v>37662</c:v>
                </c:pt>
                <c:pt idx="753">
                  <c:v>37663</c:v>
                </c:pt>
                <c:pt idx="754">
                  <c:v>37664</c:v>
                </c:pt>
                <c:pt idx="755">
                  <c:v>37665</c:v>
                </c:pt>
                <c:pt idx="756">
                  <c:v>37666</c:v>
                </c:pt>
                <c:pt idx="757">
                  <c:v>37669</c:v>
                </c:pt>
                <c:pt idx="758">
                  <c:v>37670</c:v>
                </c:pt>
                <c:pt idx="759">
                  <c:v>37671</c:v>
                </c:pt>
                <c:pt idx="760">
                  <c:v>37672</c:v>
                </c:pt>
                <c:pt idx="761">
                  <c:v>37673</c:v>
                </c:pt>
                <c:pt idx="762">
                  <c:v>37676</c:v>
                </c:pt>
                <c:pt idx="763">
                  <c:v>37677</c:v>
                </c:pt>
                <c:pt idx="764">
                  <c:v>37678</c:v>
                </c:pt>
                <c:pt idx="765">
                  <c:v>37679</c:v>
                </c:pt>
                <c:pt idx="766">
                  <c:v>37680</c:v>
                </c:pt>
                <c:pt idx="767">
                  <c:v>37683</c:v>
                </c:pt>
                <c:pt idx="768">
                  <c:v>37684</c:v>
                </c:pt>
                <c:pt idx="769">
                  <c:v>37685</c:v>
                </c:pt>
                <c:pt idx="770">
                  <c:v>37686</c:v>
                </c:pt>
                <c:pt idx="771">
                  <c:v>37687</c:v>
                </c:pt>
                <c:pt idx="772">
                  <c:v>37690</c:v>
                </c:pt>
                <c:pt idx="773">
                  <c:v>37691</c:v>
                </c:pt>
                <c:pt idx="774">
                  <c:v>37692</c:v>
                </c:pt>
                <c:pt idx="775">
                  <c:v>37693</c:v>
                </c:pt>
                <c:pt idx="776">
                  <c:v>37694</c:v>
                </c:pt>
                <c:pt idx="777">
                  <c:v>37697</c:v>
                </c:pt>
                <c:pt idx="778">
                  <c:v>37698</c:v>
                </c:pt>
                <c:pt idx="779">
                  <c:v>37699</c:v>
                </c:pt>
                <c:pt idx="780">
                  <c:v>37700</c:v>
                </c:pt>
                <c:pt idx="781">
                  <c:v>37701</c:v>
                </c:pt>
                <c:pt idx="782">
                  <c:v>37704</c:v>
                </c:pt>
                <c:pt idx="783">
                  <c:v>37705</c:v>
                </c:pt>
                <c:pt idx="784">
                  <c:v>37706</c:v>
                </c:pt>
                <c:pt idx="785">
                  <c:v>37707</c:v>
                </c:pt>
                <c:pt idx="786">
                  <c:v>37708</c:v>
                </c:pt>
                <c:pt idx="787">
                  <c:v>37711</c:v>
                </c:pt>
                <c:pt idx="788">
                  <c:v>37712</c:v>
                </c:pt>
                <c:pt idx="789">
                  <c:v>37713</c:v>
                </c:pt>
                <c:pt idx="790">
                  <c:v>37714</c:v>
                </c:pt>
                <c:pt idx="791">
                  <c:v>37715</c:v>
                </c:pt>
                <c:pt idx="792">
                  <c:v>37718</c:v>
                </c:pt>
                <c:pt idx="793">
                  <c:v>37719</c:v>
                </c:pt>
                <c:pt idx="794">
                  <c:v>37720</c:v>
                </c:pt>
                <c:pt idx="795">
                  <c:v>37721</c:v>
                </c:pt>
                <c:pt idx="796">
                  <c:v>37722</c:v>
                </c:pt>
                <c:pt idx="797">
                  <c:v>37725</c:v>
                </c:pt>
                <c:pt idx="798">
                  <c:v>37726</c:v>
                </c:pt>
                <c:pt idx="799">
                  <c:v>37727</c:v>
                </c:pt>
                <c:pt idx="800">
                  <c:v>37728</c:v>
                </c:pt>
                <c:pt idx="801">
                  <c:v>37729</c:v>
                </c:pt>
                <c:pt idx="802">
                  <c:v>37732</c:v>
                </c:pt>
                <c:pt idx="803">
                  <c:v>37733</c:v>
                </c:pt>
                <c:pt idx="804">
                  <c:v>37734</c:v>
                </c:pt>
                <c:pt idx="805">
                  <c:v>37735</c:v>
                </c:pt>
                <c:pt idx="806">
                  <c:v>37736</c:v>
                </c:pt>
                <c:pt idx="807">
                  <c:v>37739</c:v>
                </c:pt>
                <c:pt idx="808">
                  <c:v>37740</c:v>
                </c:pt>
                <c:pt idx="809">
                  <c:v>37741</c:v>
                </c:pt>
                <c:pt idx="810">
                  <c:v>37742</c:v>
                </c:pt>
                <c:pt idx="811">
                  <c:v>37743</c:v>
                </c:pt>
                <c:pt idx="812">
                  <c:v>37746</c:v>
                </c:pt>
                <c:pt idx="813">
                  <c:v>37747</c:v>
                </c:pt>
                <c:pt idx="814">
                  <c:v>37748</c:v>
                </c:pt>
                <c:pt idx="815">
                  <c:v>37749</c:v>
                </c:pt>
                <c:pt idx="816">
                  <c:v>37750</c:v>
                </c:pt>
                <c:pt idx="817">
                  <c:v>37753</c:v>
                </c:pt>
                <c:pt idx="818">
                  <c:v>37754</c:v>
                </c:pt>
                <c:pt idx="819">
                  <c:v>37755</c:v>
                </c:pt>
                <c:pt idx="820">
                  <c:v>37756</c:v>
                </c:pt>
                <c:pt idx="821">
                  <c:v>37757</c:v>
                </c:pt>
                <c:pt idx="822">
                  <c:v>37760</c:v>
                </c:pt>
                <c:pt idx="823">
                  <c:v>37761</c:v>
                </c:pt>
                <c:pt idx="824">
                  <c:v>37762</c:v>
                </c:pt>
                <c:pt idx="825">
                  <c:v>37763</c:v>
                </c:pt>
                <c:pt idx="826">
                  <c:v>37764</c:v>
                </c:pt>
                <c:pt idx="827">
                  <c:v>37767</c:v>
                </c:pt>
                <c:pt idx="828">
                  <c:v>37768</c:v>
                </c:pt>
                <c:pt idx="829">
                  <c:v>37769</c:v>
                </c:pt>
                <c:pt idx="830">
                  <c:v>37770</c:v>
                </c:pt>
                <c:pt idx="831">
                  <c:v>37771</c:v>
                </c:pt>
                <c:pt idx="832">
                  <c:v>37774</c:v>
                </c:pt>
                <c:pt idx="833">
                  <c:v>37775</c:v>
                </c:pt>
                <c:pt idx="834">
                  <c:v>37776</c:v>
                </c:pt>
                <c:pt idx="835">
                  <c:v>37777</c:v>
                </c:pt>
                <c:pt idx="836">
                  <c:v>37778</c:v>
                </c:pt>
                <c:pt idx="837">
                  <c:v>37781</c:v>
                </c:pt>
                <c:pt idx="838">
                  <c:v>37782</c:v>
                </c:pt>
                <c:pt idx="839">
                  <c:v>37783</c:v>
                </c:pt>
                <c:pt idx="840">
                  <c:v>37784</c:v>
                </c:pt>
                <c:pt idx="841">
                  <c:v>37785</c:v>
                </c:pt>
                <c:pt idx="842">
                  <c:v>37788</c:v>
                </c:pt>
                <c:pt idx="843">
                  <c:v>37789</c:v>
                </c:pt>
                <c:pt idx="844">
                  <c:v>37790</c:v>
                </c:pt>
                <c:pt idx="845">
                  <c:v>37791</c:v>
                </c:pt>
                <c:pt idx="846">
                  <c:v>37792</c:v>
                </c:pt>
                <c:pt idx="847">
                  <c:v>37795</c:v>
                </c:pt>
                <c:pt idx="848">
                  <c:v>37796</c:v>
                </c:pt>
                <c:pt idx="849">
                  <c:v>37797</c:v>
                </c:pt>
                <c:pt idx="850">
                  <c:v>37798</c:v>
                </c:pt>
                <c:pt idx="851">
                  <c:v>37799</c:v>
                </c:pt>
                <c:pt idx="852">
                  <c:v>37802</c:v>
                </c:pt>
                <c:pt idx="853">
                  <c:v>37803</c:v>
                </c:pt>
                <c:pt idx="854">
                  <c:v>37804</c:v>
                </c:pt>
                <c:pt idx="855">
                  <c:v>37805</c:v>
                </c:pt>
                <c:pt idx="856">
                  <c:v>37806</c:v>
                </c:pt>
                <c:pt idx="857">
                  <c:v>37809</c:v>
                </c:pt>
                <c:pt idx="858">
                  <c:v>37810</c:v>
                </c:pt>
                <c:pt idx="859">
                  <c:v>37811</c:v>
                </c:pt>
                <c:pt idx="860">
                  <c:v>37812</c:v>
                </c:pt>
                <c:pt idx="861">
                  <c:v>37813</c:v>
                </c:pt>
                <c:pt idx="862">
                  <c:v>37816</c:v>
                </c:pt>
                <c:pt idx="863">
                  <c:v>37817</c:v>
                </c:pt>
                <c:pt idx="864">
                  <c:v>37818</c:v>
                </c:pt>
                <c:pt idx="865">
                  <c:v>37819</c:v>
                </c:pt>
                <c:pt idx="866">
                  <c:v>37820</c:v>
                </c:pt>
                <c:pt idx="867">
                  <c:v>37823</c:v>
                </c:pt>
                <c:pt idx="868">
                  <c:v>37824</c:v>
                </c:pt>
                <c:pt idx="869">
                  <c:v>37825</c:v>
                </c:pt>
                <c:pt idx="870">
                  <c:v>37826</c:v>
                </c:pt>
                <c:pt idx="871">
                  <c:v>37827</c:v>
                </c:pt>
                <c:pt idx="872">
                  <c:v>37830</c:v>
                </c:pt>
                <c:pt idx="873">
                  <c:v>37831</c:v>
                </c:pt>
                <c:pt idx="874">
                  <c:v>37832</c:v>
                </c:pt>
                <c:pt idx="875">
                  <c:v>37833</c:v>
                </c:pt>
                <c:pt idx="876">
                  <c:v>37834</c:v>
                </c:pt>
                <c:pt idx="877">
                  <c:v>37837</c:v>
                </c:pt>
                <c:pt idx="878">
                  <c:v>37838</c:v>
                </c:pt>
                <c:pt idx="879">
                  <c:v>37839</c:v>
                </c:pt>
                <c:pt idx="880">
                  <c:v>37840</c:v>
                </c:pt>
                <c:pt idx="881">
                  <c:v>37841</c:v>
                </c:pt>
                <c:pt idx="882">
                  <c:v>37844</c:v>
                </c:pt>
                <c:pt idx="883">
                  <c:v>37845</c:v>
                </c:pt>
                <c:pt idx="884">
                  <c:v>37846</c:v>
                </c:pt>
                <c:pt idx="885">
                  <c:v>37847</c:v>
                </c:pt>
                <c:pt idx="886">
                  <c:v>37848</c:v>
                </c:pt>
                <c:pt idx="887">
                  <c:v>37851</c:v>
                </c:pt>
                <c:pt idx="888">
                  <c:v>37852</c:v>
                </c:pt>
                <c:pt idx="889">
                  <c:v>37853</c:v>
                </c:pt>
                <c:pt idx="890">
                  <c:v>37854</c:v>
                </c:pt>
                <c:pt idx="891">
                  <c:v>37855</c:v>
                </c:pt>
                <c:pt idx="892">
                  <c:v>37858</c:v>
                </c:pt>
                <c:pt idx="893">
                  <c:v>37859</c:v>
                </c:pt>
                <c:pt idx="894">
                  <c:v>37860</c:v>
                </c:pt>
                <c:pt idx="895">
                  <c:v>37861</c:v>
                </c:pt>
                <c:pt idx="896">
                  <c:v>37862</c:v>
                </c:pt>
                <c:pt idx="897">
                  <c:v>37865</c:v>
                </c:pt>
                <c:pt idx="898">
                  <c:v>37866</c:v>
                </c:pt>
                <c:pt idx="899">
                  <c:v>37867</c:v>
                </c:pt>
                <c:pt idx="900">
                  <c:v>37868</c:v>
                </c:pt>
                <c:pt idx="901">
                  <c:v>37869</c:v>
                </c:pt>
                <c:pt idx="902">
                  <c:v>37872</c:v>
                </c:pt>
                <c:pt idx="903">
                  <c:v>37873</c:v>
                </c:pt>
                <c:pt idx="904">
                  <c:v>37874</c:v>
                </c:pt>
                <c:pt idx="905">
                  <c:v>37875</c:v>
                </c:pt>
                <c:pt idx="906">
                  <c:v>37876</c:v>
                </c:pt>
                <c:pt idx="907">
                  <c:v>37879</c:v>
                </c:pt>
                <c:pt idx="908">
                  <c:v>37880</c:v>
                </c:pt>
                <c:pt idx="909">
                  <c:v>37881</c:v>
                </c:pt>
                <c:pt idx="910">
                  <c:v>37882</c:v>
                </c:pt>
                <c:pt idx="911">
                  <c:v>37883</c:v>
                </c:pt>
                <c:pt idx="912">
                  <c:v>37886</c:v>
                </c:pt>
                <c:pt idx="913">
                  <c:v>37887</c:v>
                </c:pt>
                <c:pt idx="914">
                  <c:v>37888</c:v>
                </c:pt>
                <c:pt idx="915">
                  <c:v>37889</c:v>
                </c:pt>
                <c:pt idx="916">
                  <c:v>37890</c:v>
                </c:pt>
                <c:pt idx="917">
                  <c:v>37893</c:v>
                </c:pt>
                <c:pt idx="918">
                  <c:v>37894</c:v>
                </c:pt>
                <c:pt idx="919">
                  <c:v>37895</c:v>
                </c:pt>
                <c:pt idx="920">
                  <c:v>37896</c:v>
                </c:pt>
                <c:pt idx="921">
                  <c:v>37897</c:v>
                </c:pt>
                <c:pt idx="922">
                  <c:v>37900</c:v>
                </c:pt>
                <c:pt idx="923">
                  <c:v>37901</c:v>
                </c:pt>
                <c:pt idx="924">
                  <c:v>37902</c:v>
                </c:pt>
                <c:pt idx="925">
                  <c:v>37903</c:v>
                </c:pt>
                <c:pt idx="926">
                  <c:v>37904</c:v>
                </c:pt>
                <c:pt idx="927">
                  <c:v>37907</c:v>
                </c:pt>
                <c:pt idx="928">
                  <c:v>37908</c:v>
                </c:pt>
                <c:pt idx="929">
                  <c:v>37909</c:v>
                </c:pt>
                <c:pt idx="930">
                  <c:v>37910</c:v>
                </c:pt>
                <c:pt idx="931">
                  <c:v>37911</c:v>
                </c:pt>
                <c:pt idx="932">
                  <c:v>37914</c:v>
                </c:pt>
                <c:pt idx="933">
                  <c:v>37915</c:v>
                </c:pt>
                <c:pt idx="934">
                  <c:v>37916</c:v>
                </c:pt>
                <c:pt idx="935">
                  <c:v>37917</c:v>
                </c:pt>
                <c:pt idx="936">
                  <c:v>37918</c:v>
                </c:pt>
                <c:pt idx="937">
                  <c:v>37921</c:v>
                </c:pt>
                <c:pt idx="938">
                  <c:v>37922</c:v>
                </c:pt>
                <c:pt idx="939">
                  <c:v>37923</c:v>
                </c:pt>
                <c:pt idx="940">
                  <c:v>37924</c:v>
                </c:pt>
                <c:pt idx="941">
                  <c:v>37925</c:v>
                </c:pt>
                <c:pt idx="942">
                  <c:v>37928</c:v>
                </c:pt>
                <c:pt idx="943">
                  <c:v>37929</c:v>
                </c:pt>
                <c:pt idx="944">
                  <c:v>37930</c:v>
                </c:pt>
                <c:pt idx="945">
                  <c:v>37931</c:v>
                </c:pt>
                <c:pt idx="946">
                  <c:v>37932</c:v>
                </c:pt>
                <c:pt idx="947">
                  <c:v>37935</c:v>
                </c:pt>
                <c:pt idx="948">
                  <c:v>37936</c:v>
                </c:pt>
                <c:pt idx="949">
                  <c:v>37937</c:v>
                </c:pt>
                <c:pt idx="950">
                  <c:v>37938</c:v>
                </c:pt>
                <c:pt idx="951">
                  <c:v>37939</c:v>
                </c:pt>
                <c:pt idx="952">
                  <c:v>37942</c:v>
                </c:pt>
                <c:pt idx="953">
                  <c:v>37943</c:v>
                </c:pt>
                <c:pt idx="954">
                  <c:v>37944</c:v>
                </c:pt>
                <c:pt idx="955">
                  <c:v>37945</c:v>
                </c:pt>
                <c:pt idx="956">
                  <c:v>37946</c:v>
                </c:pt>
                <c:pt idx="957">
                  <c:v>37949</c:v>
                </c:pt>
                <c:pt idx="958">
                  <c:v>37950</c:v>
                </c:pt>
                <c:pt idx="959">
                  <c:v>37951</c:v>
                </c:pt>
                <c:pt idx="960">
                  <c:v>37952</c:v>
                </c:pt>
                <c:pt idx="961">
                  <c:v>37953</c:v>
                </c:pt>
                <c:pt idx="962">
                  <c:v>37956</c:v>
                </c:pt>
                <c:pt idx="963">
                  <c:v>37957</c:v>
                </c:pt>
                <c:pt idx="964">
                  <c:v>37958</c:v>
                </c:pt>
                <c:pt idx="965">
                  <c:v>37959</c:v>
                </c:pt>
                <c:pt idx="966">
                  <c:v>37960</c:v>
                </c:pt>
                <c:pt idx="967">
                  <c:v>37963</c:v>
                </c:pt>
                <c:pt idx="968">
                  <c:v>37964</c:v>
                </c:pt>
                <c:pt idx="969">
                  <c:v>37965</c:v>
                </c:pt>
                <c:pt idx="970">
                  <c:v>37966</c:v>
                </c:pt>
                <c:pt idx="971">
                  <c:v>37967</c:v>
                </c:pt>
                <c:pt idx="972">
                  <c:v>37970</c:v>
                </c:pt>
                <c:pt idx="973">
                  <c:v>37971</c:v>
                </c:pt>
                <c:pt idx="974">
                  <c:v>37972</c:v>
                </c:pt>
                <c:pt idx="975">
                  <c:v>37973</c:v>
                </c:pt>
                <c:pt idx="976">
                  <c:v>37974</c:v>
                </c:pt>
                <c:pt idx="977">
                  <c:v>37977</c:v>
                </c:pt>
                <c:pt idx="978">
                  <c:v>37978</c:v>
                </c:pt>
                <c:pt idx="979">
                  <c:v>37979</c:v>
                </c:pt>
                <c:pt idx="980">
                  <c:v>37984</c:v>
                </c:pt>
                <c:pt idx="981">
                  <c:v>37985</c:v>
                </c:pt>
                <c:pt idx="982">
                  <c:v>37986</c:v>
                </c:pt>
                <c:pt idx="983">
                  <c:v>37987</c:v>
                </c:pt>
                <c:pt idx="984">
                  <c:v>37988</c:v>
                </c:pt>
                <c:pt idx="985">
                  <c:v>37991</c:v>
                </c:pt>
                <c:pt idx="986">
                  <c:v>37992</c:v>
                </c:pt>
                <c:pt idx="987">
                  <c:v>37993</c:v>
                </c:pt>
                <c:pt idx="988">
                  <c:v>37994</c:v>
                </c:pt>
                <c:pt idx="989">
                  <c:v>37995</c:v>
                </c:pt>
                <c:pt idx="990">
                  <c:v>37998</c:v>
                </c:pt>
                <c:pt idx="991">
                  <c:v>37999</c:v>
                </c:pt>
                <c:pt idx="992">
                  <c:v>38000</c:v>
                </c:pt>
                <c:pt idx="993">
                  <c:v>38001</c:v>
                </c:pt>
                <c:pt idx="994">
                  <c:v>38002</c:v>
                </c:pt>
                <c:pt idx="995">
                  <c:v>38005</c:v>
                </c:pt>
                <c:pt idx="996">
                  <c:v>38006</c:v>
                </c:pt>
                <c:pt idx="997">
                  <c:v>38007</c:v>
                </c:pt>
                <c:pt idx="998">
                  <c:v>38008</c:v>
                </c:pt>
                <c:pt idx="999">
                  <c:v>38009</c:v>
                </c:pt>
                <c:pt idx="1000">
                  <c:v>38012</c:v>
                </c:pt>
                <c:pt idx="1001">
                  <c:v>38013</c:v>
                </c:pt>
                <c:pt idx="1002">
                  <c:v>38014</c:v>
                </c:pt>
                <c:pt idx="1003">
                  <c:v>38015</c:v>
                </c:pt>
                <c:pt idx="1004">
                  <c:v>38016</c:v>
                </c:pt>
                <c:pt idx="1005">
                  <c:v>38019</c:v>
                </c:pt>
                <c:pt idx="1006">
                  <c:v>38020</c:v>
                </c:pt>
                <c:pt idx="1007">
                  <c:v>38021</c:v>
                </c:pt>
                <c:pt idx="1008">
                  <c:v>38022</c:v>
                </c:pt>
                <c:pt idx="1009">
                  <c:v>38023</c:v>
                </c:pt>
                <c:pt idx="1010">
                  <c:v>38026</c:v>
                </c:pt>
                <c:pt idx="1011">
                  <c:v>38027</c:v>
                </c:pt>
                <c:pt idx="1012">
                  <c:v>38028</c:v>
                </c:pt>
                <c:pt idx="1013">
                  <c:v>38029</c:v>
                </c:pt>
                <c:pt idx="1014">
                  <c:v>38030</c:v>
                </c:pt>
                <c:pt idx="1015">
                  <c:v>38033</c:v>
                </c:pt>
                <c:pt idx="1016">
                  <c:v>38034</c:v>
                </c:pt>
                <c:pt idx="1017">
                  <c:v>38035</c:v>
                </c:pt>
                <c:pt idx="1018">
                  <c:v>38036</c:v>
                </c:pt>
                <c:pt idx="1019">
                  <c:v>38037</c:v>
                </c:pt>
                <c:pt idx="1020">
                  <c:v>38040</c:v>
                </c:pt>
                <c:pt idx="1021">
                  <c:v>38041</c:v>
                </c:pt>
                <c:pt idx="1022">
                  <c:v>38042</c:v>
                </c:pt>
                <c:pt idx="1023">
                  <c:v>38043</c:v>
                </c:pt>
                <c:pt idx="1024">
                  <c:v>38044</c:v>
                </c:pt>
                <c:pt idx="1025">
                  <c:v>38047</c:v>
                </c:pt>
                <c:pt idx="1026">
                  <c:v>38048</c:v>
                </c:pt>
                <c:pt idx="1027">
                  <c:v>38049</c:v>
                </c:pt>
                <c:pt idx="1028">
                  <c:v>38050</c:v>
                </c:pt>
                <c:pt idx="1029">
                  <c:v>38051</c:v>
                </c:pt>
                <c:pt idx="1030">
                  <c:v>38054</c:v>
                </c:pt>
                <c:pt idx="1031">
                  <c:v>38055</c:v>
                </c:pt>
                <c:pt idx="1032">
                  <c:v>38056</c:v>
                </c:pt>
                <c:pt idx="1033">
                  <c:v>38057</c:v>
                </c:pt>
                <c:pt idx="1034">
                  <c:v>38058</c:v>
                </c:pt>
                <c:pt idx="1035">
                  <c:v>38061</c:v>
                </c:pt>
                <c:pt idx="1036">
                  <c:v>38062</c:v>
                </c:pt>
                <c:pt idx="1037">
                  <c:v>38063</c:v>
                </c:pt>
                <c:pt idx="1038">
                  <c:v>38064</c:v>
                </c:pt>
                <c:pt idx="1039">
                  <c:v>38065</c:v>
                </c:pt>
                <c:pt idx="1040">
                  <c:v>38068</c:v>
                </c:pt>
                <c:pt idx="1041">
                  <c:v>38069</c:v>
                </c:pt>
                <c:pt idx="1042">
                  <c:v>38070</c:v>
                </c:pt>
                <c:pt idx="1043">
                  <c:v>38071</c:v>
                </c:pt>
                <c:pt idx="1044">
                  <c:v>38072</c:v>
                </c:pt>
                <c:pt idx="1045">
                  <c:v>38075</c:v>
                </c:pt>
                <c:pt idx="1046">
                  <c:v>38076</c:v>
                </c:pt>
                <c:pt idx="1047">
                  <c:v>38077</c:v>
                </c:pt>
                <c:pt idx="1048">
                  <c:v>38078</c:v>
                </c:pt>
                <c:pt idx="1049">
                  <c:v>38079</c:v>
                </c:pt>
                <c:pt idx="1050">
                  <c:v>38082</c:v>
                </c:pt>
                <c:pt idx="1051">
                  <c:v>38083</c:v>
                </c:pt>
                <c:pt idx="1052">
                  <c:v>38084</c:v>
                </c:pt>
                <c:pt idx="1053">
                  <c:v>38085</c:v>
                </c:pt>
                <c:pt idx="1054">
                  <c:v>38090</c:v>
                </c:pt>
                <c:pt idx="1055">
                  <c:v>38091</c:v>
                </c:pt>
                <c:pt idx="1056">
                  <c:v>38092</c:v>
                </c:pt>
                <c:pt idx="1057">
                  <c:v>38093</c:v>
                </c:pt>
                <c:pt idx="1058">
                  <c:v>38096</c:v>
                </c:pt>
                <c:pt idx="1059">
                  <c:v>38097</c:v>
                </c:pt>
                <c:pt idx="1060">
                  <c:v>38098</c:v>
                </c:pt>
                <c:pt idx="1061">
                  <c:v>38099</c:v>
                </c:pt>
                <c:pt idx="1062">
                  <c:v>38100</c:v>
                </c:pt>
                <c:pt idx="1063">
                  <c:v>38103</c:v>
                </c:pt>
                <c:pt idx="1064">
                  <c:v>38104</c:v>
                </c:pt>
                <c:pt idx="1065">
                  <c:v>38105</c:v>
                </c:pt>
                <c:pt idx="1066">
                  <c:v>38106</c:v>
                </c:pt>
                <c:pt idx="1067">
                  <c:v>38107</c:v>
                </c:pt>
                <c:pt idx="1068">
                  <c:v>38110</c:v>
                </c:pt>
                <c:pt idx="1069">
                  <c:v>38111</c:v>
                </c:pt>
                <c:pt idx="1070">
                  <c:v>38112</c:v>
                </c:pt>
                <c:pt idx="1071">
                  <c:v>38113</c:v>
                </c:pt>
                <c:pt idx="1072">
                  <c:v>38114</c:v>
                </c:pt>
                <c:pt idx="1073">
                  <c:v>38117</c:v>
                </c:pt>
                <c:pt idx="1074">
                  <c:v>38118</c:v>
                </c:pt>
                <c:pt idx="1075">
                  <c:v>38119</c:v>
                </c:pt>
                <c:pt idx="1076">
                  <c:v>38120</c:v>
                </c:pt>
                <c:pt idx="1077">
                  <c:v>38121</c:v>
                </c:pt>
                <c:pt idx="1078">
                  <c:v>38124</c:v>
                </c:pt>
                <c:pt idx="1079">
                  <c:v>38125</c:v>
                </c:pt>
                <c:pt idx="1080">
                  <c:v>38126</c:v>
                </c:pt>
                <c:pt idx="1081">
                  <c:v>38127</c:v>
                </c:pt>
                <c:pt idx="1082">
                  <c:v>38128</c:v>
                </c:pt>
                <c:pt idx="1083">
                  <c:v>38131</c:v>
                </c:pt>
                <c:pt idx="1084">
                  <c:v>38132</c:v>
                </c:pt>
                <c:pt idx="1085">
                  <c:v>38133</c:v>
                </c:pt>
                <c:pt idx="1086">
                  <c:v>38134</c:v>
                </c:pt>
                <c:pt idx="1087">
                  <c:v>38135</c:v>
                </c:pt>
                <c:pt idx="1088">
                  <c:v>38138</c:v>
                </c:pt>
                <c:pt idx="1089">
                  <c:v>38139</c:v>
                </c:pt>
                <c:pt idx="1090">
                  <c:v>38140</c:v>
                </c:pt>
                <c:pt idx="1091">
                  <c:v>38141</c:v>
                </c:pt>
                <c:pt idx="1092">
                  <c:v>38142</c:v>
                </c:pt>
                <c:pt idx="1093">
                  <c:v>38145</c:v>
                </c:pt>
                <c:pt idx="1094">
                  <c:v>38146</c:v>
                </c:pt>
                <c:pt idx="1095">
                  <c:v>38147</c:v>
                </c:pt>
                <c:pt idx="1096">
                  <c:v>38148</c:v>
                </c:pt>
                <c:pt idx="1097">
                  <c:v>38149</c:v>
                </c:pt>
                <c:pt idx="1098">
                  <c:v>38152</c:v>
                </c:pt>
                <c:pt idx="1099">
                  <c:v>38153</c:v>
                </c:pt>
                <c:pt idx="1100">
                  <c:v>38154</c:v>
                </c:pt>
                <c:pt idx="1101">
                  <c:v>38155</c:v>
                </c:pt>
                <c:pt idx="1102">
                  <c:v>38156</c:v>
                </c:pt>
                <c:pt idx="1103">
                  <c:v>38159</c:v>
                </c:pt>
                <c:pt idx="1104">
                  <c:v>38160</c:v>
                </c:pt>
                <c:pt idx="1105">
                  <c:v>38161</c:v>
                </c:pt>
                <c:pt idx="1106">
                  <c:v>38162</c:v>
                </c:pt>
                <c:pt idx="1107">
                  <c:v>38163</c:v>
                </c:pt>
                <c:pt idx="1108">
                  <c:v>38166</c:v>
                </c:pt>
                <c:pt idx="1109">
                  <c:v>38167</c:v>
                </c:pt>
                <c:pt idx="1110">
                  <c:v>38168</c:v>
                </c:pt>
                <c:pt idx="1111">
                  <c:v>38169</c:v>
                </c:pt>
                <c:pt idx="1112">
                  <c:v>38170</c:v>
                </c:pt>
                <c:pt idx="1113">
                  <c:v>38173</c:v>
                </c:pt>
                <c:pt idx="1114">
                  <c:v>38174</c:v>
                </c:pt>
                <c:pt idx="1115">
                  <c:v>38175</c:v>
                </c:pt>
                <c:pt idx="1116">
                  <c:v>38176</c:v>
                </c:pt>
                <c:pt idx="1117">
                  <c:v>38177</c:v>
                </c:pt>
                <c:pt idx="1118">
                  <c:v>38180</c:v>
                </c:pt>
                <c:pt idx="1119">
                  <c:v>38181</c:v>
                </c:pt>
                <c:pt idx="1120">
                  <c:v>38182</c:v>
                </c:pt>
                <c:pt idx="1121">
                  <c:v>38183</c:v>
                </c:pt>
                <c:pt idx="1122">
                  <c:v>38184</c:v>
                </c:pt>
                <c:pt idx="1123">
                  <c:v>38187</c:v>
                </c:pt>
                <c:pt idx="1124">
                  <c:v>38188</c:v>
                </c:pt>
                <c:pt idx="1125">
                  <c:v>38189</c:v>
                </c:pt>
                <c:pt idx="1126">
                  <c:v>38190</c:v>
                </c:pt>
                <c:pt idx="1127">
                  <c:v>38191</c:v>
                </c:pt>
                <c:pt idx="1128">
                  <c:v>38194</c:v>
                </c:pt>
                <c:pt idx="1129">
                  <c:v>38195</c:v>
                </c:pt>
                <c:pt idx="1130">
                  <c:v>38196</c:v>
                </c:pt>
                <c:pt idx="1131">
                  <c:v>38197</c:v>
                </c:pt>
                <c:pt idx="1132">
                  <c:v>38198</c:v>
                </c:pt>
                <c:pt idx="1133">
                  <c:v>38201</c:v>
                </c:pt>
                <c:pt idx="1134">
                  <c:v>38202</c:v>
                </c:pt>
                <c:pt idx="1135">
                  <c:v>38203</c:v>
                </c:pt>
                <c:pt idx="1136">
                  <c:v>38204</c:v>
                </c:pt>
                <c:pt idx="1137">
                  <c:v>38205</c:v>
                </c:pt>
                <c:pt idx="1138">
                  <c:v>38208</c:v>
                </c:pt>
                <c:pt idx="1139">
                  <c:v>38209</c:v>
                </c:pt>
                <c:pt idx="1140">
                  <c:v>38210</c:v>
                </c:pt>
                <c:pt idx="1141">
                  <c:v>38211</c:v>
                </c:pt>
                <c:pt idx="1142">
                  <c:v>38212</c:v>
                </c:pt>
                <c:pt idx="1143">
                  <c:v>38215</c:v>
                </c:pt>
                <c:pt idx="1144">
                  <c:v>38216</c:v>
                </c:pt>
                <c:pt idx="1145">
                  <c:v>38217</c:v>
                </c:pt>
                <c:pt idx="1146">
                  <c:v>38218</c:v>
                </c:pt>
                <c:pt idx="1147">
                  <c:v>38219</c:v>
                </c:pt>
                <c:pt idx="1148">
                  <c:v>38222</c:v>
                </c:pt>
                <c:pt idx="1149">
                  <c:v>38223</c:v>
                </c:pt>
                <c:pt idx="1150">
                  <c:v>38224</c:v>
                </c:pt>
                <c:pt idx="1151">
                  <c:v>38225</c:v>
                </c:pt>
                <c:pt idx="1152">
                  <c:v>38226</c:v>
                </c:pt>
                <c:pt idx="1153">
                  <c:v>38229</c:v>
                </c:pt>
                <c:pt idx="1154">
                  <c:v>38230</c:v>
                </c:pt>
                <c:pt idx="1155">
                  <c:v>38231</c:v>
                </c:pt>
                <c:pt idx="1156">
                  <c:v>38232</c:v>
                </c:pt>
                <c:pt idx="1157">
                  <c:v>38233</c:v>
                </c:pt>
                <c:pt idx="1158">
                  <c:v>38236</c:v>
                </c:pt>
                <c:pt idx="1159">
                  <c:v>38237</c:v>
                </c:pt>
                <c:pt idx="1160">
                  <c:v>38238</c:v>
                </c:pt>
                <c:pt idx="1161">
                  <c:v>38239</c:v>
                </c:pt>
                <c:pt idx="1162">
                  <c:v>38240</c:v>
                </c:pt>
                <c:pt idx="1163">
                  <c:v>38243</c:v>
                </c:pt>
                <c:pt idx="1164">
                  <c:v>38244</c:v>
                </c:pt>
                <c:pt idx="1165">
                  <c:v>38245</c:v>
                </c:pt>
                <c:pt idx="1166">
                  <c:v>38246</c:v>
                </c:pt>
                <c:pt idx="1167">
                  <c:v>38247</c:v>
                </c:pt>
                <c:pt idx="1168">
                  <c:v>38250</c:v>
                </c:pt>
                <c:pt idx="1169">
                  <c:v>38251</c:v>
                </c:pt>
                <c:pt idx="1170">
                  <c:v>38252</c:v>
                </c:pt>
                <c:pt idx="1171">
                  <c:v>38253</c:v>
                </c:pt>
                <c:pt idx="1172">
                  <c:v>38254</c:v>
                </c:pt>
                <c:pt idx="1173">
                  <c:v>38257</c:v>
                </c:pt>
                <c:pt idx="1174">
                  <c:v>38258</c:v>
                </c:pt>
                <c:pt idx="1175">
                  <c:v>38259</c:v>
                </c:pt>
                <c:pt idx="1176">
                  <c:v>38260</c:v>
                </c:pt>
                <c:pt idx="1177">
                  <c:v>38261</c:v>
                </c:pt>
                <c:pt idx="1178">
                  <c:v>38264</c:v>
                </c:pt>
                <c:pt idx="1179">
                  <c:v>38265</c:v>
                </c:pt>
                <c:pt idx="1180">
                  <c:v>38266</c:v>
                </c:pt>
                <c:pt idx="1181">
                  <c:v>38267</c:v>
                </c:pt>
                <c:pt idx="1182">
                  <c:v>38268</c:v>
                </c:pt>
                <c:pt idx="1183">
                  <c:v>38271</c:v>
                </c:pt>
                <c:pt idx="1184">
                  <c:v>38272</c:v>
                </c:pt>
                <c:pt idx="1185">
                  <c:v>38273</c:v>
                </c:pt>
                <c:pt idx="1186">
                  <c:v>38274</c:v>
                </c:pt>
                <c:pt idx="1187">
                  <c:v>38275</c:v>
                </c:pt>
                <c:pt idx="1188">
                  <c:v>38278</c:v>
                </c:pt>
                <c:pt idx="1189">
                  <c:v>38279</c:v>
                </c:pt>
                <c:pt idx="1190">
                  <c:v>38280</c:v>
                </c:pt>
                <c:pt idx="1191">
                  <c:v>38281</c:v>
                </c:pt>
                <c:pt idx="1192">
                  <c:v>38282</c:v>
                </c:pt>
                <c:pt idx="1193">
                  <c:v>38285</c:v>
                </c:pt>
                <c:pt idx="1194">
                  <c:v>38286</c:v>
                </c:pt>
                <c:pt idx="1195">
                  <c:v>38287</c:v>
                </c:pt>
                <c:pt idx="1196">
                  <c:v>38288</c:v>
                </c:pt>
                <c:pt idx="1197">
                  <c:v>38289</c:v>
                </c:pt>
                <c:pt idx="1198">
                  <c:v>38292</c:v>
                </c:pt>
                <c:pt idx="1199">
                  <c:v>38293</c:v>
                </c:pt>
                <c:pt idx="1200">
                  <c:v>38294</c:v>
                </c:pt>
                <c:pt idx="1201">
                  <c:v>38295</c:v>
                </c:pt>
                <c:pt idx="1202">
                  <c:v>38296</c:v>
                </c:pt>
                <c:pt idx="1203">
                  <c:v>38299</c:v>
                </c:pt>
                <c:pt idx="1204">
                  <c:v>38300</c:v>
                </c:pt>
                <c:pt idx="1205">
                  <c:v>38301</c:v>
                </c:pt>
                <c:pt idx="1206">
                  <c:v>38302</c:v>
                </c:pt>
                <c:pt idx="1207">
                  <c:v>38303</c:v>
                </c:pt>
                <c:pt idx="1208">
                  <c:v>38306</c:v>
                </c:pt>
                <c:pt idx="1209">
                  <c:v>38307</c:v>
                </c:pt>
                <c:pt idx="1210">
                  <c:v>38308</c:v>
                </c:pt>
                <c:pt idx="1211">
                  <c:v>38309</c:v>
                </c:pt>
                <c:pt idx="1212">
                  <c:v>38310</c:v>
                </c:pt>
                <c:pt idx="1213">
                  <c:v>38313</c:v>
                </c:pt>
                <c:pt idx="1214">
                  <c:v>38314</c:v>
                </c:pt>
                <c:pt idx="1215">
                  <c:v>38315</c:v>
                </c:pt>
                <c:pt idx="1216">
                  <c:v>38316</c:v>
                </c:pt>
                <c:pt idx="1217">
                  <c:v>38317</c:v>
                </c:pt>
                <c:pt idx="1218">
                  <c:v>38320</c:v>
                </c:pt>
                <c:pt idx="1219">
                  <c:v>38321</c:v>
                </c:pt>
                <c:pt idx="1220">
                  <c:v>38322</c:v>
                </c:pt>
                <c:pt idx="1221">
                  <c:v>38323</c:v>
                </c:pt>
                <c:pt idx="1222">
                  <c:v>38324</c:v>
                </c:pt>
                <c:pt idx="1223">
                  <c:v>38327</c:v>
                </c:pt>
                <c:pt idx="1224">
                  <c:v>38328</c:v>
                </c:pt>
                <c:pt idx="1225">
                  <c:v>38329</c:v>
                </c:pt>
                <c:pt idx="1226">
                  <c:v>38330</c:v>
                </c:pt>
                <c:pt idx="1227">
                  <c:v>38331</c:v>
                </c:pt>
                <c:pt idx="1228">
                  <c:v>38334</c:v>
                </c:pt>
                <c:pt idx="1229">
                  <c:v>38335</c:v>
                </c:pt>
                <c:pt idx="1230">
                  <c:v>38336</c:v>
                </c:pt>
                <c:pt idx="1231">
                  <c:v>38337</c:v>
                </c:pt>
                <c:pt idx="1232">
                  <c:v>38338</c:v>
                </c:pt>
                <c:pt idx="1233">
                  <c:v>38341</c:v>
                </c:pt>
                <c:pt idx="1234">
                  <c:v>38342</c:v>
                </c:pt>
                <c:pt idx="1235">
                  <c:v>38343</c:v>
                </c:pt>
                <c:pt idx="1236">
                  <c:v>38344</c:v>
                </c:pt>
                <c:pt idx="1237">
                  <c:v>38345</c:v>
                </c:pt>
                <c:pt idx="1238">
                  <c:v>38348</c:v>
                </c:pt>
                <c:pt idx="1239">
                  <c:v>38349</c:v>
                </c:pt>
                <c:pt idx="1240">
                  <c:v>38350</c:v>
                </c:pt>
                <c:pt idx="1241">
                  <c:v>38351</c:v>
                </c:pt>
                <c:pt idx="1242">
                  <c:v>38352</c:v>
                </c:pt>
                <c:pt idx="1243">
                  <c:v>38355</c:v>
                </c:pt>
                <c:pt idx="1244">
                  <c:v>38356</c:v>
                </c:pt>
                <c:pt idx="1245">
                  <c:v>38357</c:v>
                </c:pt>
                <c:pt idx="1246">
                  <c:v>38358</c:v>
                </c:pt>
                <c:pt idx="1247">
                  <c:v>38359</c:v>
                </c:pt>
                <c:pt idx="1248">
                  <c:v>38362</c:v>
                </c:pt>
                <c:pt idx="1249">
                  <c:v>38363</c:v>
                </c:pt>
                <c:pt idx="1250">
                  <c:v>38364</c:v>
                </c:pt>
                <c:pt idx="1251">
                  <c:v>38365</c:v>
                </c:pt>
                <c:pt idx="1252">
                  <c:v>38366</c:v>
                </c:pt>
                <c:pt idx="1253">
                  <c:v>38369</c:v>
                </c:pt>
                <c:pt idx="1254">
                  <c:v>38370</c:v>
                </c:pt>
                <c:pt idx="1255">
                  <c:v>38371</c:v>
                </c:pt>
                <c:pt idx="1256">
                  <c:v>38372</c:v>
                </c:pt>
                <c:pt idx="1257">
                  <c:v>38373</c:v>
                </c:pt>
                <c:pt idx="1258">
                  <c:v>38376</c:v>
                </c:pt>
                <c:pt idx="1259">
                  <c:v>38377</c:v>
                </c:pt>
                <c:pt idx="1260">
                  <c:v>38378</c:v>
                </c:pt>
                <c:pt idx="1261">
                  <c:v>38379</c:v>
                </c:pt>
                <c:pt idx="1262">
                  <c:v>38380</c:v>
                </c:pt>
                <c:pt idx="1263">
                  <c:v>38383</c:v>
                </c:pt>
                <c:pt idx="1264">
                  <c:v>38384</c:v>
                </c:pt>
                <c:pt idx="1265">
                  <c:v>38385</c:v>
                </c:pt>
                <c:pt idx="1266">
                  <c:v>38386</c:v>
                </c:pt>
                <c:pt idx="1267">
                  <c:v>38387</c:v>
                </c:pt>
                <c:pt idx="1268">
                  <c:v>38390</c:v>
                </c:pt>
                <c:pt idx="1269">
                  <c:v>38391</c:v>
                </c:pt>
                <c:pt idx="1270">
                  <c:v>38392</c:v>
                </c:pt>
                <c:pt idx="1271">
                  <c:v>38393</c:v>
                </c:pt>
                <c:pt idx="1272">
                  <c:v>38394</c:v>
                </c:pt>
                <c:pt idx="1273">
                  <c:v>38397</c:v>
                </c:pt>
                <c:pt idx="1274">
                  <c:v>38398</c:v>
                </c:pt>
                <c:pt idx="1275">
                  <c:v>38399</c:v>
                </c:pt>
                <c:pt idx="1276">
                  <c:v>38400</c:v>
                </c:pt>
                <c:pt idx="1277">
                  <c:v>38401</c:v>
                </c:pt>
                <c:pt idx="1278">
                  <c:v>38404</c:v>
                </c:pt>
                <c:pt idx="1279">
                  <c:v>38405</c:v>
                </c:pt>
                <c:pt idx="1280">
                  <c:v>38406</c:v>
                </c:pt>
                <c:pt idx="1281">
                  <c:v>38407</c:v>
                </c:pt>
                <c:pt idx="1282">
                  <c:v>38408</c:v>
                </c:pt>
                <c:pt idx="1283">
                  <c:v>38411</c:v>
                </c:pt>
                <c:pt idx="1284">
                  <c:v>38412</c:v>
                </c:pt>
                <c:pt idx="1285">
                  <c:v>38413</c:v>
                </c:pt>
                <c:pt idx="1286">
                  <c:v>38414</c:v>
                </c:pt>
                <c:pt idx="1287">
                  <c:v>38415</c:v>
                </c:pt>
                <c:pt idx="1288">
                  <c:v>38418</c:v>
                </c:pt>
                <c:pt idx="1289">
                  <c:v>38419</c:v>
                </c:pt>
                <c:pt idx="1290">
                  <c:v>38420</c:v>
                </c:pt>
                <c:pt idx="1291">
                  <c:v>38421</c:v>
                </c:pt>
                <c:pt idx="1292">
                  <c:v>38422</c:v>
                </c:pt>
                <c:pt idx="1293">
                  <c:v>38425</c:v>
                </c:pt>
                <c:pt idx="1294">
                  <c:v>38426</c:v>
                </c:pt>
                <c:pt idx="1295">
                  <c:v>38427</c:v>
                </c:pt>
                <c:pt idx="1296">
                  <c:v>38428</c:v>
                </c:pt>
                <c:pt idx="1297">
                  <c:v>38429</c:v>
                </c:pt>
                <c:pt idx="1298">
                  <c:v>38432</c:v>
                </c:pt>
                <c:pt idx="1299">
                  <c:v>38433</c:v>
                </c:pt>
                <c:pt idx="1300">
                  <c:v>38434</c:v>
                </c:pt>
                <c:pt idx="1301">
                  <c:v>38435</c:v>
                </c:pt>
                <c:pt idx="1302">
                  <c:v>38436</c:v>
                </c:pt>
                <c:pt idx="1303">
                  <c:v>38439</c:v>
                </c:pt>
                <c:pt idx="1304">
                  <c:v>38440</c:v>
                </c:pt>
                <c:pt idx="1305">
                  <c:v>38441</c:v>
                </c:pt>
                <c:pt idx="1306">
                  <c:v>38442</c:v>
                </c:pt>
                <c:pt idx="1307">
                  <c:v>38443</c:v>
                </c:pt>
                <c:pt idx="1308">
                  <c:v>38446</c:v>
                </c:pt>
                <c:pt idx="1309">
                  <c:v>38447</c:v>
                </c:pt>
                <c:pt idx="1310">
                  <c:v>38448</c:v>
                </c:pt>
                <c:pt idx="1311">
                  <c:v>38449</c:v>
                </c:pt>
                <c:pt idx="1312">
                  <c:v>38450</c:v>
                </c:pt>
                <c:pt idx="1313">
                  <c:v>38453</c:v>
                </c:pt>
                <c:pt idx="1314">
                  <c:v>38454</c:v>
                </c:pt>
                <c:pt idx="1315">
                  <c:v>38455</c:v>
                </c:pt>
                <c:pt idx="1316">
                  <c:v>38456</c:v>
                </c:pt>
                <c:pt idx="1317">
                  <c:v>38457</c:v>
                </c:pt>
                <c:pt idx="1318">
                  <c:v>38460</c:v>
                </c:pt>
                <c:pt idx="1319">
                  <c:v>38461</c:v>
                </c:pt>
                <c:pt idx="1320">
                  <c:v>38462</c:v>
                </c:pt>
                <c:pt idx="1321">
                  <c:v>38463</c:v>
                </c:pt>
                <c:pt idx="1322">
                  <c:v>38464</c:v>
                </c:pt>
                <c:pt idx="1323">
                  <c:v>38467</c:v>
                </c:pt>
                <c:pt idx="1324">
                  <c:v>38468</c:v>
                </c:pt>
                <c:pt idx="1325">
                  <c:v>38469</c:v>
                </c:pt>
                <c:pt idx="1326">
                  <c:v>38470</c:v>
                </c:pt>
                <c:pt idx="1327">
                  <c:v>38471</c:v>
                </c:pt>
                <c:pt idx="1328">
                  <c:v>38474</c:v>
                </c:pt>
                <c:pt idx="1329">
                  <c:v>38475</c:v>
                </c:pt>
                <c:pt idx="1330">
                  <c:v>38476</c:v>
                </c:pt>
                <c:pt idx="1331">
                  <c:v>38477</c:v>
                </c:pt>
                <c:pt idx="1332">
                  <c:v>38478</c:v>
                </c:pt>
                <c:pt idx="1333">
                  <c:v>38481</c:v>
                </c:pt>
                <c:pt idx="1334">
                  <c:v>38482</c:v>
                </c:pt>
                <c:pt idx="1335">
                  <c:v>38483</c:v>
                </c:pt>
                <c:pt idx="1336">
                  <c:v>38484</c:v>
                </c:pt>
                <c:pt idx="1337">
                  <c:v>38485</c:v>
                </c:pt>
                <c:pt idx="1338">
                  <c:v>38488</c:v>
                </c:pt>
                <c:pt idx="1339">
                  <c:v>38489</c:v>
                </c:pt>
                <c:pt idx="1340">
                  <c:v>38490</c:v>
                </c:pt>
                <c:pt idx="1341">
                  <c:v>38491</c:v>
                </c:pt>
                <c:pt idx="1342">
                  <c:v>38492</c:v>
                </c:pt>
                <c:pt idx="1343">
                  <c:v>38495</c:v>
                </c:pt>
                <c:pt idx="1344">
                  <c:v>38496</c:v>
                </c:pt>
                <c:pt idx="1345">
                  <c:v>38497</c:v>
                </c:pt>
                <c:pt idx="1346">
                  <c:v>38498</c:v>
                </c:pt>
                <c:pt idx="1347">
                  <c:v>38499</c:v>
                </c:pt>
                <c:pt idx="1348">
                  <c:v>38502</c:v>
                </c:pt>
                <c:pt idx="1349">
                  <c:v>38503</c:v>
                </c:pt>
                <c:pt idx="1350">
                  <c:v>38504</c:v>
                </c:pt>
                <c:pt idx="1351">
                  <c:v>38505</c:v>
                </c:pt>
                <c:pt idx="1352">
                  <c:v>38506</c:v>
                </c:pt>
                <c:pt idx="1353">
                  <c:v>38509</c:v>
                </c:pt>
                <c:pt idx="1354">
                  <c:v>38510</c:v>
                </c:pt>
                <c:pt idx="1355">
                  <c:v>38511</c:v>
                </c:pt>
                <c:pt idx="1356">
                  <c:v>38512</c:v>
                </c:pt>
                <c:pt idx="1357">
                  <c:v>38513</c:v>
                </c:pt>
                <c:pt idx="1358">
                  <c:v>38516</c:v>
                </c:pt>
                <c:pt idx="1359">
                  <c:v>38517</c:v>
                </c:pt>
                <c:pt idx="1360">
                  <c:v>38518</c:v>
                </c:pt>
                <c:pt idx="1361">
                  <c:v>38519</c:v>
                </c:pt>
                <c:pt idx="1362">
                  <c:v>38520</c:v>
                </c:pt>
                <c:pt idx="1363">
                  <c:v>38523</c:v>
                </c:pt>
                <c:pt idx="1364">
                  <c:v>38524</c:v>
                </c:pt>
                <c:pt idx="1365">
                  <c:v>38525</c:v>
                </c:pt>
                <c:pt idx="1366">
                  <c:v>38526</c:v>
                </c:pt>
                <c:pt idx="1367">
                  <c:v>38527</c:v>
                </c:pt>
                <c:pt idx="1368">
                  <c:v>38530</c:v>
                </c:pt>
                <c:pt idx="1369">
                  <c:v>38531</c:v>
                </c:pt>
                <c:pt idx="1370">
                  <c:v>38532</c:v>
                </c:pt>
                <c:pt idx="1371">
                  <c:v>38533</c:v>
                </c:pt>
                <c:pt idx="1372">
                  <c:v>38534</c:v>
                </c:pt>
                <c:pt idx="1373">
                  <c:v>38537</c:v>
                </c:pt>
                <c:pt idx="1374">
                  <c:v>38538</c:v>
                </c:pt>
                <c:pt idx="1375">
                  <c:v>38539</c:v>
                </c:pt>
                <c:pt idx="1376">
                  <c:v>38540</c:v>
                </c:pt>
                <c:pt idx="1377">
                  <c:v>38541</c:v>
                </c:pt>
                <c:pt idx="1378">
                  <c:v>38544</c:v>
                </c:pt>
                <c:pt idx="1379">
                  <c:v>38545</c:v>
                </c:pt>
                <c:pt idx="1380">
                  <c:v>38546</c:v>
                </c:pt>
                <c:pt idx="1381">
                  <c:v>38547</c:v>
                </c:pt>
                <c:pt idx="1382">
                  <c:v>38548</c:v>
                </c:pt>
                <c:pt idx="1383">
                  <c:v>38551</c:v>
                </c:pt>
                <c:pt idx="1384">
                  <c:v>38552</c:v>
                </c:pt>
                <c:pt idx="1385">
                  <c:v>38553</c:v>
                </c:pt>
                <c:pt idx="1386">
                  <c:v>38554</c:v>
                </c:pt>
                <c:pt idx="1387">
                  <c:v>38555</c:v>
                </c:pt>
                <c:pt idx="1388">
                  <c:v>38558</c:v>
                </c:pt>
                <c:pt idx="1389">
                  <c:v>38559</c:v>
                </c:pt>
                <c:pt idx="1390">
                  <c:v>38560</c:v>
                </c:pt>
                <c:pt idx="1391">
                  <c:v>38561</c:v>
                </c:pt>
                <c:pt idx="1392">
                  <c:v>38562</c:v>
                </c:pt>
                <c:pt idx="1393">
                  <c:v>38565</c:v>
                </c:pt>
                <c:pt idx="1394">
                  <c:v>38566</c:v>
                </c:pt>
                <c:pt idx="1395">
                  <c:v>38567</c:v>
                </c:pt>
                <c:pt idx="1396">
                  <c:v>38568</c:v>
                </c:pt>
                <c:pt idx="1397">
                  <c:v>38569</c:v>
                </c:pt>
                <c:pt idx="1398">
                  <c:v>38572</c:v>
                </c:pt>
                <c:pt idx="1399">
                  <c:v>38573</c:v>
                </c:pt>
                <c:pt idx="1400">
                  <c:v>38574</c:v>
                </c:pt>
                <c:pt idx="1401">
                  <c:v>38575</c:v>
                </c:pt>
                <c:pt idx="1402">
                  <c:v>38576</c:v>
                </c:pt>
                <c:pt idx="1403">
                  <c:v>38579</c:v>
                </c:pt>
                <c:pt idx="1404">
                  <c:v>38580</c:v>
                </c:pt>
                <c:pt idx="1405">
                  <c:v>38581</c:v>
                </c:pt>
                <c:pt idx="1406">
                  <c:v>38582</c:v>
                </c:pt>
                <c:pt idx="1407">
                  <c:v>38583</c:v>
                </c:pt>
                <c:pt idx="1408">
                  <c:v>38586</c:v>
                </c:pt>
                <c:pt idx="1409">
                  <c:v>38587</c:v>
                </c:pt>
                <c:pt idx="1410">
                  <c:v>38588</c:v>
                </c:pt>
                <c:pt idx="1411">
                  <c:v>38589</c:v>
                </c:pt>
                <c:pt idx="1412">
                  <c:v>38590</c:v>
                </c:pt>
                <c:pt idx="1413">
                  <c:v>38593</c:v>
                </c:pt>
                <c:pt idx="1414">
                  <c:v>38594</c:v>
                </c:pt>
                <c:pt idx="1415">
                  <c:v>38595</c:v>
                </c:pt>
                <c:pt idx="1416">
                  <c:v>38596</c:v>
                </c:pt>
                <c:pt idx="1417">
                  <c:v>38597</c:v>
                </c:pt>
                <c:pt idx="1418">
                  <c:v>38600</c:v>
                </c:pt>
                <c:pt idx="1419">
                  <c:v>38601</c:v>
                </c:pt>
                <c:pt idx="1420">
                  <c:v>38602</c:v>
                </c:pt>
                <c:pt idx="1421">
                  <c:v>38603</c:v>
                </c:pt>
                <c:pt idx="1422">
                  <c:v>38604</c:v>
                </c:pt>
                <c:pt idx="1423">
                  <c:v>38607</c:v>
                </c:pt>
                <c:pt idx="1424">
                  <c:v>38608</c:v>
                </c:pt>
                <c:pt idx="1425">
                  <c:v>38609</c:v>
                </c:pt>
                <c:pt idx="1426">
                  <c:v>38610</c:v>
                </c:pt>
                <c:pt idx="1427">
                  <c:v>38611</c:v>
                </c:pt>
                <c:pt idx="1428">
                  <c:v>38614</c:v>
                </c:pt>
                <c:pt idx="1429">
                  <c:v>38615</c:v>
                </c:pt>
                <c:pt idx="1430">
                  <c:v>38616</c:v>
                </c:pt>
                <c:pt idx="1431">
                  <c:v>38617</c:v>
                </c:pt>
                <c:pt idx="1432">
                  <c:v>38618</c:v>
                </c:pt>
                <c:pt idx="1433">
                  <c:v>38621</c:v>
                </c:pt>
                <c:pt idx="1434">
                  <c:v>38622</c:v>
                </c:pt>
                <c:pt idx="1435">
                  <c:v>38623</c:v>
                </c:pt>
                <c:pt idx="1436">
                  <c:v>38624</c:v>
                </c:pt>
                <c:pt idx="1437">
                  <c:v>38625</c:v>
                </c:pt>
                <c:pt idx="1438">
                  <c:v>38628</c:v>
                </c:pt>
                <c:pt idx="1439">
                  <c:v>38629</c:v>
                </c:pt>
                <c:pt idx="1440">
                  <c:v>38630</c:v>
                </c:pt>
                <c:pt idx="1441">
                  <c:v>38631</c:v>
                </c:pt>
                <c:pt idx="1442">
                  <c:v>38632</c:v>
                </c:pt>
                <c:pt idx="1443">
                  <c:v>38635</c:v>
                </c:pt>
                <c:pt idx="1444">
                  <c:v>38636</c:v>
                </c:pt>
                <c:pt idx="1445">
                  <c:v>38637</c:v>
                </c:pt>
                <c:pt idx="1446">
                  <c:v>38638</c:v>
                </c:pt>
                <c:pt idx="1447">
                  <c:v>38639</c:v>
                </c:pt>
                <c:pt idx="1448">
                  <c:v>38642</c:v>
                </c:pt>
                <c:pt idx="1449">
                  <c:v>38643</c:v>
                </c:pt>
                <c:pt idx="1450">
                  <c:v>38644</c:v>
                </c:pt>
                <c:pt idx="1451">
                  <c:v>38645</c:v>
                </c:pt>
                <c:pt idx="1452">
                  <c:v>38646</c:v>
                </c:pt>
                <c:pt idx="1453">
                  <c:v>38649</c:v>
                </c:pt>
                <c:pt idx="1454">
                  <c:v>38650</c:v>
                </c:pt>
                <c:pt idx="1455">
                  <c:v>38651</c:v>
                </c:pt>
                <c:pt idx="1456">
                  <c:v>38652</c:v>
                </c:pt>
                <c:pt idx="1457">
                  <c:v>38653</c:v>
                </c:pt>
                <c:pt idx="1458">
                  <c:v>38656</c:v>
                </c:pt>
                <c:pt idx="1459">
                  <c:v>38657</c:v>
                </c:pt>
                <c:pt idx="1460">
                  <c:v>38658</c:v>
                </c:pt>
                <c:pt idx="1461">
                  <c:v>38659</c:v>
                </c:pt>
                <c:pt idx="1462">
                  <c:v>38660</c:v>
                </c:pt>
                <c:pt idx="1463">
                  <c:v>38663</c:v>
                </c:pt>
                <c:pt idx="1464">
                  <c:v>38664</c:v>
                </c:pt>
                <c:pt idx="1465">
                  <c:v>38665</c:v>
                </c:pt>
                <c:pt idx="1466">
                  <c:v>38666</c:v>
                </c:pt>
                <c:pt idx="1467">
                  <c:v>38667</c:v>
                </c:pt>
                <c:pt idx="1468">
                  <c:v>38670</c:v>
                </c:pt>
                <c:pt idx="1469">
                  <c:v>38671</c:v>
                </c:pt>
                <c:pt idx="1470">
                  <c:v>38672</c:v>
                </c:pt>
                <c:pt idx="1471">
                  <c:v>38673</c:v>
                </c:pt>
                <c:pt idx="1472">
                  <c:v>38674</c:v>
                </c:pt>
                <c:pt idx="1473">
                  <c:v>38677</c:v>
                </c:pt>
                <c:pt idx="1474">
                  <c:v>38678</c:v>
                </c:pt>
                <c:pt idx="1475">
                  <c:v>38679</c:v>
                </c:pt>
                <c:pt idx="1476">
                  <c:v>38680</c:v>
                </c:pt>
                <c:pt idx="1477">
                  <c:v>38681</c:v>
                </c:pt>
                <c:pt idx="1478">
                  <c:v>38684</c:v>
                </c:pt>
                <c:pt idx="1479">
                  <c:v>38685</c:v>
                </c:pt>
                <c:pt idx="1480">
                  <c:v>38686</c:v>
                </c:pt>
                <c:pt idx="1481">
                  <c:v>38687</c:v>
                </c:pt>
                <c:pt idx="1482">
                  <c:v>38688</c:v>
                </c:pt>
                <c:pt idx="1483">
                  <c:v>38691</c:v>
                </c:pt>
                <c:pt idx="1484">
                  <c:v>38692</c:v>
                </c:pt>
                <c:pt idx="1485">
                  <c:v>38693</c:v>
                </c:pt>
                <c:pt idx="1486">
                  <c:v>38694</c:v>
                </c:pt>
                <c:pt idx="1487">
                  <c:v>38695</c:v>
                </c:pt>
                <c:pt idx="1488">
                  <c:v>38698</c:v>
                </c:pt>
                <c:pt idx="1489">
                  <c:v>38699</c:v>
                </c:pt>
                <c:pt idx="1490">
                  <c:v>38700</c:v>
                </c:pt>
                <c:pt idx="1491">
                  <c:v>38701</c:v>
                </c:pt>
                <c:pt idx="1492">
                  <c:v>38702</c:v>
                </c:pt>
                <c:pt idx="1493">
                  <c:v>38705</c:v>
                </c:pt>
                <c:pt idx="1494">
                  <c:v>38706</c:v>
                </c:pt>
                <c:pt idx="1495">
                  <c:v>38707</c:v>
                </c:pt>
                <c:pt idx="1496">
                  <c:v>38708</c:v>
                </c:pt>
                <c:pt idx="1497">
                  <c:v>38709</c:v>
                </c:pt>
                <c:pt idx="1498">
                  <c:v>38712</c:v>
                </c:pt>
                <c:pt idx="1499">
                  <c:v>38713</c:v>
                </c:pt>
                <c:pt idx="1500">
                  <c:v>38714</c:v>
                </c:pt>
                <c:pt idx="1501">
                  <c:v>38715</c:v>
                </c:pt>
                <c:pt idx="1502">
                  <c:v>38716</c:v>
                </c:pt>
                <c:pt idx="1503">
                  <c:v>38719</c:v>
                </c:pt>
                <c:pt idx="1504">
                  <c:v>38720</c:v>
                </c:pt>
                <c:pt idx="1505">
                  <c:v>38721</c:v>
                </c:pt>
                <c:pt idx="1506">
                  <c:v>38722</c:v>
                </c:pt>
                <c:pt idx="1507">
                  <c:v>38723</c:v>
                </c:pt>
                <c:pt idx="1508">
                  <c:v>38726</c:v>
                </c:pt>
                <c:pt idx="1509">
                  <c:v>38727</c:v>
                </c:pt>
                <c:pt idx="1510">
                  <c:v>38728</c:v>
                </c:pt>
                <c:pt idx="1511">
                  <c:v>38729</c:v>
                </c:pt>
                <c:pt idx="1512">
                  <c:v>38730</c:v>
                </c:pt>
                <c:pt idx="1513">
                  <c:v>38733</c:v>
                </c:pt>
                <c:pt idx="1514">
                  <c:v>38734</c:v>
                </c:pt>
                <c:pt idx="1515">
                  <c:v>38735</c:v>
                </c:pt>
                <c:pt idx="1516">
                  <c:v>38736</c:v>
                </c:pt>
                <c:pt idx="1517">
                  <c:v>38737</c:v>
                </c:pt>
                <c:pt idx="1518">
                  <c:v>38740</c:v>
                </c:pt>
                <c:pt idx="1519">
                  <c:v>38741</c:v>
                </c:pt>
                <c:pt idx="1520">
                  <c:v>38742</c:v>
                </c:pt>
                <c:pt idx="1521">
                  <c:v>38743</c:v>
                </c:pt>
                <c:pt idx="1522">
                  <c:v>38744</c:v>
                </c:pt>
                <c:pt idx="1523">
                  <c:v>38747</c:v>
                </c:pt>
                <c:pt idx="1524">
                  <c:v>38748</c:v>
                </c:pt>
                <c:pt idx="1525">
                  <c:v>38749</c:v>
                </c:pt>
                <c:pt idx="1526">
                  <c:v>38750</c:v>
                </c:pt>
                <c:pt idx="1527">
                  <c:v>38751</c:v>
                </c:pt>
                <c:pt idx="1528">
                  <c:v>38754</c:v>
                </c:pt>
                <c:pt idx="1529">
                  <c:v>38755</c:v>
                </c:pt>
                <c:pt idx="1530">
                  <c:v>38756</c:v>
                </c:pt>
                <c:pt idx="1531">
                  <c:v>38757</c:v>
                </c:pt>
                <c:pt idx="1532">
                  <c:v>38758</c:v>
                </c:pt>
                <c:pt idx="1533">
                  <c:v>38761</c:v>
                </c:pt>
                <c:pt idx="1534">
                  <c:v>38762</c:v>
                </c:pt>
                <c:pt idx="1535">
                  <c:v>38763</c:v>
                </c:pt>
                <c:pt idx="1536">
                  <c:v>38764</c:v>
                </c:pt>
                <c:pt idx="1537">
                  <c:v>38765</c:v>
                </c:pt>
                <c:pt idx="1538">
                  <c:v>38768</c:v>
                </c:pt>
                <c:pt idx="1539">
                  <c:v>38769</c:v>
                </c:pt>
                <c:pt idx="1540">
                  <c:v>38770</c:v>
                </c:pt>
                <c:pt idx="1541">
                  <c:v>38771</c:v>
                </c:pt>
                <c:pt idx="1542">
                  <c:v>38772</c:v>
                </c:pt>
                <c:pt idx="1543">
                  <c:v>38775</c:v>
                </c:pt>
                <c:pt idx="1544">
                  <c:v>38776</c:v>
                </c:pt>
                <c:pt idx="1545">
                  <c:v>38777</c:v>
                </c:pt>
                <c:pt idx="1546">
                  <c:v>38778</c:v>
                </c:pt>
                <c:pt idx="1547">
                  <c:v>38779</c:v>
                </c:pt>
                <c:pt idx="1548">
                  <c:v>38782</c:v>
                </c:pt>
                <c:pt idx="1549">
                  <c:v>38783</c:v>
                </c:pt>
                <c:pt idx="1550">
                  <c:v>38784</c:v>
                </c:pt>
                <c:pt idx="1551">
                  <c:v>38785</c:v>
                </c:pt>
                <c:pt idx="1552">
                  <c:v>38786</c:v>
                </c:pt>
                <c:pt idx="1553">
                  <c:v>38789</c:v>
                </c:pt>
                <c:pt idx="1554">
                  <c:v>38790</c:v>
                </c:pt>
                <c:pt idx="1555">
                  <c:v>38791</c:v>
                </c:pt>
                <c:pt idx="1556">
                  <c:v>38792</c:v>
                </c:pt>
                <c:pt idx="1557">
                  <c:v>38793</c:v>
                </c:pt>
                <c:pt idx="1558">
                  <c:v>38796</c:v>
                </c:pt>
                <c:pt idx="1559">
                  <c:v>38797</c:v>
                </c:pt>
                <c:pt idx="1560">
                  <c:v>38798</c:v>
                </c:pt>
                <c:pt idx="1561">
                  <c:v>38799</c:v>
                </c:pt>
                <c:pt idx="1562">
                  <c:v>38800</c:v>
                </c:pt>
                <c:pt idx="1563">
                  <c:v>38803</c:v>
                </c:pt>
                <c:pt idx="1564">
                  <c:v>38804</c:v>
                </c:pt>
                <c:pt idx="1565">
                  <c:v>38805</c:v>
                </c:pt>
                <c:pt idx="1566">
                  <c:v>38806</c:v>
                </c:pt>
                <c:pt idx="1567">
                  <c:v>38807</c:v>
                </c:pt>
                <c:pt idx="1568">
                  <c:v>38810</c:v>
                </c:pt>
                <c:pt idx="1569">
                  <c:v>38811</c:v>
                </c:pt>
                <c:pt idx="1570">
                  <c:v>38812</c:v>
                </c:pt>
                <c:pt idx="1571">
                  <c:v>38813</c:v>
                </c:pt>
                <c:pt idx="1572">
                  <c:v>38814</c:v>
                </c:pt>
                <c:pt idx="1573">
                  <c:v>38817</c:v>
                </c:pt>
                <c:pt idx="1574">
                  <c:v>38818</c:v>
                </c:pt>
                <c:pt idx="1575">
                  <c:v>38819</c:v>
                </c:pt>
                <c:pt idx="1576">
                  <c:v>38820</c:v>
                </c:pt>
                <c:pt idx="1577">
                  <c:v>38821</c:v>
                </c:pt>
                <c:pt idx="1578">
                  <c:v>38824</c:v>
                </c:pt>
                <c:pt idx="1579">
                  <c:v>38825</c:v>
                </c:pt>
                <c:pt idx="1580">
                  <c:v>38826</c:v>
                </c:pt>
                <c:pt idx="1581">
                  <c:v>38827</c:v>
                </c:pt>
                <c:pt idx="1582">
                  <c:v>38828</c:v>
                </c:pt>
                <c:pt idx="1583">
                  <c:v>38831</c:v>
                </c:pt>
                <c:pt idx="1584">
                  <c:v>38832</c:v>
                </c:pt>
                <c:pt idx="1585">
                  <c:v>38833</c:v>
                </c:pt>
                <c:pt idx="1586">
                  <c:v>38834</c:v>
                </c:pt>
                <c:pt idx="1587">
                  <c:v>38835</c:v>
                </c:pt>
                <c:pt idx="1588">
                  <c:v>38838</c:v>
                </c:pt>
                <c:pt idx="1589">
                  <c:v>38839</c:v>
                </c:pt>
                <c:pt idx="1590">
                  <c:v>38840</c:v>
                </c:pt>
                <c:pt idx="1591">
                  <c:v>38841</c:v>
                </c:pt>
                <c:pt idx="1592">
                  <c:v>38842</c:v>
                </c:pt>
                <c:pt idx="1593">
                  <c:v>38845</c:v>
                </c:pt>
                <c:pt idx="1594">
                  <c:v>38846</c:v>
                </c:pt>
                <c:pt idx="1595">
                  <c:v>38847</c:v>
                </c:pt>
                <c:pt idx="1596">
                  <c:v>38848</c:v>
                </c:pt>
                <c:pt idx="1597">
                  <c:v>38849</c:v>
                </c:pt>
                <c:pt idx="1598">
                  <c:v>38852</c:v>
                </c:pt>
                <c:pt idx="1599">
                  <c:v>38853</c:v>
                </c:pt>
                <c:pt idx="1600">
                  <c:v>38854</c:v>
                </c:pt>
                <c:pt idx="1601">
                  <c:v>38855</c:v>
                </c:pt>
                <c:pt idx="1602">
                  <c:v>38856</c:v>
                </c:pt>
                <c:pt idx="1603">
                  <c:v>38859</c:v>
                </c:pt>
                <c:pt idx="1604">
                  <c:v>38860</c:v>
                </c:pt>
                <c:pt idx="1605">
                  <c:v>38861</c:v>
                </c:pt>
                <c:pt idx="1606">
                  <c:v>38862</c:v>
                </c:pt>
                <c:pt idx="1607">
                  <c:v>38863</c:v>
                </c:pt>
                <c:pt idx="1608">
                  <c:v>38866</c:v>
                </c:pt>
                <c:pt idx="1609">
                  <c:v>38867</c:v>
                </c:pt>
                <c:pt idx="1610">
                  <c:v>38868</c:v>
                </c:pt>
                <c:pt idx="1611">
                  <c:v>38869</c:v>
                </c:pt>
                <c:pt idx="1612">
                  <c:v>38870</c:v>
                </c:pt>
                <c:pt idx="1613">
                  <c:v>38873</c:v>
                </c:pt>
                <c:pt idx="1614">
                  <c:v>38874</c:v>
                </c:pt>
                <c:pt idx="1615">
                  <c:v>38875</c:v>
                </c:pt>
                <c:pt idx="1616">
                  <c:v>38876</c:v>
                </c:pt>
                <c:pt idx="1617">
                  <c:v>38877</c:v>
                </c:pt>
                <c:pt idx="1618">
                  <c:v>38880</c:v>
                </c:pt>
                <c:pt idx="1619">
                  <c:v>38881</c:v>
                </c:pt>
                <c:pt idx="1620">
                  <c:v>38882</c:v>
                </c:pt>
                <c:pt idx="1621">
                  <c:v>38883</c:v>
                </c:pt>
                <c:pt idx="1622">
                  <c:v>38884</c:v>
                </c:pt>
                <c:pt idx="1623">
                  <c:v>38887</c:v>
                </c:pt>
                <c:pt idx="1624">
                  <c:v>38888</c:v>
                </c:pt>
                <c:pt idx="1625">
                  <c:v>38889</c:v>
                </c:pt>
                <c:pt idx="1626">
                  <c:v>38890</c:v>
                </c:pt>
                <c:pt idx="1627">
                  <c:v>38891</c:v>
                </c:pt>
                <c:pt idx="1628">
                  <c:v>38894</c:v>
                </c:pt>
                <c:pt idx="1629">
                  <c:v>38895</c:v>
                </c:pt>
                <c:pt idx="1630">
                  <c:v>38896</c:v>
                </c:pt>
                <c:pt idx="1631">
                  <c:v>38897</c:v>
                </c:pt>
                <c:pt idx="1632">
                  <c:v>38898</c:v>
                </c:pt>
                <c:pt idx="1633">
                  <c:v>38901</c:v>
                </c:pt>
                <c:pt idx="1634">
                  <c:v>38902</c:v>
                </c:pt>
                <c:pt idx="1635">
                  <c:v>38903</c:v>
                </c:pt>
                <c:pt idx="1636">
                  <c:v>38904</c:v>
                </c:pt>
                <c:pt idx="1637">
                  <c:v>38905</c:v>
                </c:pt>
                <c:pt idx="1638">
                  <c:v>38908</c:v>
                </c:pt>
                <c:pt idx="1639">
                  <c:v>38909</c:v>
                </c:pt>
                <c:pt idx="1640">
                  <c:v>38910</c:v>
                </c:pt>
                <c:pt idx="1641">
                  <c:v>38911</c:v>
                </c:pt>
                <c:pt idx="1642">
                  <c:v>38912</c:v>
                </c:pt>
                <c:pt idx="1643">
                  <c:v>38915</c:v>
                </c:pt>
                <c:pt idx="1644">
                  <c:v>38916</c:v>
                </c:pt>
                <c:pt idx="1645">
                  <c:v>38917</c:v>
                </c:pt>
                <c:pt idx="1646">
                  <c:v>38918</c:v>
                </c:pt>
                <c:pt idx="1647">
                  <c:v>38919</c:v>
                </c:pt>
                <c:pt idx="1648">
                  <c:v>38922</c:v>
                </c:pt>
                <c:pt idx="1649">
                  <c:v>38923</c:v>
                </c:pt>
                <c:pt idx="1650">
                  <c:v>38924</c:v>
                </c:pt>
                <c:pt idx="1651">
                  <c:v>38925</c:v>
                </c:pt>
                <c:pt idx="1652">
                  <c:v>38926</c:v>
                </c:pt>
                <c:pt idx="1653">
                  <c:v>38929</c:v>
                </c:pt>
                <c:pt idx="1654">
                  <c:v>38930</c:v>
                </c:pt>
                <c:pt idx="1655">
                  <c:v>38931</c:v>
                </c:pt>
                <c:pt idx="1656">
                  <c:v>38932</c:v>
                </c:pt>
                <c:pt idx="1657">
                  <c:v>38933</c:v>
                </c:pt>
                <c:pt idx="1658">
                  <c:v>38936</c:v>
                </c:pt>
                <c:pt idx="1659">
                  <c:v>38937</c:v>
                </c:pt>
                <c:pt idx="1660">
                  <c:v>38938</c:v>
                </c:pt>
                <c:pt idx="1661">
                  <c:v>38939</c:v>
                </c:pt>
                <c:pt idx="1662">
                  <c:v>38940</c:v>
                </c:pt>
                <c:pt idx="1663">
                  <c:v>38943</c:v>
                </c:pt>
                <c:pt idx="1664">
                  <c:v>38944</c:v>
                </c:pt>
                <c:pt idx="1665">
                  <c:v>38945</c:v>
                </c:pt>
                <c:pt idx="1666">
                  <c:v>38946</c:v>
                </c:pt>
                <c:pt idx="1667">
                  <c:v>38947</c:v>
                </c:pt>
                <c:pt idx="1668">
                  <c:v>38950</c:v>
                </c:pt>
                <c:pt idx="1669">
                  <c:v>38951</c:v>
                </c:pt>
                <c:pt idx="1670">
                  <c:v>38952</c:v>
                </c:pt>
                <c:pt idx="1671">
                  <c:v>38953</c:v>
                </c:pt>
                <c:pt idx="1672">
                  <c:v>38954</c:v>
                </c:pt>
                <c:pt idx="1673">
                  <c:v>38957</c:v>
                </c:pt>
                <c:pt idx="1674">
                  <c:v>38958</c:v>
                </c:pt>
                <c:pt idx="1675">
                  <c:v>38959</c:v>
                </c:pt>
                <c:pt idx="1676">
                  <c:v>38960</c:v>
                </c:pt>
                <c:pt idx="1677">
                  <c:v>38961</c:v>
                </c:pt>
                <c:pt idx="1678">
                  <c:v>38964</c:v>
                </c:pt>
                <c:pt idx="1679">
                  <c:v>38965</c:v>
                </c:pt>
                <c:pt idx="1680">
                  <c:v>38966</c:v>
                </c:pt>
                <c:pt idx="1681">
                  <c:v>38967</c:v>
                </c:pt>
                <c:pt idx="1682">
                  <c:v>38968</c:v>
                </c:pt>
                <c:pt idx="1683">
                  <c:v>38971</c:v>
                </c:pt>
                <c:pt idx="1684">
                  <c:v>38972</c:v>
                </c:pt>
                <c:pt idx="1685">
                  <c:v>38973</c:v>
                </c:pt>
                <c:pt idx="1686">
                  <c:v>38974</c:v>
                </c:pt>
                <c:pt idx="1687">
                  <c:v>38975</c:v>
                </c:pt>
                <c:pt idx="1688">
                  <c:v>38978</c:v>
                </c:pt>
                <c:pt idx="1689">
                  <c:v>38979</c:v>
                </c:pt>
                <c:pt idx="1690">
                  <c:v>38980</c:v>
                </c:pt>
                <c:pt idx="1691">
                  <c:v>38981</c:v>
                </c:pt>
                <c:pt idx="1692">
                  <c:v>38982</c:v>
                </c:pt>
                <c:pt idx="1693">
                  <c:v>38985</c:v>
                </c:pt>
                <c:pt idx="1694">
                  <c:v>38986</c:v>
                </c:pt>
                <c:pt idx="1695">
                  <c:v>38987</c:v>
                </c:pt>
                <c:pt idx="1696">
                  <c:v>38988</c:v>
                </c:pt>
                <c:pt idx="1697">
                  <c:v>38989</c:v>
                </c:pt>
                <c:pt idx="1698">
                  <c:v>38992</c:v>
                </c:pt>
                <c:pt idx="1699">
                  <c:v>38993</c:v>
                </c:pt>
                <c:pt idx="1700">
                  <c:v>38994</c:v>
                </c:pt>
                <c:pt idx="1701">
                  <c:v>38995</c:v>
                </c:pt>
                <c:pt idx="1702">
                  <c:v>38996</c:v>
                </c:pt>
                <c:pt idx="1703">
                  <c:v>38999</c:v>
                </c:pt>
                <c:pt idx="1704">
                  <c:v>39000</c:v>
                </c:pt>
                <c:pt idx="1705">
                  <c:v>39001</c:v>
                </c:pt>
                <c:pt idx="1706">
                  <c:v>39002</c:v>
                </c:pt>
                <c:pt idx="1707">
                  <c:v>39003</c:v>
                </c:pt>
                <c:pt idx="1708">
                  <c:v>39006</c:v>
                </c:pt>
                <c:pt idx="1709">
                  <c:v>39007</c:v>
                </c:pt>
                <c:pt idx="1710">
                  <c:v>39008</c:v>
                </c:pt>
                <c:pt idx="1711">
                  <c:v>39009</c:v>
                </c:pt>
                <c:pt idx="1712">
                  <c:v>39010</c:v>
                </c:pt>
                <c:pt idx="1713">
                  <c:v>39013</c:v>
                </c:pt>
                <c:pt idx="1714">
                  <c:v>39014</c:v>
                </c:pt>
                <c:pt idx="1715">
                  <c:v>39015</c:v>
                </c:pt>
                <c:pt idx="1716">
                  <c:v>39016</c:v>
                </c:pt>
                <c:pt idx="1717">
                  <c:v>39017</c:v>
                </c:pt>
                <c:pt idx="1718">
                  <c:v>39020</c:v>
                </c:pt>
                <c:pt idx="1719">
                  <c:v>39021</c:v>
                </c:pt>
                <c:pt idx="1720">
                  <c:v>39022</c:v>
                </c:pt>
                <c:pt idx="1721">
                  <c:v>39023</c:v>
                </c:pt>
                <c:pt idx="1722">
                  <c:v>39024</c:v>
                </c:pt>
                <c:pt idx="1723">
                  <c:v>39027</c:v>
                </c:pt>
                <c:pt idx="1724">
                  <c:v>39028</c:v>
                </c:pt>
                <c:pt idx="1725">
                  <c:v>39029</c:v>
                </c:pt>
                <c:pt idx="1726">
                  <c:v>39030</c:v>
                </c:pt>
                <c:pt idx="1727">
                  <c:v>39031</c:v>
                </c:pt>
                <c:pt idx="1728">
                  <c:v>39034</c:v>
                </c:pt>
                <c:pt idx="1729">
                  <c:v>39035</c:v>
                </c:pt>
                <c:pt idx="1730">
                  <c:v>39036</c:v>
                </c:pt>
                <c:pt idx="1731">
                  <c:v>39037</c:v>
                </c:pt>
                <c:pt idx="1732">
                  <c:v>39038</c:v>
                </c:pt>
                <c:pt idx="1733">
                  <c:v>39041</c:v>
                </c:pt>
                <c:pt idx="1734">
                  <c:v>39042</c:v>
                </c:pt>
                <c:pt idx="1735">
                  <c:v>39043</c:v>
                </c:pt>
                <c:pt idx="1736">
                  <c:v>39044</c:v>
                </c:pt>
                <c:pt idx="1737">
                  <c:v>39045</c:v>
                </c:pt>
                <c:pt idx="1738">
                  <c:v>39048</c:v>
                </c:pt>
                <c:pt idx="1739">
                  <c:v>39049</c:v>
                </c:pt>
                <c:pt idx="1740">
                  <c:v>39050</c:v>
                </c:pt>
                <c:pt idx="1741">
                  <c:v>39051</c:v>
                </c:pt>
                <c:pt idx="1742">
                  <c:v>39052</c:v>
                </c:pt>
                <c:pt idx="1743">
                  <c:v>39055</c:v>
                </c:pt>
                <c:pt idx="1744">
                  <c:v>39056</c:v>
                </c:pt>
                <c:pt idx="1745">
                  <c:v>39057</c:v>
                </c:pt>
                <c:pt idx="1746">
                  <c:v>39058</c:v>
                </c:pt>
                <c:pt idx="1747">
                  <c:v>39059</c:v>
                </c:pt>
                <c:pt idx="1748">
                  <c:v>39062</c:v>
                </c:pt>
                <c:pt idx="1749">
                  <c:v>39063</c:v>
                </c:pt>
                <c:pt idx="1750">
                  <c:v>39064</c:v>
                </c:pt>
                <c:pt idx="1751">
                  <c:v>39065</c:v>
                </c:pt>
                <c:pt idx="1752">
                  <c:v>39066</c:v>
                </c:pt>
                <c:pt idx="1753">
                  <c:v>39069</c:v>
                </c:pt>
                <c:pt idx="1754">
                  <c:v>39070</c:v>
                </c:pt>
                <c:pt idx="1755">
                  <c:v>39071</c:v>
                </c:pt>
                <c:pt idx="1756">
                  <c:v>39072</c:v>
                </c:pt>
                <c:pt idx="1757">
                  <c:v>39073</c:v>
                </c:pt>
                <c:pt idx="1758">
                  <c:v>39076</c:v>
                </c:pt>
                <c:pt idx="1759">
                  <c:v>39077</c:v>
                </c:pt>
                <c:pt idx="1760">
                  <c:v>39078</c:v>
                </c:pt>
                <c:pt idx="1761">
                  <c:v>39079</c:v>
                </c:pt>
                <c:pt idx="1762">
                  <c:v>39080</c:v>
                </c:pt>
                <c:pt idx="1763">
                  <c:v>39083</c:v>
                </c:pt>
                <c:pt idx="1764">
                  <c:v>39084</c:v>
                </c:pt>
                <c:pt idx="1765">
                  <c:v>39085</c:v>
                </c:pt>
                <c:pt idx="1766">
                  <c:v>39086</c:v>
                </c:pt>
                <c:pt idx="1767">
                  <c:v>39087</c:v>
                </c:pt>
                <c:pt idx="1768">
                  <c:v>39090</c:v>
                </c:pt>
                <c:pt idx="1769">
                  <c:v>39091</c:v>
                </c:pt>
                <c:pt idx="1770">
                  <c:v>39092</c:v>
                </c:pt>
                <c:pt idx="1771">
                  <c:v>39093</c:v>
                </c:pt>
                <c:pt idx="1772">
                  <c:v>39094</c:v>
                </c:pt>
                <c:pt idx="1773">
                  <c:v>39097</c:v>
                </c:pt>
                <c:pt idx="1774">
                  <c:v>39098</c:v>
                </c:pt>
                <c:pt idx="1775">
                  <c:v>39099</c:v>
                </c:pt>
                <c:pt idx="1776">
                  <c:v>39100</c:v>
                </c:pt>
                <c:pt idx="1777">
                  <c:v>39101</c:v>
                </c:pt>
                <c:pt idx="1778">
                  <c:v>39104</c:v>
                </c:pt>
                <c:pt idx="1779">
                  <c:v>39105</c:v>
                </c:pt>
                <c:pt idx="1780">
                  <c:v>39106</c:v>
                </c:pt>
                <c:pt idx="1781">
                  <c:v>39107</c:v>
                </c:pt>
                <c:pt idx="1782">
                  <c:v>39108</c:v>
                </c:pt>
                <c:pt idx="1783">
                  <c:v>39111</c:v>
                </c:pt>
                <c:pt idx="1784">
                  <c:v>39112</c:v>
                </c:pt>
                <c:pt idx="1785">
                  <c:v>39113</c:v>
                </c:pt>
                <c:pt idx="1786">
                  <c:v>39114</c:v>
                </c:pt>
                <c:pt idx="1787">
                  <c:v>39115</c:v>
                </c:pt>
                <c:pt idx="1788">
                  <c:v>39118</c:v>
                </c:pt>
                <c:pt idx="1789">
                  <c:v>39119</c:v>
                </c:pt>
                <c:pt idx="1790">
                  <c:v>39120</c:v>
                </c:pt>
                <c:pt idx="1791">
                  <c:v>39121</c:v>
                </c:pt>
                <c:pt idx="1792">
                  <c:v>39122</c:v>
                </c:pt>
                <c:pt idx="1793">
                  <c:v>39125</c:v>
                </c:pt>
                <c:pt idx="1794">
                  <c:v>39126</c:v>
                </c:pt>
                <c:pt idx="1795">
                  <c:v>39127</c:v>
                </c:pt>
                <c:pt idx="1796">
                  <c:v>39128</c:v>
                </c:pt>
                <c:pt idx="1797">
                  <c:v>39129</c:v>
                </c:pt>
                <c:pt idx="1798">
                  <c:v>39132</c:v>
                </c:pt>
                <c:pt idx="1799">
                  <c:v>39133</c:v>
                </c:pt>
                <c:pt idx="1800">
                  <c:v>39134</c:v>
                </c:pt>
                <c:pt idx="1801">
                  <c:v>39135</c:v>
                </c:pt>
                <c:pt idx="1802">
                  <c:v>39136</c:v>
                </c:pt>
                <c:pt idx="1803">
                  <c:v>39139</c:v>
                </c:pt>
                <c:pt idx="1804">
                  <c:v>39140</c:v>
                </c:pt>
                <c:pt idx="1805">
                  <c:v>39141</c:v>
                </c:pt>
                <c:pt idx="1806">
                  <c:v>39142</c:v>
                </c:pt>
                <c:pt idx="1807">
                  <c:v>39143</c:v>
                </c:pt>
                <c:pt idx="1808">
                  <c:v>39146</c:v>
                </c:pt>
                <c:pt idx="1809">
                  <c:v>39147</c:v>
                </c:pt>
                <c:pt idx="1810">
                  <c:v>39148</c:v>
                </c:pt>
                <c:pt idx="1811">
                  <c:v>39149</c:v>
                </c:pt>
                <c:pt idx="1812">
                  <c:v>39150</c:v>
                </c:pt>
                <c:pt idx="1813">
                  <c:v>39153</c:v>
                </c:pt>
                <c:pt idx="1814">
                  <c:v>39154</c:v>
                </c:pt>
                <c:pt idx="1815">
                  <c:v>39155</c:v>
                </c:pt>
                <c:pt idx="1816">
                  <c:v>39156</c:v>
                </c:pt>
                <c:pt idx="1817">
                  <c:v>39157</c:v>
                </c:pt>
                <c:pt idx="1818">
                  <c:v>39160</c:v>
                </c:pt>
                <c:pt idx="1819">
                  <c:v>39161</c:v>
                </c:pt>
                <c:pt idx="1820">
                  <c:v>39162</c:v>
                </c:pt>
                <c:pt idx="1821">
                  <c:v>39163</c:v>
                </c:pt>
                <c:pt idx="1822">
                  <c:v>39164</c:v>
                </c:pt>
                <c:pt idx="1823">
                  <c:v>39167</c:v>
                </c:pt>
                <c:pt idx="1824">
                  <c:v>39168</c:v>
                </c:pt>
                <c:pt idx="1825">
                  <c:v>39169</c:v>
                </c:pt>
                <c:pt idx="1826">
                  <c:v>39170</c:v>
                </c:pt>
                <c:pt idx="1827">
                  <c:v>39171</c:v>
                </c:pt>
                <c:pt idx="1828">
                  <c:v>39174</c:v>
                </c:pt>
                <c:pt idx="1829">
                  <c:v>39175</c:v>
                </c:pt>
                <c:pt idx="1830">
                  <c:v>39176</c:v>
                </c:pt>
                <c:pt idx="1831">
                  <c:v>39177</c:v>
                </c:pt>
                <c:pt idx="1832">
                  <c:v>39178</c:v>
                </c:pt>
                <c:pt idx="1833">
                  <c:v>39181</c:v>
                </c:pt>
                <c:pt idx="1834">
                  <c:v>39182</c:v>
                </c:pt>
                <c:pt idx="1835">
                  <c:v>39183</c:v>
                </c:pt>
                <c:pt idx="1836">
                  <c:v>39184</c:v>
                </c:pt>
                <c:pt idx="1837">
                  <c:v>39185</c:v>
                </c:pt>
                <c:pt idx="1838">
                  <c:v>39188</c:v>
                </c:pt>
                <c:pt idx="1839">
                  <c:v>39189</c:v>
                </c:pt>
                <c:pt idx="1840">
                  <c:v>39190</c:v>
                </c:pt>
                <c:pt idx="1841">
                  <c:v>39191</c:v>
                </c:pt>
                <c:pt idx="1842">
                  <c:v>39192</c:v>
                </c:pt>
                <c:pt idx="1843">
                  <c:v>39195</c:v>
                </c:pt>
                <c:pt idx="1844">
                  <c:v>39196</c:v>
                </c:pt>
                <c:pt idx="1845">
                  <c:v>39197</c:v>
                </c:pt>
                <c:pt idx="1846">
                  <c:v>39198</c:v>
                </c:pt>
                <c:pt idx="1847">
                  <c:v>39199</c:v>
                </c:pt>
                <c:pt idx="1848">
                  <c:v>39202</c:v>
                </c:pt>
                <c:pt idx="1849">
                  <c:v>39203</c:v>
                </c:pt>
                <c:pt idx="1850">
                  <c:v>39204</c:v>
                </c:pt>
                <c:pt idx="1851">
                  <c:v>39205</c:v>
                </c:pt>
                <c:pt idx="1852">
                  <c:v>39206</c:v>
                </c:pt>
                <c:pt idx="1853">
                  <c:v>39209</c:v>
                </c:pt>
                <c:pt idx="1854">
                  <c:v>39210</c:v>
                </c:pt>
                <c:pt idx="1855">
                  <c:v>39211</c:v>
                </c:pt>
                <c:pt idx="1856">
                  <c:v>39212</c:v>
                </c:pt>
                <c:pt idx="1857">
                  <c:v>39213</c:v>
                </c:pt>
                <c:pt idx="1858">
                  <c:v>39216</c:v>
                </c:pt>
                <c:pt idx="1859">
                  <c:v>39217</c:v>
                </c:pt>
                <c:pt idx="1860">
                  <c:v>39218</c:v>
                </c:pt>
                <c:pt idx="1861">
                  <c:v>39219</c:v>
                </c:pt>
                <c:pt idx="1862">
                  <c:v>39220</c:v>
                </c:pt>
                <c:pt idx="1863">
                  <c:v>39223</c:v>
                </c:pt>
                <c:pt idx="1864">
                  <c:v>39224</c:v>
                </c:pt>
                <c:pt idx="1865">
                  <c:v>39225</c:v>
                </c:pt>
                <c:pt idx="1866">
                  <c:v>39226</c:v>
                </c:pt>
                <c:pt idx="1867">
                  <c:v>39227</c:v>
                </c:pt>
                <c:pt idx="1868">
                  <c:v>39230</c:v>
                </c:pt>
                <c:pt idx="1869">
                  <c:v>39231</c:v>
                </c:pt>
                <c:pt idx="1870">
                  <c:v>39232</c:v>
                </c:pt>
                <c:pt idx="1871">
                  <c:v>39233</c:v>
                </c:pt>
                <c:pt idx="1872">
                  <c:v>39234</c:v>
                </c:pt>
                <c:pt idx="1873">
                  <c:v>39237</c:v>
                </c:pt>
                <c:pt idx="1874">
                  <c:v>39238</c:v>
                </c:pt>
                <c:pt idx="1875">
                  <c:v>39239</c:v>
                </c:pt>
                <c:pt idx="1876">
                  <c:v>39240</c:v>
                </c:pt>
                <c:pt idx="1877">
                  <c:v>39241</c:v>
                </c:pt>
                <c:pt idx="1878">
                  <c:v>39244</c:v>
                </c:pt>
                <c:pt idx="1879">
                  <c:v>39245</c:v>
                </c:pt>
                <c:pt idx="1880">
                  <c:v>39246</c:v>
                </c:pt>
                <c:pt idx="1881">
                  <c:v>39247</c:v>
                </c:pt>
                <c:pt idx="1882">
                  <c:v>39248</c:v>
                </c:pt>
                <c:pt idx="1883">
                  <c:v>39251</c:v>
                </c:pt>
                <c:pt idx="1884">
                  <c:v>39252</c:v>
                </c:pt>
                <c:pt idx="1885">
                  <c:v>39253</c:v>
                </c:pt>
                <c:pt idx="1886">
                  <c:v>39254</c:v>
                </c:pt>
                <c:pt idx="1887">
                  <c:v>39255</c:v>
                </c:pt>
                <c:pt idx="1888">
                  <c:v>39258</c:v>
                </c:pt>
                <c:pt idx="1889">
                  <c:v>39259</c:v>
                </c:pt>
                <c:pt idx="1890">
                  <c:v>39260</c:v>
                </c:pt>
                <c:pt idx="1891">
                  <c:v>39261</c:v>
                </c:pt>
                <c:pt idx="1892">
                  <c:v>39262</c:v>
                </c:pt>
                <c:pt idx="1893">
                  <c:v>39265</c:v>
                </c:pt>
                <c:pt idx="1894">
                  <c:v>39266</c:v>
                </c:pt>
                <c:pt idx="1895">
                  <c:v>39267</c:v>
                </c:pt>
                <c:pt idx="1896">
                  <c:v>39268</c:v>
                </c:pt>
                <c:pt idx="1897">
                  <c:v>39269</c:v>
                </c:pt>
                <c:pt idx="1898">
                  <c:v>39272</c:v>
                </c:pt>
                <c:pt idx="1899">
                  <c:v>39273</c:v>
                </c:pt>
                <c:pt idx="1900">
                  <c:v>39274</c:v>
                </c:pt>
                <c:pt idx="1901">
                  <c:v>39275</c:v>
                </c:pt>
                <c:pt idx="1902">
                  <c:v>39276</c:v>
                </c:pt>
                <c:pt idx="1903">
                  <c:v>39279</c:v>
                </c:pt>
                <c:pt idx="1904">
                  <c:v>39280</c:v>
                </c:pt>
                <c:pt idx="1905">
                  <c:v>39281</c:v>
                </c:pt>
                <c:pt idx="1906">
                  <c:v>39282</c:v>
                </c:pt>
                <c:pt idx="1907">
                  <c:v>39283</c:v>
                </c:pt>
                <c:pt idx="1908">
                  <c:v>39286</c:v>
                </c:pt>
                <c:pt idx="1909">
                  <c:v>39287</c:v>
                </c:pt>
                <c:pt idx="1910">
                  <c:v>39288</c:v>
                </c:pt>
                <c:pt idx="1911">
                  <c:v>39289</c:v>
                </c:pt>
                <c:pt idx="1912">
                  <c:v>39290</c:v>
                </c:pt>
                <c:pt idx="1913">
                  <c:v>39293</c:v>
                </c:pt>
                <c:pt idx="1914">
                  <c:v>39294</c:v>
                </c:pt>
                <c:pt idx="1915">
                  <c:v>39295</c:v>
                </c:pt>
                <c:pt idx="1916">
                  <c:v>39296</c:v>
                </c:pt>
                <c:pt idx="1917">
                  <c:v>39297</c:v>
                </c:pt>
                <c:pt idx="1918">
                  <c:v>39300</c:v>
                </c:pt>
                <c:pt idx="1919">
                  <c:v>39301</c:v>
                </c:pt>
                <c:pt idx="1920">
                  <c:v>39302</c:v>
                </c:pt>
                <c:pt idx="1921">
                  <c:v>39303</c:v>
                </c:pt>
                <c:pt idx="1922">
                  <c:v>39304</c:v>
                </c:pt>
                <c:pt idx="1923">
                  <c:v>39307</c:v>
                </c:pt>
                <c:pt idx="1924">
                  <c:v>39308</c:v>
                </c:pt>
                <c:pt idx="1925">
                  <c:v>39309</c:v>
                </c:pt>
                <c:pt idx="1926">
                  <c:v>39310</c:v>
                </c:pt>
                <c:pt idx="1927">
                  <c:v>39311</c:v>
                </c:pt>
                <c:pt idx="1928">
                  <c:v>39314</c:v>
                </c:pt>
                <c:pt idx="1929">
                  <c:v>39315</c:v>
                </c:pt>
                <c:pt idx="1930">
                  <c:v>39316</c:v>
                </c:pt>
                <c:pt idx="1931">
                  <c:v>39317</c:v>
                </c:pt>
                <c:pt idx="1932">
                  <c:v>39318</c:v>
                </c:pt>
                <c:pt idx="1933">
                  <c:v>39321</c:v>
                </c:pt>
                <c:pt idx="1934">
                  <c:v>39322</c:v>
                </c:pt>
                <c:pt idx="1935">
                  <c:v>39323</c:v>
                </c:pt>
                <c:pt idx="1936">
                  <c:v>39324</c:v>
                </c:pt>
                <c:pt idx="1937">
                  <c:v>39325</c:v>
                </c:pt>
                <c:pt idx="1938">
                  <c:v>39328</c:v>
                </c:pt>
                <c:pt idx="1939">
                  <c:v>39329</c:v>
                </c:pt>
                <c:pt idx="1940">
                  <c:v>39330</c:v>
                </c:pt>
                <c:pt idx="1941">
                  <c:v>39331</c:v>
                </c:pt>
                <c:pt idx="1942">
                  <c:v>39332</c:v>
                </c:pt>
                <c:pt idx="1943">
                  <c:v>39335</c:v>
                </c:pt>
                <c:pt idx="1944">
                  <c:v>39336</c:v>
                </c:pt>
                <c:pt idx="1945">
                  <c:v>39337</c:v>
                </c:pt>
                <c:pt idx="1946">
                  <c:v>39338</c:v>
                </c:pt>
                <c:pt idx="1947">
                  <c:v>39339</c:v>
                </c:pt>
                <c:pt idx="1948">
                  <c:v>39342</c:v>
                </c:pt>
                <c:pt idx="1949">
                  <c:v>39343</c:v>
                </c:pt>
                <c:pt idx="1950">
                  <c:v>39344</c:v>
                </c:pt>
                <c:pt idx="1951">
                  <c:v>39345</c:v>
                </c:pt>
                <c:pt idx="1952">
                  <c:v>39346</c:v>
                </c:pt>
                <c:pt idx="1953">
                  <c:v>39349</c:v>
                </c:pt>
                <c:pt idx="1954">
                  <c:v>39350</c:v>
                </c:pt>
                <c:pt idx="1955">
                  <c:v>39351</c:v>
                </c:pt>
                <c:pt idx="1956">
                  <c:v>39352</c:v>
                </c:pt>
                <c:pt idx="1957">
                  <c:v>39353</c:v>
                </c:pt>
                <c:pt idx="1958">
                  <c:v>39356</c:v>
                </c:pt>
                <c:pt idx="1959">
                  <c:v>39357</c:v>
                </c:pt>
                <c:pt idx="1960">
                  <c:v>39358</c:v>
                </c:pt>
                <c:pt idx="1961">
                  <c:v>39359</c:v>
                </c:pt>
                <c:pt idx="1962">
                  <c:v>39360</c:v>
                </c:pt>
                <c:pt idx="1963">
                  <c:v>39363</c:v>
                </c:pt>
                <c:pt idx="1964">
                  <c:v>39364</c:v>
                </c:pt>
                <c:pt idx="1965">
                  <c:v>39365</c:v>
                </c:pt>
                <c:pt idx="1966">
                  <c:v>39366</c:v>
                </c:pt>
                <c:pt idx="1967">
                  <c:v>39367</c:v>
                </c:pt>
                <c:pt idx="1968">
                  <c:v>39370</c:v>
                </c:pt>
                <c:pt idx="1969">
                  <c:v>39371</c:v>
                </c:pt>
                <c:pt idx="1970">
                  <c:v>39372</c:v>
                </c:pt>
                <c:pt idx="1971">
                  <c:v>39373</c:v>
                </c:pt>
                <c:pt idx="1972">
                  <c:v>39374</c:v>
                </c:pt>
                <c:pt idx="1973">
                  <c:v>39377</c:v>
                </c:pt>
                <c:pt idx="1974">
                  <c:v>39378</c:v>
                </c:pt>
                <c:pt idx="1975">
                  <c:v>39379</c:v>
                </c:pt>
                <c:pt idx="1976">
                  <c:v>39380</c:v>
                </c:pt>
                <c:pt idx="1977">
                  <c:v>39381</c:v>
                </c:pt>
                <c:pt idx="1978">
                  <c:v>39384</c:v>
                </c:pt>
                <c:pt idx="1979">
                  <c:v>39385</c:v>
                </c:pt>
                <c:pt idx="1980">
                  <c:v>39386</c:v>
                </c:pt>
                <c:pt idx="1981">
                  <c:v>39387</c:v>
                </c:pt>
                <c:pt idx="1982">
                  <c:v>39388</c:v>
                </c:pt>
                <c:pt idx="1983">
                  <c:v>39391</c:v>
                </c:pt>
                <c:pt idx="1984">
                  <c:v>39392</c:v>
                </c:pt>
                <c:pt idx="1985">
                  <c:v>39393</c:v>
                </c:pt>
                <c:pt idx="1986">
                  <c:v>39394</c:v>
                </c:pt>
                <c:pt idx="1987">
                  <c:v>39395</c:v>
                </c:pt>
                <c:pt idx="1988">
                  <c:v>39398</c:v>
                </c:pt>
                <c:pt idx="1989">
                  <c:v>39399</c:v>
                </c:pt>
                <c:pt idx="1990">
                  <c:v>39400</c:v>
                </c:pt>
                <c:pt idx="1991">
                  <c:v>39401</c:v>
                </c:pt>
                <c:pt idx="1992">
                  <c:v>39402</c:v>
                </c:pt>
                <c:pt idx="1993">
                  <c:v>39405</c:v>
                </c:pt>
                <c:pt idx="1994">
                  <c:v>39406</c:v>
                </c:pt>
                <c:pt idx="1995">
                  <c:v>39407</c:v>
                </c:pt>
                <c:pt idx="1996">
                  <c:v>39408</c:v>
                </c:pt>
                <c:pt idx="1997">
                  <c:v>39409</c:v>
                </c:pt>
                <c:pt idx="1998">
                  <c:v>39412</c:v>
                </c:pt>
                <c:pt idx="1999">
                  <c:v>39413</c:v>
                </c:pt>
                <c:pt idx="2000">
                  <c:v>39414</c:v>
                </c:pt>
                <c:pt idx="2001">
                  <c:v>39415</c:v>
                </c:pt>
                <c:pt idx="2002">
                  <c:v>39416</c:v>
                </c:pt>
                <c:pt idx="2003">
                  <c:v>39419</c:v>
                </c:pt>
                <c:pt idx="2004">
                  <c:v>39420</c:v>
                </c:pt>
                <c:pt idx="2005">
                  <c:v>39421</c:v>
                </c:pt>
                <c:pt idx="2006">
                  <c:v>39422</c:v>
                </c:pt>
                <c:pt idx="2007">
                  <c:v>39423</c:v>
                </c:pt>
                <c:pt idx="2008">
                  <c:v>39426</c:v>
                </c:pt>
                <c:pt idx="2009">
                  <c:v>39427</c:v>
                </c:pt>
                <c:pt idx="2010">
                  <c:v>39428</c:v>
                </c:pt>
                <c:pt idx="2011">
                  <c:v>39429</c:v>
                </c:pt>
                <c:pt idx="2012">
                  <c:v>39430</c:v>
                </c:pt>
                <c:pt idx="2013">
                  <c:v>39433</c:v>
                </c:pt>
                <c:pt idx="2014">
                  <c:v>39434</c:v>
                </c:pt>
                <c:pt idx="2015">
                  <c:v>39435</c:v>
                </c:pt>
                <c:pt idx="2016">
                  <c:v>39436</c:v>
                </c:pt>
                <c:pt idx="2017">
                  <c:v>39437</c:v>
                </c:pt>
                <c:pt idx="2018">
                  <c:v>39443</c:v>
                </c:pt>
                <c:pt idx="2019">
                  <c:v>39444</c:v>
                </c:pt>
                <c:pt idx="2020">
                  <c:v>39447</c:v>
                </c:pt>
                <c:pt idx="2021">
                  <c:v>39449</c:v>
                </c:pt>
                <c:pt idx="2022">
                  <c:v>39450</c:v>
                </c:pt>
                <c:pt idx="2023">
                  <c:v>39451</c:v>
                </c:pt>
                <c:pt idx="2024">
                  <c:v>39454</c:v>
                </c:pt>
                <c:pt idx="2025">
                  <c:v>39455</c:v>
                </c:pt>
                <c:pt idx="2026">
                  <c:v>39456</c:v>
                </c:pt>
                <c:pt idx="2027">
                  <c:v>39457</c:v>
                </c:pt>
                <c:pt idx="2028">
                  <c:v>39458</c:v>
                </c:pt>
                <c:pt idx="2029">
                  <c:v>39461</c:v>
                </c:pt>
                <c:pt idx="2030">
                  <c:v>39462</c:v>
                </c:pt>
                <c:pt idx="2031">
                  <c:v>39463</c:v>
                </c:pt>
                <c:pt idx="2032">
                  <c:v>39464</c:v>
                </c:pt>
                <c:pt idx="2033">
                  <c:v>39465</c:v>
                </c:pt>
                <c:pt idx="2034">
                  <c:v>39468</c:v>
                </c:pt>
                <c:pt idx="2035">
                  <c:v>39469</c:v>
                </c:pt>
                <c:pt idx="2036">
                  <c:v>39470</c:v>
                </c:pt>
                <c:pt idx="2037">
                  <c:v>39471</c:v>
                </c:pt>
                <c:pt idx="2038">
                  <c:v>39472</c:v>
                </c:pt>
                <c:pt idx="2039">
                  <c:v>39475</c:v>
                </c:pt>
                <c:pt idx="2040">
                  <c:v>39476</c:v>
                </c:pt>
                <c:pt idx="2041">
                  <c:v>39477</c:v>
                </c:pt>
                <c:pt idx="2042">
                  <c:v>39478</c:v>
                </c:pt>
                <c:pt idx="2043">
                  <c:v>39479</c:v>
                </c:pt>
                <c:pt idx="2044">
                  <c:v>39482</c:v>
                </c:pt>
                <c:pt idx="2045">
                  <c:v>39483</c:v>
                </c:pt>
                <c:pt idx="2046">
                  <c:v>39484</c:v>
                </c:pt>
                <c:pt idx="2047">
                  <c:v>39485</c:v>
                </c:pt>
                <c:pt idx="2048">
                  <c:v>39486</c:v>
                </c:pt>
                <c:pt idx="2049">
                  <c:v>39489</c:v>
                </c:pt>
                <c:pt idx="2050">
                  <c:v>39490</c:v>
                </c:pt>
                <c:pt idx="2051">
                  <c:v>39491</c:v>
                </c:pt>
                <c:pt idx="2052">
                  <c:v>39492</c:v>
                </c:pt>
                <c:pt idx="2053">
                  <c:v>39493</c:v>
                </c:pt>
                <c:pt idx="2054">
                  <c:v>39496</c:v>
                </c:pt>
                <c:pt idx="2055">
                  <c:v>39497</c:v>
                </c:pt>
                <c:pt idx="2056">
                  <c:v>39498</c:v>
                </c:pt>
                <c:pt idx="2057">
                  <c:v>39499</c:v>
                </c:pt>
                <c:pt idx="2058">
                  <c:v>39500</c:v>
                </c:pt>
                <c:pt idx="2059">
                  <c:v>39503</c:v>
                </c:pt>
                <c:pt idx="2060">
                  <c:v>39504</c:v>
                </c:pt>
                <c:pt idx="2061">
                  <c:v>39505</c:v>
                </c:pt>
                <c:pt idx="2062">
                  <c:v>39506</c:v>
                </c:pt>
                <c:pt idx="2063">
                  <c:v>39507</c:v>
                </c:pt>
                <c:pt idx="2064">
                  <c:v>39510</c:v>
                </c:pt>
                <c:pt idx="2065">
                  <c:v>39511</c:v>
                </c:pt>
                <c:pt idx="2066">
                  <c:v>39512</c:v>
                </c:pt>
                <c:pt idx="2067">
                  <c:v>39513</c:v>
                </c:pt>
                <c:pt idx="2068">
                  <c:v>39514</c:v>
                </c:pt>
                <c:pt idx="2069">
                  <c:v>39517</c:v>
                </c:pt>
                <c:pt idx="2070">
                  <c:v>39518</c:v>
                </c:pt>
                <c:pt idx="2071">
                  <c:v>39519</c:v>
                </c:pt>
                <c:pt idx="2072">
                  <c:v>39520</c:v>
                </c:pt>
                <c:pt idx="2073">
                  <c:v>39521</c:v>
                </c:pt>
                <c:pt idx="2074">
                  <c:v>39524</c:v>
                </c:pt>
                <c:pt idx="2075">
                  <c:v>39525</c:v>
                </c:pt>
                <c:pt idx="2076">
                  <c:v>39526</c:v>
                </c:pt>
                <c:pt idx="2077">
                  <c:v>39527</c:v>
                </c:pt>
                <c:pt idx="2078">
                  <c:v>39532</c:v>
                </c:pt>
                <c:pt idx="2079">
                  <c:v>39533</c:v>
                </c:pt>
                <c:pt idx="2080">
                  <c:v>39534</c:v>
                </c:pt>
                <c:pt idx="2081">
                  <c:v>39535</c:v>
                </c:pt>
                <c:pt idx="2082">
                  <c:v>39538</c:v>
                </c:pt>
                <c:pt idx="2083">
                  <c:v>39539</c:v>
                </c:pt>
                <c:pt idx="2084">
                  <c:v>39540</c:v>
                </c:pt>
                <c:pt idx="2085">
                  <c:v>39541</c:v>
                </c:pt>
                <c:pt idx="2086">
                  <c:v>39542</c:v>
                </c:pt>
                <c:pt idx="2087">
                  <c:v>39545</c:v>
                </c:pt>
                <c:pt idx="2088">
                  <c:v>39546</c:v>
                </c:pt>
                <c:pt idx="2089">
                  <c:v>39547</c:v>
                </c:pt>
                <c:pt idx="2090">
                  <c:v>39548</c:v>
                </c:pt>
                <c:pt idx="2091">
                  <c:v>39549</c:v>
                </c:pt>
                <c:pt idx="2092">
                  <c:v>39552</c:v>
                </c:pt>
                <c:pt idx="2093">
                  <c:v>39553</c:v>
                </c:pt>
                <c:pt idx="2094">
                  <c:v>39554</c:v>
                </c:pt>
                <c:pt idx="2095">
                  <c:v>39555</c:v>
                </c:pt>
                <c:pt idx="2096">
                  <c:v>39556</c:v>
                </c:pt>
                <c:pt idx="2097">
                  <c:v>39559</c:v>
                </c:pt>
                <c:pt idx="2098">
                  <c:v>39560</c:v>
                </c:pt>
                <c:pt idx="2099">
                  <c:v>39561</c:v>
                </c:pt>
                <c:pt idx="2100">
                  <c:v>39562</c:v>
                </c:pt>
                <c:pt idx="2101">
                  <c:v>39563</c:v>
                </c:pt>
                <c:pt idx="2102">
                  <c:v>39566</c:v>
                </c:pt>
                <c:pt idx="2103">
                  <c:v>39567</c:v>
                </c:pt>
                <c:pt idx="2104">
                  <c:v>39568</c:v>
                </c:pt>
                <c:pt idx="2105">
                  <c:v>39569</c:v>
                </c:pt>
                <c:pt idx="2106">
                  <c:v>39570</c:v>
                </c:pt>
                <c:pt idx="2107">
                  <c:v>39573</c:v>
                </c:pt>
                <c:pt idx="2108">
                  <c:v>39574</c:v>
                </c:pt>
                <c:pt idx="2109">
                  <c:v>39575</c:v>
                </c:pt>
                <c:pt idx="2110">
                  <c:v>39576</c:v>
                </c:pt>
                <c:pt idx="2111">
                  <c:v>39577</c:v>
                </c:pt>
                <c:pt idx="2112">
                  <c:v>39580</c:v>
                </c:pt>
                <c:pt idx="2113">
                  <c:v>39581</c:v>
                </c:pt>
                <c:pt idx="2114">
                  <c:v>39582</c:v>
                </c:pt>
                <c:pt idx="2115">
                  <c:v>39583</c:v>
                </c:pt>
                <c:pt idx="2116">
                  <c:v>39584</c:v>
                </c:pt>
                <c:pt idx="2117">
                  <c:v>39587</c:v>
                </c:pt>
                <c:pt idx="2118">
                  <c:v>39588</c:v>
                </c:pt>
                <c:pt idx="2119">
                  <c:v>39589</c:v>
                </c:pt>
                <c:pt idx="2120">
                  <c:v>39590</c:v>
                </c:pt>
                <c:pt idx="2121">
                  <c:v>39591</c:v>
                </c:pt>
                <c:pt idx="2122">
                  <c:v>39594</c:v>
                </c:pt>
                <c:pt idx="2123">
                  <c:v>39595</c:v>
                </c:pt>
                <c:pt idx="2124">
                  <c:v>39596</c:v>
                </c:pt>
                <c:pt idx="2125">
                  <c:v>39597</c:v>
                </c:pt>
                <c:pt idx="2126">
                  <c:v>39598</c:v>
                </c:pt>
                <c:pt idx="2127">
                  <c:v>39601</c:v>
                </c:pt>
                <c:pt idx="2128">
                  <c:v>39602</c:v>
                </c:pt>
                <c:pt idx="2129">
                  <c:v>39603</c:v>
                </c:pt>
                <c:pt idx="2130">
                  <c:v>39604</c:v>
                </c:pt>
                <c:pt idx="2131">
                  <c:v>39605</c:v>
                </c:pt>
                <c:pt idx="2132">
                  <c:v>39608</c:v>
                </c:pt>
                <c:pt idx="2133">
                  <c:v>39609</c:v>
                </c:pt>
                <c:pt idx="2134">
                  <c:v>39610</c:v>
                </c:pt>
                <c:pt idx="2135">
                  <c:v>39611</c:v>
                </c:pt>
                <c:pt idx="2136">
                  <c:v>39612</c:v>
                </c:pt>
                <c:pt idx="2137">
                  <c:v>39615</c:v>
                </c:pt>
                <c:pt idx="2138">
                  <c:v>39616</c:v>
                </c:pt>
                <c:pt idx="2139">
                  <c:v>39617</c:v>
                </c:pt>
                <c:pt idx="2140">
                  <c:v>39618</c:v>
                </c:pt>
                <c:pt idx="2141">
                  <c:v>39619</c:v>
                </c:pt>
                <c:pt idx="2142">
                  <c:v>39622</c:v>
                </c:pt>
                <c:pt idx="2143">
                  <c:v>39623</c:v>
                </c:pt>
                <c:pt idx="2144">
                  <c:v>39624</c:v>
                </c:pt>
                <c:pt idx="2145">
                  <c:v>39625</c:v>
                </c:pt>
                <c:pt idx="2146">
                  <c:v>39626</c:v>
                </c:pt>
                <c:pt idx="2147">
                  <c:v>39629</c:v>
                </c:pt>
                <c:pt idx="2148">
                  <c:v>39630</c:v>
                </c:pt>
                <c:pt idx="2149">
                  <c:v>39631</c:v>
                </c:pt>
                <c:pt idx="2150">
                  <c:v>39632</c:v>
                </c:pt>
                <c:pt idx="2151">
                  <c:v>39633</c:v>
                </c:pt>
                <c:pt idx="2152">
                  <c:v>39636</c:v>
                </c:pt>
                <c:pt idx="2153">
                  <c:v>39637</c:v>
                </c:pt>
                <c:pt idx="2154">
                  <c:v>39638</c:v>
                </c:pt>
                <c:pt idx="2155">
                  <c:v>39639</c:v>
                </c:pt>
                <c:pt idx="2156">
                  <c:v>39640</c:v>
                </c:pt>
                <c:pt idx="2157">
                  <c:v>39643</c:v>
                </c:pt>
                <c:pt idx="2158">
                  <c:v>39644</c:v>
                </c:pt>
                <c:pt idx="2159">
                  <c:v>39645</c:v>
                </c:pt>
                <c:pt idx="2160">
                  <c:v>39646</c:v>
                </c:pt>
                <c:pt idx="2161">
                  <c:v>39647</c:v>
                </c:pt>
                <c:pt idx="2162">
                  <c:v>39650</c:v>
                </c:pt>
                <c:pt idx="2163">
                  <c:v>39651</c:v>
                </c:pt>
                <c:pt idx="2164">
                  <c:v>39652</c:v>
                </c:pt>
                <c:pt idx="2165">
                  <c:v>39653</c:v>
                </c:pt>
                <c:pt idx="2166">
                  <c:v>39654</c:v>
                </c:pt>
                <c:pt idx="2167">
                  <c:v>39657</c:v>
                </c:pt>
                <c:pt idx="2168">
                  <c:v>39658</c:v>
                </c:pt>
                <c:pt idx="2169">
                  <c:v>39659</c:v>
                </c:pt>
                <c:pt idx="2170">
                  <c:v>39660</c:v>
                </c:pt>
                <c:pt idx="2171">
                  <c:v>39661</c:v>
                </c:pt>
                <c:pt idx="2172">
                  <c:v>39664</c:v>
                </c:pt>
                <c:pt idx="2173">
                  <c:v>39665</c:v>
                </c:pt>
                <c:pt idx="2174">
                  <c:v>39666</c:v>
                </c:pt>
                <c:pt idx="2175">
                  <c:v>39667</c:v>
                </c:pt>
                <c:pt idx="2176">
                  <c:v>39668</c:v>
                </c:pt>
                <c:pt idx="2177">
                  <c:v>39671</c:v>
                </c:pt>
                <c:pt idx="2178">
                  <c:v>39672</c:v>
                </c:pt>
                <c:pt idx="2179">
                  <c:v>39673</c:v>
                </c:pt>
                <c:pt idx="2180">
                  <c:v>39674</c:v>
                </c:pt>
                <c:pt idx="2181">
                  <c:v>39675</c:v>
                </c:pt>
                <c:pt idx="2182">
                  <c:v>39678</c:v>
                </c:pt>
                <c:pt idx="2183">
                  <c:v>39679</c:v>
                </c:pt>
                <c:pt idx="2184">
                  <c:v>39680</c:v>
                </c:pt>
                <c:pt idx="2185">
                  <c:v>39681</c:v>
                </c:pt>
                <c:pt idx="2186">
                  <c:v>39682</c:v>
                </c:pt>
                <c:pt idx="2187">
                  <c:v>39685</c:v>
                </c:pt>
                <c:pt idx="2188">
                  <c:v>39686</c:v>
                </c:pt>
                <c:pt idx="2189">
                  <c:v>39687</c:v>
                </c:pt>
                <c:pt idx="2190">
                  <c:v>39688</c:v>
                </c:pt>
                <c:pt idx="2191">
                  <c:v>39689</c:v>
                </c:pt>
                <c:pt idx="2192">
                  <c:v>39692</c:v>
                </c:pt>
                <c:pt idx="2193">
                  <c:v>39693</c:v>
                </c:pt>
                <c:pt idx="2194">
                  <c:v>39694</c:v>
                </c:pt>
                <c:pt idx="2195">
                  <c:v>39695</c:v>
                </c:pt>
                <c:pt idx="2196">
                  <c:v>39696</c:v>
                </c:pt>
                <c:pt idx="2197">
                  <c:v>39699</c:v>
                </c:pt>
                <c:pt idx="2198">
                  <c:v>39700</c:v>
                </c:pt>
                <c:pt idx="2199">
                  <c:v>39701</c:v>
                </c:pt>
                <c:pt idx="2200">
                  <c:v>39702</c:v>
                </c:pt>
                <c:pt idx="2201">
                  <c:v>39703</c:v>
                </c:pt>
                <c:pt idx="2202">
                  <c:v>39706</c:v>
                </c:pt>
                <c:pt idx="2203">
                  <c:v>39707</c:v>
                </c:pt>
                <c:pt idx="2204">
                  <c:v>39708</c:v>
                </c:pt>
                <c:pt idx="2205">
                  <c:v>39709</c:v>
                </c:pt>
                <c:pt idx="2206">
                  <c:v>39710</c:v>
                </c:pt>
                <c:pt idx="2207">
                  <c:v>39713</c:v>
                </c:pt>
                <c:pt idx="2208">
                  <c:v>39714</c:v>
                </c:pt>
                <c:pt idx="2209">
                  <c:v>39715</c:v>
                </c:pt>
                <c:pt idx="2210">
                  <c:v>39716</c:v>
                </c:pt>
                <c:pt idx="2211">
                  <c:v>39717</c:v>
                </c:pt>
                <c:pt idx="2212">
                  <c:v>39720</c:v>
                </c:pt>
                <c:pt idx="2213">
                  <c:v>39721</c:v>
                </c:pt>
                <c:pt idx="2214">
                  <c:v>39722</c:v>
                </c:pt>
                <c:pt idx="2215">
                  <c:v>39723</c:v>
                </c:pt>
                <c:pt idx="2216">
                  <c:v>39724</c:v>
                </c:pt>
                <c:pt idx="2217">
                  <c:v>39727</c:v>
                </c:pt>
                <c:pt idx="2218">
                  <c:v>39728</c:v>
                </c:pt>
                <c:pt idx="2219">
                  <c:v>39729</c:v>
                </c:pt>
                <c:pt idx="2220">
                  <c:v>39730</c:v>
                </c:pt>
                <c:pt idx="2221">
                  <c:v>39731</c:v>
                </c:pt>
                <c:pt idx="2222">
                  <c:v>39734</c:v>
                </c:pt>
                <c:pt idx="2223">
                  <c:v>39735</c:v>
                </c:pt>
                <c:pt idx="2224">
                  <c:v>39736</c:v>
                </c:pt>
                <c:pt idx="2225">
                  <c:v>39737</c:v>
                </c:pt>
                <c:pt idx="2226">
                  <c:v>39738</c:v>
                </c:pt>
                <c:pt idx="2227">
                  <c:v>39741</c:v>
                </c:pt>
                <c:pt idx="2228">
                  <c:v>39742</c:v>
                </c:pt>
                <c:pt idx="2229">
                  <c:v>39743</c:v>
                </c:pt>
                <c:pt idx="2230">
                  <c:v>39744</c:v>
                </c:pt>
                <c:pt idx="2231">
                  <c:v>39745</c:v>
                </c:pt>
                <c:pt idx="2232">
                  <c:v>39748</c:v>
                </c:pt>
                <c:pt idx="2233">
                  <c:v>39749</c:v>
                </c:pt>
                <c:pt idx="2234">
                  <c:v>39750</c:v>
                </c:pt>
                <c:pt idx="2235">
                  <c:v>39751</c:v>
                </c:pt>
                <c:pt idx="2236">
                  <c:v>39752</c:v>
                </c:pt>
                <c:pt idx="2237">
                  <c:v>39755</c:v>
                </c:pt>
                <c:pt idx="2238">
                  <c:v>39756</c:v>
                </c:pt>
                <c:pt idx="2239">
                  <c:v>39757</c:v>
                </c:pt>
                <c:pt idx="2240">
                  <c:v>39758</c:v>
                </c:pt>
                <c:pt idx="2241">
                  <c:v>39759</c:v>
                </c:pt>
                <c:pt idx="2242">
                  <c:v>39762</c:v>
                </c:pt>
                <c:pt idx="2243">
                  <c:v>39763</c:v>
                </c:pt>
                <c:pt idx="2244">
                  <c:v>39764</c:v>
                </c:pt>
                <c:pt idx="2245">
                  <c:v>39765</c:v>
                </c:pt>
                <c:pt idx="2246">
                  <c:v>39766</c:v>
                </c:pt>
                <c:pt idx="2247">
                  <c:v>39769</c:v>
                </c:pt>
                <c:pt idx="2248">
                  <c:v>39770</c:v>
                </c:pt>
                <c:pt idx="2249">
                  <c:v>39771</c:v>
                </c:pt>
                <c:pt idx="2250">
                  <c:v>39772</c:v>
                </c:pt>
                <c:pt idx="2251">
                  <c:v>39773</c:v>
                </c:pt>
                <c:pt idx="2252">
                  <c:v>39776</c:v>
                </c:pt>
                <c:pt idx="2253">
                  <c:v>39777</c:v>
                </c:pt>
                <c:pt idx="2254">
                  <c:v>39778</c:v>
                </c:pt>
                <c:pt idx="2255">
                  <c:v>39779</c:v>
                </c:pt>
                <c:pt idx="2256">
                  <c:v>39780</c:v>
                </c:pt>
                <c:pt idx="2257">
                  <c:v>39783</c:v>
                </c:pt>
                <c:pt idx="2258">
                  <c:v>39784</c:v>
                </c:pt>
                <c:pt idx="2259">
                  <c:v>39785</c:v>
                </c:pt>
                <c:pt idx="2260">
                  <c:v>39786</c:v>
                </c:pt>
                <c:pt idx="2261">
                  <c:v>39787</c:v>
                </c:pt>
                <c:pt idx="2262">
                  <c:v>39790</c:v>
                </c:pt>
                <c:pt idx="2263">
                  <c:v>39791</c:v>
                </c:pt>
                <c:pt idx="2264">
                  <c:v>39792</c:v>
                </c:pt>
                <c:pt idx="2265">
                  <c:v>39793</c:v>
                </c:pt>
                <c:pt idx="2266">
                  <c:v>39794</c:v>
                </c:pt>
                <c:pt idx="2267">
                  <c:v>39797</c:v>
                </c:pt>
                <c:pt idx="2268">
                  <c:v>39798</c:v>
                </c:pt>
                <c:pt idx="2269">
                  <c:v>39799</c:v>
                </c:pt>
                <c:pt idx="2270">
                  <c:v>39800</c:v>
                </c:pt>
                <c:pt idx="2271">
                  <c:v>39801</c:v>
                </c:pt>
                <c:pt idx="2272">
                  <c:v>39804</c:v>
                </c:pt>
                <c:pt idx="2273">
                  <c:v>39805</c:v>
                </c:pt>
                <c:pt idx="2274">
                  <c:v>39806</c:v>
                </c:pt>
                <c:pt idx="2275">
                  <c:v>39811</c:v>
                </c:pt>
                <c:pt idx="2276">
                  <c:v>39812</c:v>
                </c:pt>
                <c:pt idx="2277">
                  <c:v>39813</c:v>
                </c:pt>
                <c:pt idx="2278">
                  <c:v>39815</c:v>
                </c:pt>
                <c:pt idx="2279">
                  <c:v>39818</c:v>
                </c:pt>
                <c:pt idx="2280">
                  <c:v>39819</c:v>
                </c:pt>
                <c:pt idx="2281">
                  <c:v>39820</c:v>
                </c:pt>
                <c:pt idx="2282">
                  <c:v>39821</c:v>
                </c:pt>
                <c:pt idx="2283">
                  <c:v>39822</c:v>
                </c:pt>
                <c:pt idx="2284">
                  <c:v>39825</c:v>
                </c:pt>
                <c:pt idx="2285">
                  <c:v>39826</c:v>
                </c:pt>
                <c:pt idx="2286">
                  <c:v>39827</c:v>
                </c:pt>
                <c:pt idx="2287">
                  <c:v>39828</c:v>
                </c:pt>
                <c:pt idx="2288">
                  <c:v>39829</c:v>
                </c:pt>
                <c:pt idx="2289">
                  <c:v>39832</c:v>
                </c:pt>
                <c:pt idx="2290">
                  <c:v>39833</c:v>
                </c:pt>
                <c:pt idx="2291">
                  <c:v>39834</c:v>
                </c:pt>
                <c:pt idx="2292">
                  <c:v>39835</c:v>
                </c:pt>
                <c:pt idx="2293">
                  <c:v>39836</c:v>
                </c:pt>
                <c:pt idx="2294">
                  <c:v>39839</c:v>
                </c:pt>
                <c:pt idx="2295">
                  <c:v>39840</c:v>
                </c:pt>
                <c:pt idx="2296">
                  <c:v>39841</c:v>
                </c:pt>
                <c:pt idx="2297">
                  <c:v>39842</c:v>
                </c:pt>
                <c:pt idx="2298">
                  <c:v>39843</c:v>
                </c:pt>
                <c:pt idx="2299">
                  <c:v>39846</c:v>
                </c:pt>
                <c:pt idx="2300">
                  <c:v>39847</c:v>
                </c:pt>
                <c:pt idx="2301">
                  <c:v>39848</c:v>
                </c:pt>
                <c:pt idx="2302">
                  <c:v>39849</c:v>
                </c:pt>
                <c:pt idx="2303">
                  <c:v>39850</c:v>
                </c:pt>
                <c:pt idx="2304">
                  <c:v>39853</c:v>
                </c:pt>
                <c:pt idx="2305">
                  <c:v>39854</c:v>
                </c:pt>
                <c:pt idx="2306">
                  <c:v>39855</c:v>
                </c:pt>
                <c:pt idx="2307">
                  <c:v>39856</c:v>
                </c:pt>
                <c:pt idx="2308">
                  <c:v>39857</c:v>
                </c:pt>
                <c:pt idx="2309">
                  <c:v>39860</c:v>
                </c:pt>
                <c:pt idx="2310">
                  <c:v>39861</c:v>
                </c:pt>
                <c:pt idx="2311">
                  <c:v>39862</c:v>
                </c:pt>
                <c:pt idx="2312">
                  <c:v>39863</c:v>
                </c:pt>
                <c:pt idx="2313">
                  <c:v>39864</c:v>
                </c:pt>
                <c:pt idx="2314">
                  <c:v>39867</c:v>
                </c:pt>
                <c:pt idx="2315">
                  <c:v>39868</c:v>
                </c:pt>
                <c:pt idx="2316">
                  <c:v>39869</c:v>
                </c:pt>
                <c:pt idx="2317">
                  <c:v>39870</c:v>
                </c:pt>
                <c:pt idx="2318">
                  <c:v>39871</c:v>
                </c:pt>
                <c:pt idx="2319">
                  <c:v>39874</c:v>
                </c:pt>
                <c:pt idx="2320">
                  <c:v>39875</c:v>
                </c:pt>
                <c:pt idx="2321">
                  <c:v>39876</c:v>
                </c:pt>
                <c:pt idx="2322">
                  <c:v>39877</c:v>
                </c:pt>
                <c:pt idx="2323">
                  <c:v>39878</c:v>
                </c:pt>
                <c:pt idx="2324">
                  <c:v>39881</c:v>
                </c:pt>
                <c:pt idx="2325">
                  <c:v>39882</c:v>
                </c:pt>
                <c:pt idx="2326">
                  <c:v>39883</c:v>
                </c:pt>
                <c:pt idx="2327">
                  <c:v>39884</c:v>
                </c:pt>
                <c:pt idx="2328">
                  <c:v>39885</c:v>
                </c:pt>
                <c:pt idx="2329">
                  <c:v>39888</c:v>
                </c:pt>
                <c:pt idx="2330">
                  <c:v>39889</c:v>
                </c:pt>
                <c:pt idx="2331">
                  <c:v>39890</c:v>
                </c:pt>
                <c:pt idx="2332">
                  <c:v>39891</c:v>
                </c:pt>
                <c:pt idx="2333">
                  <c:v>39892</c:v>
                </c:pt>
                <c:pt idx="2334">
                  <c:v>39895</c:v>
                </c:pt>
                <c:pt idx="2335">
                  <c:v>39896</c:v>
                </c:pt>
                <c:pt idx="2336">
                  <c:v>39897</c:v>
                </c:pt>
                <c:pt idx="2337">
                  <c:v>39898</c:v>
                </c:pt>
                <c:pt idx="2338">
                  <c:v>39899</c:v>
                </c:pt>
                <c:pt idx="2339">
                  <c:v>39902</c:v>
                </c:pt>
                <c:pt idx="2340">
                  <c:v>39903</c:v>
                </c:pt>
                <c:pt idx="2341">
                  <c:v>39904</c:v>
                </c:pt>
                <c:pt idx="2342">
                  <c:v>39905</c:v>
                </c:pt>
                <c:pt idx="2343">
                  <c:v>39906</c:v>
                </c:pt>
                <c:pt idx="2344">
                  <c:v>39909</c:v>
                </c:pt>
                <c:pt idx="2345">
                  <c:v>39910</c:v>
                </c:pt>
                <c:pt idx="2346">
                  <c:v>39911</c:v>
                </c:pt>
                <c:pt idx="2347">
                  <c:v>39912</c:v>
                </c:pt>
                <c:pt idx="2348">
                  <c:v>39917</c:v>
                </c:pt>
                <c:pt idx="2349">
                  <c:v>39918</c:v>
                </c:pt>
                <c:pt idx="2350">
                  <c:v>39919</c:v>
                </c:pt>
                <c:pt idx="2351">
                  <c:v>39920</c:v>
                </c:pt>
                <c:pt idx="2352">
                  <c:v>39923</c:v>
                </c:pt>
                <c:pt idx="2353">
                  <c:v>39924</c:v>
                </c:pt>
                <c:pt idx="2354">
                  <c:v>39925</c:v>
                </c:pt>
                <c:pt idx="2355">
                  <c:v>39926</c:v>
                </c:pt>
                <c:pt idx="2356">
                  <c:v>39927</c:v>
                </c:pt>
                <c:pt idx="2357">
                  <c:v>39930</c:v>
                </c:pt>
                <c:pt idx="2358">
                  <c:v>39931</c:v>
                </c:pt>
                <c:pt idx="2359">
                  <c:v>39932</c:v>
                </c:pt>
                <c:pt idx="2360">
                  <c:v>39933</c:v>
                </c:pt>
                <c:pt idx="2361">
                  <c:v>39934</c:v>
                </c:pt>
                <c:pt idx="2362">
                  <c:v>39937</c:v>
                </c:pt>
                <c:pt idx="2363">
                  <c:v>39938</c:v>
                </c:pt>
                <c:pt idx="2364">
                  <c:v>39939</c:v>
                </c:pt>
                <c:pt idx="2365">
                  <c:v>39940</c:v>
                </c:pt>
                <c:pt idx="2366">
                  <c:v>39941</c:v>
                </c:pt>
                <c:pt idx="2367">
                  <c:v>39944</c:v>
                </c:pt>
                <c:pt idx="2368">
                  <c:v>39945</c:v>
                </c:pt>
                <c:pt idx="2369">
                  <c:v>39946</c:v>
                </c:pt>
                <c:pt idx="2370">
                  <c:v>39947</c:v>
                </c:pt>
                <c:pt idx="2371">
                  <c:v>39948</c:v>
                </c:pt>
                <c:pt idx="2372">
                  <c:v>39951</c:v>
                </c:pt>
                <c:pt idx="2373">
                  <c:v>39952</c:v>
                </c:pt>
                <c:pt idx="2374">
                  <c:v>39953</c:v>
                </c:pt>
                <c:pt idx="2375">
                  <c:v>39954</c:v>
                </c:pt>
                <c:pt idx="2376">
                  <c:v>39955</c:v>
                </c:pt>
                <c:pt idx="2377">
                  <c:v>39958</c:v>
                </c:pt>
                <c:pt idx="2378">
                  <c:v>39959</c:v>
                </c:pt>
                <c:pt idx="2379">
                  <c:v>39960</c:v>
                </c:pt>
                <c:pt idx="2380">
                  <c:v>39961</c:v>
                </c:pt>
                <c:pt idx="2381">
                  <c:v>39962</c:v>
                </c:pt>
                <c:pt idx="2382">
                  <c:v>39965</c:v>
                </c:pt>
                <c:pt idx="2383">
                  <c:v>39966</c:v>
                </c:pt>
                <c:pt idx="2384">
                  <c:v>39967</c:v>
                </c:pt>
                <c:pt idx="2385">
                  <c:v>39968</c:v>
                </c:pt>
                <c:pt idx="2386">
                  <c:v>39969</c:v>
                </c:pt>
                <c:pt idx="2387">
                  <c:v>39972</c:v>
                </c:pt>
                <c:pt idx="2388">
                  <c:v>39973</c:v>
                </c:pt>
                <c:pt idx="2389">
                  <c:v>39974</c:v>
                </c:pt>
                <c:pt idx="2390">
                  <c:v>39975</c:v>
                </c:pt>
                <c:pt idx="2391">
                  <c:v>39976</c:v>
                </c:pt>
                <c:pt idx="2392">
                  <c:v>39979</c:v>
                </c:pt>
                <c:pt idx="2393">
                  <c:v>39980</c:v>
                </c:pt>
                <c:pt idx="2394">
                  <c:v>39981</c:v>
                </c:pt>
                <c:pt idx="2395">
                  <c:v>39982</c:v>
                </c:pt>
                <c:pt idx="2396">
                  <c:v>39983</c:v>
                </c:pt>
                <c:pt idx="2397">
                  <c:v>39986</c:v>
                </c:pt>
                <c:pt idx="2398">
                  <c:v>39987</c:v>
                </c:pt>
                <c:pt idx="2399">
                  <c:v>39988</c:v>
                </c:pt>
                <c:pt idx="2400">
                  <c:v>39989</c:v>
                </c:pt>
                <c:pt idx="2401">
                  <c:v>39990</c:v>
                </c:pt>
                <c:pt idx="2402">
                  <c:v>39993</c:v>
                </c:pt>
                <c:pt idx="2403">
                  <c:v>39994</c:v>
                </c:pt>
                <c:pt idx="2404">
                  <c:v>39995</c:v>
                </c:pt>
                <c:pt idx="2405">
                  <c:v>39996</c:v>
                </c:pt>
                <c:pt idx="2406">
                  <c:v>39997</c:v>
                </c:pt>
                <c:pt idx="2407">
                  <c:v>40000</c:v>
                </c:pt>
                <c:pt idx="2408">
                  <c:v>40001</c:v>
                </c:pt>
                <c:pt idx="2409">
                  <c:v>40002</c:v>
                </c:pt>
                <c:pt idx="2410">
                  <c:v>40003</c:v>
                </c:pt>
                <c:pt idx="2411">
                  <c:v>40004</c:v>
                </c:pt>
                <c:pt idx="2412">
                  <c:v>40007</c:v>
                </c:pt>
                <c:pt idx="2413">
                  <c:v>40008</c:v>
                </c:pt>
                <c:pt idx="2414">
                  <c:v>40009</c:v>
                </c:pt>
                <c:pt idx="2415">
                  <c:v>40010</c:v>
                </c:pt>
                <c:pt idx="2416">
                  <c:v>40011</c:v>
                </c:pt>
                <c:pt idx="2417">
                  <c:v>40014</c:v>
                </c:pt>
                <c:pt idx="2418">
                  <c:v>40015</c:v>
                </c:pt>
                <c:pt idx="2419">
                  <c:v>40016</c:v>
                </c:pt>
                <c:pt idx="2420">
                  <c:v>40017</c:v>
                </c:pt>
                <c:pt idx="2421">
                  <c:v>40018</c:v>
                </c:pt>
                <c:pt idx="2422">
                  <c:v>40021</c:v>
                </c:pt>
                <c:pt idx="2423">
                  <c:v>40022</c:v>
                </c:pt>
                <c:pt idx="2424">
                  <c:v>40023</c:v>
                </c:pt>
                <c:pt idx="2425">
                  <c:v>40024</c:v>
                </c:pt>
                <c:pt idx="2426">
                  <c:v>40025</c:v>
                </c:pt>
                <c:pt idx="2427">
                  <c:v>40028</c:v>
                </c:pt>
                <c:pt idx="2428">
                  <c:v>40029</c:v>
                </c:pt>
                <c:pt idx="2429">
                  <c:v>40030</c:v>
                </c:pt>
                <c:pt idx="2430">
                  <c:v>40031</c:v>
                </c:pt>
                <c:pt idx="2431">
                  <c:v>40032</c:v>
                </c:pt>
                <c:pt idx="2432">
                  <c:v>40035</c:v>
                </c:pt>
                <c:pt idx="2433">
                  <c:v>40036</c:v>
                </c:pt>
                <c:pt idx="2434">
                  <c:v>40037</c:v>
                </c:pt>
                <c:pt idx="2435">
                  <c:v>40038</c:v>
                </c:pt>
                <c:pt idx="2436">
                  <c:v>40039</c:v>
                </c:pt>
                <c:pt idx="2437">
                  <c:v>40042</c:v>
                </c:pt>
                <c:pt idx="2438">
                  <c:v>40043</c:v>
                </c:pt>
                <c:pt idx="2439">
                  <c:v>40044</c:v>
                </c:pt>
                <c:pt idx="2440">
                  <c:v>40045</c:v>
                </c:pt>
                <c:pt idx="2441">
                  <c:v>40046</c:v>
                </c:pt>
                <c:pt idx="2442">
                  <c:v>40049</c:v>
                </c:pt>
                <c:pt idx="2443">
                  <c:v>40050</c:v>
                </c:pt>
                <c:pt idx="2444">
                  <c:v>40051</c:v>
                </c:pt>
                <c:pt idx="2445">
                  <c:v>40052</c:v>
                </c:pt>
                <c:pt idx="2446">
                  <c:v>40053</c:v>
                </c:pt>
                <c:pt idx="2447">
                  <c:v>40056</c:v>
                </c:pt>
                <c:pt idx="2448">
                  <c:v>40057</c:v>
                </c:pt>
                <c:pt idx="2449">
                  <c:v>40058</c:v>
                </c:pt>
                <c:pt idx="2450">
                  <c:v>40059</c:v>
                </c:pt>
                <c:pt idx="2451">
                  <c:v>40060</c:v>
                </c:pt>
                <c:pt idx="2452">
                  <c:v>40063</c:v>
                </c:pt>
                <c:pt idx="2453">
                  <c:v>40064</c:v>
                </c:pt>
                <c:pt idx="2454">
                  <c:v>40065</c:v>
                </c:pt>
                <c:pt idx="2455">
                  <c:v>40066</c:v>
                </c:pt>
                <c:pt idx="2456">
                  <c:v>40067</c:v>
                </c:pt>
                <c:pt idx="2457">
                  <c:v>40070</c:v>
                </c:pt>
                <c:pt idx="2458">
                  <c:v>40071</c:v>
                </c:pt>
                <c:pt idx="2459">
                  <c:v>40072</c:v>
                </c:pt>
                <c:pt idx="2460">
                  <c:v>40073</c:v>
                </c:pt>
                <c:pt idx="2461">
                  <c:v>40074</c:v>
                </c:pt>
                <c:pt idx="2462">
                  <c:v>40077</c:v>
                </c:pt>
                <c:pt idx="2463">
                  <c:v>40078</c:v>
                </c:pt>
                <c:pt idx="2464">
                  <c:v>40079</c:v>
                </c:pt>
                <c:pt idx="2465">
                  <c:v>40080</c:v>
                </c:pt>
                <c:pt idx="2466">
                  <c:v>40081</c:v>
                </c:pt>
                <c:pt idx="2467">
                  <c:v>40084</c:v>
                </c:pt>
                <c:pt idx="2468">
                  <c:v>40085</c:v>
                </c:pt>
                <c:pt idx="2469">
                  <c:v>40086</c:v>
                </c:pt>
                <c:pt idx="2470">
                  <c:v>40087</c:v>
                </c:pt>
                <c:pt idx="2471">
                  <c:v>40088</c:v>
                </c:pt>
                <c:pt idx="2472">
                  <c:v>40091</c:v>
                </c:pt>
                <c:pt idx="2473">
                  <c:v>40092</c:v>
                </c:pt>
                <c:pt idx="2474">
                  <c:v>40093</c:v>
                </c:pt>
                <c:pt idx="2475">
                  <c:v>40094</c:v>
                </c:pt>
                <c:pt idx="2476">
                  <c:v>40095</c:v>
                </c:pt>
                <c:pt idx="2477">
                  <c:v>40098</c:v>
                </c:pt>
                <c:pt idx="2478">
                  <c:v>40099</c:v>
                </c:pt>
                <c:pt idx="2479">
                  <c:v>40100</c:v>
                </c:pt>
                <c:pt idx="2480">
                  <c:v>40101</c:v>
                </c:pt>
                <c:pt idx="2481">
                  <c:v>40102</c:v>
                </c:pt>
                <c:pt idx="2482">
                  <c:v>40105</c:v>
                </c:pt>
                <c:pt idx="2483">
                  <c:v>40106</c:v>
                </c:pt>
                <c:pt idx="2484">
                  <c:v>40107</c:v>
                </c:pt>
                <c:pt idx="2485">
                  <c:v>40108</c:v>
                </c:pt>
                <c:pt idx="2486">
                  <c:v>40109</c:v>
                </c:pt>
                <c:pt idx="2487">
                  <c:v>40112</c:v>
                </c:pt>
                <c:pt idx="2488">
                  <c:v>40113</c:v>
                </c:pt>
                <c:pt idx="2489">
                  <c:v>40114</c:v>
                </c:pt>
                <c:pt idx="2490">
                  <c:v>40115</c:v>
                </c:pt>
                <c:pt idx="2491">
                  <c:v>40116</c:v>
                </c:pt>
                <c:pt idx="2492">
                  <c:v>40119</c:v>
                </c:pt>
                <c:pt idx="2493">
                  <c:v>40120</c:v>
                </c:pt>
                <c:pt idx="2494">
                  <c:v>40121</c:v>
                </c:pt>
                <c:pt idx="2495">
                  <c:v>40122</c:v>
                </c:pt>
                <c:pt idx="2496">
                  <c:v>40123</c:v>
                </c:pt>
                <c:pt idx="2497">
                  <c:v>40126</c:v>
                </c:pt>
                <c:pt idx="2498">
                  <c:v>40127</c:v>
                </c:pt>
                <c:pt idx="2499">
                  <c:v>40128</c:v>
                </c:pt>
                <c:pt idx="2500">
                  <c:v>40129</c:v>
                </c:pt>
                <c:pt idx="2501">
                  <c:v>40130</c:v>
                </c:pt>
                <c:pt idx="2502">
                  <c:v>40133</c:v>
                </c:pt>
                <c:pt idx="2503">
                  <c:v>40134</c:v>
                </c:pt>
                <c:pt idx="2504">
                  <c:v>40135</c:v>
                </c:pt>
                <c:pt idx="2505">
                  <c:v>40136</c:v>
                </c:pt>
                <c:pt idx="2506">
                  <c:v>40137</c:v>
                </c:pt>
                <c:pt idx="2507">
                  <c:v>40140</c:v>
                </c:pt>
                <c:pt idx="2508">
                  <c:v>40141</c:v>
                </c:pt>
                <c:pt idx="2509">
                  <c:v>40142</c:v>
                </c:pt>
                <c:pt idx="2510">
                  <c:v>40143</c:v>
                </c:pt>
                <c:pt idx="2511">
                  <c:v>40144</c:v>
                </c:pt>
                <c:pt idx="2512">
                  <c:v>40147</c:v>
                </c:pt>
                <c:pt idx="2513">
                  <c:v>40148</c:v>
                </c:pt>
                <c:pt idx="2514">
                  <c:v>40149</c:v>
                </c:pt>
                <c:pt idx="2515">
                  <c:v>40150</c:v>
                </c:pt>
                <c:pt idx="2516">
                  <c:v>40151</c:v>
                </c:pt>
                <c:pt idx="2517">
                  <c:v>40154</c:v>
                </c:pt>
                <c:pt idx="2518">
                  <c:v>40155</c:v>
                </c:pt>
                <c:pt idx="2519">
                  <c:v>40156</c:v>
                </c:pt>
                <c:pt idx="2520">
                  <c:v>40157</c:v>
                </c:pt>
                <c:pt idx="2521">
                  <c:v>40158</c:v>
                </c:pt>
                <c:pt idx="2522">
                  <c:v>40161</c:v>
                </c:pt>
                <c:pt idx="2523">
                  <c:v>40162</c:v>
                </c:pt>
                <c:pt idx="2524">
                  <c:v>40163</c:v>
                </c:pt>
                <c:pt idx="2525">
                  <c:v>40164</c:v>
                </c:pt>
                <c:pt idx="2526">
                  <c:v>40165</c:v>
                </c:pt>
                <c:pt idx="2527">
                  <c:v>40168</c:v>
                </c:pt>
                <c:pt idx="2528">
                  <c:v>40169</c:v>
                </c:pt>
                <c:pt idx="2529">
                  <c:v>40170</c:v>
                </c:pt>
                <c:pt idx="2530">
                  <c:v>40171</c:v>
                </c:pt>
                <c:pt idx="2531">
                  <c:v>40175</c:v>
                </c:pt>
                <c:pt idx="2532">
                  <c:v>40176</c:v>
                </c:pt>
                <c:pt idx="2533">
                  <c:v>40177</c:v>
                </c:pt>
                <c:pt idx="2534">
                  <c:v>40178</c:v>
                </c:pt>
                <c:pt idx="2535">
                  <c:v>40182</c:v>
                </c:pt>
                <c:pt idx="2536">
                  <c:v>40183</c:v>
                </c:pt>
                <c:pt idx="2537">
                  <c:v>40184</c:v>
                </c:pt>
                <c:pt idx="2538">
                  <c:v>40185</c:v>
                </c:pt>
                <c:pt idx="2539">
                  <c:v>40186</c:v>
                </c:pt>
                <c:pt idx="2540">
                  <c:v>40189</c:v>
                </c:pt>
                <c:pt idx="2541">
                  <c:v>40190</c:v>
                </c:pt>
                <c:pt idx="2542">
                  <c:v>40191</c:v>
                </c:pt>
                <c:pt idx="2543">
                  <c:v>40192</c:v>
                </c:pt>
                <c:pt idx="2544">
                  <c:v>40193</c:v>
                </c:pt>
                <c:pt idx="2545">
                  <c:v>40196</c:v>
                </c:pt>
                <c:pt idx="2546">
                  <c:v>40197</c:v>
                </c:pt>
                <c:pt idx="2547">
                  <c:v>40198</c:v>
                </c:pt>
                <c:pt idx="2548">
                  <c:v>40199</c:v>
                </c:pt>
                <c:pt idx="2549">
                  <c:v>40200</c:v>
                </c:pt>
                <c:pt idx="2550">
                  <c:v>40203</c:v>
                </c:pt>
                <c:pt idx="2551">
                  <c:v>40204</c:v>
                </c:pt>
                <c:pt idx="2552">
                  <c:v>40205</c:v>
                </c:pt>
                <c:pt idx="2553">
                  <c:v>40206</c:v>
                </c:pt>
                <c:pt idx="2554">
                  <c:v>40207</c:v>
                </c:pt>
                <c:pt idx="2555">
                  <c:v>40210</c:v>
                </c:pt>
                <c:pt idx="2556">
                  <c:v>40211</c:v>
                </c:pt>
                <c:pt idx="2557">
                  <c:v>40212</c:v>
                </c:pt>
                <c:pt idx="2558">
                  <c:v>40213</c:v>
                </c:pt>
                <c:pt idx="2559">
                  <c:v>40214</c:v>
                </c:pt>
                <c:pt idx="2560">
                  <c:v>40217</c:v>
                </c:pt>
                <c:pt idx="2561">
                  <c:v>40218</c:v>
                </c:pt>
                <c:pt idx="2562">
                  <c:v>40219</c:v>
                </c:pt>
                <c:pt idx="2563">
                  <c:v>40220</c:v>
                </c:pt>
                <c:pt idx="2564">
                  <c:v>40221</c:v>
                </c:pt>
                <c:pt idx="2565">
                  <c:v>40224</c:v>
                </c:pt>
                <c:pt idx="2566">
                  <c:v>40225</c:v>
                </c:pt>
                <c:pt idx="2567">
                  <c:v>40226</c:v>
                </c:pt>
                <c:pt idx="2568">
                  <c:v>40227</c:v>
                </c:pt>
                <c:pt idx="2569">
                  <c:v>40228</c:v>
                </c:pt>
                <c:pt idx="2570">
                  <c:v>40231</c:v>
                </c:pt>
                <c:pt idx="2571">
                  <c:v>40232</c:v>
                </c:pt>
                <c:pt idx="2572">
                  <c:v>40233</c:v>
                </c:pt>
                <c:pt idx="2573">
                  <c:v>40234</c:v>
                </c:pt>
                <c:pt idx="2574">
                  <c:v>40235</c:v>
                </c:pt>
                <c:pt idx="2575">
                  <c:v>40238</c:v>
                </c:pt>
                <c:pt idx="2576">
                  <c:v>40239</c:v>
                </c:pt>
                <c:pt idx="2577">
                  <c:v>40240</c:v>
                </c:pt>
                <c:pt idx="2578">
                  <c:v>40241</c:v>
                </c:pt>
                <c:pt idx="2579">
                  <c:v>40242</c:v>
                </c:pt>
                <c:pt idx="2580">
                  <c:v>40245</c:v>
                </c:pt>
                <c:pt idx="2581">
                  <c:v>40246</c:v>
                </c:pt>
                <c:pt idx="2582">
                  <c:v>40247</c:v>
                </c:pt>
                <c:pt idx="2583">
                  <c:v>40248</c:v>
                </c:pt>
                <c:pt idx="2584">
                  <c:v>40249</c:v>
                </c:pt>
                <c:pt idx="2585">
                  <c:v>40252</c:v>
                </c:pt>
                <c:pt idx="2586">
                  <c:v>40253</c:v>
                </c:pt>
                <c:pt idx="2587">
                  <c:v>40254</c:v>
                </c:pt>
                <c:pt idx="2588">
                  <c:v>40255</c:v>
                </c:pt>
                <c:pt idx="2589">
                  <c:v>40256</c:v>
                </c:pt>
                <c:pt idx="2590">
                  <c:v>40259</c:v>
                </c:pt>
                <c:pt idx="2591">
                  <c:v>40260</c:v>
                </c:pt>
                <c:pt idx="2592">
                  <c:v>40261</c:v>
                </c:pt>
                <c:pt idx="2593">
                  <c:v>40262</c:v>
                </c:pt>
                <c:pt idx="2594">
                  <c:v>40263</c:v>
                </c:pt>
                <c:pt idx="2595">
                  <c:v>40266</c:v>
                </c:pt>
                <c:pt idx="2596">
                  <c:v>40267</c:v>
                </c:pt>
                <c:pt idx="2597">
                  <c:v>40268</c:v>
                </c:pt>
                <c:pt idx="2598">
                  <c:v>40269</c:v>
                </c:pt>
                <c:pt idx="2599">
                  <c:v>40274</c:v>
                </c:pt>
                <c:pt idx="2600">
                  <c:v>40275</c:v>
                </c:pt>
                <c:pt idx="2601">
                  <c:v>40276</c:v>
                </c:pt>
                <c:pt idx="2602">
                  <c:v>40277</c:v>
                </c:pt>
                <c:pt idx="2603">
                  <c:v>40280</c:v>
                </c:pt>
                <c:pt idx="2604">
                  <c:v>40281</c:v>
                </c:pt>
                <c:pt idx="2605">
                  <c:v>40282</c:v>
                </c:pt>
                <c:pt idx="2606">
                  <c:v>40283</c:v>
                </c:pt>
                <c:pt idx="2607">
                  <c:v>40284</c:v>
                </c:pt>
                <c:pt idx="2608">
                  <c:v>40287</c:v>
                </c:pt>
                <c:pt idx="2609">
                  <c:v>40288</c:v>
                </c:pt>
                <c:pt idx="2610">
                  <c:v>40289</c:v>
                </c:pt>
                <c:pt idx="2611">
                  <c:v>40290</c:v>
                </c:pt>
                <c:pt idx="2612">
                  <c:v>40291</c:v>
                </c:pt>
                <c:pt idx="2613">
                  <c:v>40294</c:v>
                </c:pt>
                <c:pt idx="2614">
                  <c:v>40295</c:v>
                </c:pt>
                <c:pt idx="2615">
                  <c:v>40296</c:v>
                </c:pt>
                <c:pt idx="2616">
                  <c:v>40297</c:v>
                </c:pt>
                <c:pt idx="2617">
                  <c:v>40298</c:v>
                </c:pt>
                <c:pt idx="2618">
                  <c:v>40301</c:v>
                </c:pt>
                <c:pt idx="2619">
                  <c:v>40302</c:v>
                </c:pt>
                <c:pt idx="2620">
                  <c:v>40303</c:v>
                </c:pt>
                <c:pt idx="2621">
                  <c:v>40304</c:v>
                </c:pt>
                <c:pt idx="2622">
                  <c:v>40305</c:v>
                </c:pt>
                <c:pt idx="2623">
                  <c:v>40308</c:v>
                </c:pt>
                <c:pt idx="2624">
                  <c:v>40309</c:v>
                </c:pt>
                <c:pt idx="2625">
                  <c:v>40310</c:v>
                </c:pt>
                <c:pt idx="2626">
                  <c:v>40311</c:v>
                </c:pt>
                <c:pt idx="2627">
                  <c:v>40312</c:v>
                </c:pt>
                <c:pt idx="2628">
                  <c:v>40315</c:v>
                </c:pt>
                <c:pt idx="2629">
                  <c:v>40316</c:v>
                </c:pt>
                <c:pt idx="2630">
                  <c:v>40317</c:v>
                </c:pt>
                <c:pt idx="2631">
                  <c:v>40318</c:v>
                </c:pt>
                <c:pt idx="2632">
                  <c:v>40319</c:v>
                </c:pt>
                <c:pt idx="2633">
                  <c:v>40322</c:v>
                </c:pt>
                <c:pt idx="2634">
                  <c:v>40323</c:v>
                </c:pt>
                <c:pt idx="2635">
                  <c:v>40324</c:v>
                </c:pt>
                <c:pt idx="2636">
                  <c:v>40325</c:v>
                </c:pt>
                <c:pt idx="2637">
                  <c:v>40326</c:v>
                </c:pt>
                <c:pt idx="2638">
                  <c:v>40329</c:v>
                </c:pt>
                <c:pt idx="2639">
                  <c:v>40330</c:v>
                </c:pt>
                <c:pt idx="2640">
                  <c:v>40331</c:v>
                </c:pt>
                <c:pt idx="2641">
                  <c:v>40332</c:v>
                </c:pt>
                <c:pt idx="2642">
                  <c:v>40333</c:v>
                </c:pt>
                <c:pt idx="2643">
                  <c:v>40336</c:v>
                </c:pt>
                <c:pt idx="2644">
                  <c:v>40337</c:v>
                </c:pt>
                <c:pt idx="2645">
                  <c:v>40338</c:v>
                </c:pt>
                <c:pt idx="2646">
                  <c:v>40339</c:v>
                </c:pt>
                <c:pt idx="2647">
                  <c:v>40340</c:v>
                </c:pt>
                <c:pt idx="2648">
                  <c:v>40343</c:v>
                </c:pt>
                <c:pt idx="2649">
                  <c:v>40344</c:v>
                </c:pt>
                <c:pt idx="2650">
                  <c:v>40345</c:v>
                </c:pt>
                <c:pt idx="2651">
                  <c:v>40346</c:v>
                </c:pt>
                <c:pt idx="2652">
                  <c:v>40347</c:v>
                </c:pt>
                <c:pt idx="2653">
                  <c:v>40350</c:v>
                </c:pt>
                <c:pt idx="2654">
                  <c:v>40351</c:v>
                </c:pt>
                <c:pt idx="2655">
                  <c:v>40352</c:v>
                </c:pt>
                <c:pt idx="2656">
                  <c:v>40353</c:v>
                </c:pt>
                <c:pt idx="2657">
                  <c:v>40354</c:v>
                </c:pt>
                <c:pt idx="2658">
                  <c:v>40357</c:v>
                </c:pt>
                <c:pt idx="2659">
                  <c:v>40358</c:v>
                </c:pt>
                <c:pt idx="2660">
                  <c:v>40359</c:v>
                </c:pt>
                <c:pt idx="2661">
                  <c:v>40360</c:v>
                </c:pt>
                <c:pt idx="2662">
                  <c:v>40361</c:v>
                </c:pt>
                <c:pt idx="2663">
                  <c:v>40364</c:v>
                </c:pt>
                <c:pt idx="2664">
                  <c:v>40365</c:v>
                </c:pt>
                <c:pt idx="2665">
                  <c:v>40366</c:v>
                </c:pt>
                <c:pt idx="2666">
                  <c:v>40367</c:v>
                </c:pt>
                <c:pt idx="2667">
                  <c:v>40368</c:v>
                </c:pt>
                <c:pt idx="2668">
                  <c:v>40371</c:v>
                </c:pt>
                <c:pt idx="2669">
                  <c:v>40372</c:v>
                </c:pt>
                <c:pt idx="2670">
                  <c:v>40373</c:v>
                </c:pt>
                <c:pt idx="2671">
                  <c:v>40374</c:v>
                </c:pt>
                <c:pt idx="2672">
                  <c:v>40375</c:v>
                </c:pt>
                <c:pt idx="2673">
                  <c:v>40378</c:v>
                </c:pt>
                <c:pt idx="2674">
                  <c:v>40379</c:v>
                </c:pt>
                <c:pt idx="2675">
                  <c:v>40380</c:v>
                </c:pt>
                <c:pt idx="2676">
                  <c:v>40381</c:v>
                </c:pt>
                <c:pt idx="2677">
                  <c:v>40382</c:v>
                </c:pt>
                <c:pt idx="2678">
                  <c:v>40385</c:v>
                </c:pt>
                <c:pt idx="2679">
                  <c:v>40386</c:v>
                </c:pt>
                <c:pt idx="2680">
                  <c:v>40387</c:v>
                </c:pt>
                <c:pt idx="2681">
                  <c:v>40388</c:v>
                </c:pt>
                <c:pt idx="2682">
                  <c:v>40389</c:v>
                </c:pt>
                <c:pt idx="2683">
                  <c:v>40392</c:v>
                </c:pt>
                <c:pt idx="2684">
                  <c:v>40393</c:v>
                </c:pt>
                <c:pt idx="2685">
                  <c:v>40394</c:v>
                </c:pt>
                <c:pt idx="2686">
                  <c:v>40395</c:v>
                </c:pt>
                <c:pt idx="2687">
                  <c:v>40396</c:v>
                </c:pt>
                <c:pt idx="2688">
                  <c:v>40399</c:v>
                </c:pt>
                <c:pt idx="2689">
                  <c:v>40400</c:v>
                </c:pt>
                <c:pt idx="2690">
                  <c:v>40401</c:v>
                </c:pt>
                <c:pt idx="2691">
                  <c:v>40402</c:v>
                </c:pt>
                <c:pt idx="2692">
                  <c:v>40403</c:v>
                </c:pt>
                <c:pt idx="2693">
                  <c:v>40406</c:v>
                </c:pt>
                <c:pt idx="2694">
                  <c:v>40407</c:v>
                </c:pt>
                <c:pt idx="2695">
                  <c:v>40408</c:v>
                </c:pt>
                <c:pt idx="2696">
                  <c:v>40409</c:v>
                </c:pt>
                <c:pt idx="2697">
                  <c:v>40410</c:v>
                </c:pt>
                <c:pt idx="2698">
                  <c:v>40413</c:v>
                </c:pt>
                <c:pt idx="2699">
                  <c:v>40414</c:v>
                </c:pt>
                <c:pt idx="2700">
                  <c:v>40415</c:v>
                </c:pt>
                <c:pt idx="2701">
                  <c:v>40416</c:v>
                </c:pt>
                <c:pt idx="2702">
                  <c:v>40417</c:v>
                </c:pt>
                <c:pt idx="2703">
                  <c:v>40420</c:v>
                </c:pt>
                <c:pt idx="2704">
                  <c:v>40421</c:v>
                </c:pt>
                <c:pt idx="2705">
                  <c:v>40422</c:v>
                </c:pt>
                <c:pt idx="2706">
                  <c:v>40423</c:v>
                </c:pt>
                <c:pt idx="2707">
                  <c:v>40424</c:v>
                </c:pt>
                <c:pt idx="2708">
                  <c:v>40427</c:v>
                </c:pt>
                <c:pt idx="2709">
                  <c:v>40428</c:v>
                </c:pt>
                <c:pt idx="2710">
                  <c:v>40429</c:v>
                </c:pt>
                <c:pt idx="2711">
                  <c:v>40430</c:v>
                </c:pt>
                <c:pt idx="2712">
                  <c:v>40431</c:v>
                </c:pt>
                <c:pt idx="2713">
                  <c:v>40434</c:v>
                </c:pt>
                <c:pt idx="2714">
                  <c:v>40435</c:v>
                </c:pt>
                <c:pt idx="2715">
                  <c:v>40436</c:v>
                </c:pt>
                <c:pt idx="2716">
                  <c:v>40437</c:v>
                </c:pt>
                <c:pt idx="2717">
                  <c:v>40438</c:v>
                </c:pt>
                <c:pt idx="2718">
                  <c:v>40441</c:v>
                </c:pt>
                <c:pt idx="2719">
                  <c:v>40442</c:v>
                </c:pt>
                <c:pt idx="2720">
                  <c:v>40443</c:v>
                </c:pt>
                <c:pt idx="2721">
                  <c:v>40444</c:v>
                </c:pt>
                <c:pt idx="2722">
                  <c:v>40445</c:v>
                </c:pt>
                <c:pt idx="2723">
                  <c:v>40448</c:v>
                </c:pt>
                <c:pt idx="2724">
                  <c:v>40449</c:v>
                </c:pt>
                <c:pt idx="2725">
                  <c:v>40450</c:v>
                </c:pt>
                <c:pt idx="2726">
                  <c:v>40451</c:v>
                </c:pt>
                <c:pt idx="2727">
                  <c:v>40452</c:v>
                </c:pt>
                <c:pt idx="2728">
                  <c:v>40455</c:v>
                </c:pt>
                <c:pt idx="2729">
                  <c:v>40456</c:v>
                </c:pt>
                <c:pt idx="2730">
                  <c:v>40457</c:v>
                </c:pt>
                <c:pt idx="2731">
                  <c:v>40458</c:v>
                </c:pt>
                <c:pt idx="2732">
                  <c:v>40459</c:v>
                </c:pt>
                <c:pt idx="2733">
                  <c:v>40462</c:v>
                </c:pt>
                <c:pt idx="2734">
                  <c:v>40463</c:v>
                </c:pt>
                <c:pt idx="2735">
                  <c:v>40464</c:v>
                </c:pt>
                <c:pt idx="2736">
                  <c:v>40465</c:v>
                </c:pt>
                <c:pt idx="2737">
                  <c:v>40466</c:v>
                </c:pt>
                <c:pt idx="2738">
                  <c:v>40469</c:v>
                </c:pt>
                <c:pt idx="2739">
                  <c:v>40470</c:v>
                </c:pt>
                <c:pt idx="2740">
                  <c:v>40471</c:v>
                </c:pt>
                <c:pt idx="2741">
                  <c:v>40472</c:v>
                </c:pt>
                <c:pt idx="2742">
                  <c:v>40473</c:v>
                </c:pt>
                <c:pt idx="2743">
                  <c:v>40476</c:v>
                </c:pt>
                <c:pt idx="2744">
                  <c:v>40477</c:v>
                </c:pt>
                <c:pt idx="2745">
                  <c:v>40478</c:v>
                </c:pt>
                <c:pt idx="2746">
                  <c:v>40479</c:v>
                </c:pt>
                <c:pt idx="2747">
                  <c:v>40480</c:v>
                </c:pt>
                <c:pt idx="2748">
                  <c:v>40483</c:v>
                </c:pt>
                <c:pt idx="2749">
                  <c:v>40484</c:v>
                </c:pt>
                <c:pt idx="2750">
                  <c:v>40485</c:v>
                </c:pt>
                <c:pt idx="2751">
                  <c:v>40486</c:v>
                </c:pt>
                <c:pt idx="2752">
                  <c:v>40487</c:v>
                </c:pt>
                <c:pt idx="2753">
                  <c:v>40490</c:v>
                </c:pt>
                <c:pt idx="2754">
                  <c:v>40491</c:v>
                </c:pt>
                <c:pt idx="2755">
                  <c:v>40492</c:v>
                </c:pt>
                <c:pt idx="2756">
                  <c:v>40493</c:v>
                </c:pt>
                <c:pt idx="2757">
                  <c:v>40494</c:v>
                </c:pt>
                <c:pt idx="2758">
                  <c:v>40497</c:v>
                </c:pt>
                <c:pt idx="2759">
                  <c:v>40498</c:v>
                </c:pt>
                <c:pt idx="2760">
                  <c:v>40499</c:v>
                </c:pt>
                <c:pt idx="2761">
                  <c:v>40500</c:v>
                </c:pt>
                <c:pt idx="2762">
                  <c:v>40501</c:v>
                </c:pt>
                <c:pt idx="2763">
                  <c:v>40504</c:v>
                </c:pt>
                <c:pt idx="2764">
                  <c:v>40505</c:v>
                </c:pt>
                <c:pt idx="2765">
                  <c:v>40506</c:v>
                </c:pt>
                <c:pt idx="2766">
                  <c:v>40507</c:v>
                </c:pt>
                <c:pt idx="2767">
                  <c:v>40508</c:v>
                </c:pt>
                <c:pt idx="2768">
                  <c:v>40511</c:v>
                </c:pt>
                <c:pt idx="2769">
                  <c:v>40512</c:v>
                </c:pt>
                <c:pt idx="2770">
                  <c:v>40513</c:v>
                </c:pt>
                <c:pt idx="2771">
                  <c:v>40514</c:v>
                </c:pt>
                <c:pt idx="2772">
                  <c:v>40515</c:v>
                </c:pt>
                <c:pt idx="2773">
                  <c:v>40518</c:v>
                </c:pt>
                <c:pt idx="2774">
                  <c:v>40519</c:v>
                </c:pt>
                <c:pt idx="2775">
                  <c:v>40520</c:v>
                </c:pt>
                <c:pt idx="2776">
                  <c:v>40521</c:v>
                </c:pt>
                <c:pt idx="2777">
                  <c:v>40522</c:v>
                </c:pt>
                <c:pt idx="2778">
                  <c:v>40525</c:v>
                </c:pt>
                <c:pt idx="2779">
                  <c:v>40526</c:v>
                </c:pt>
                <c:pt idx="2780">
                  <c:v>40527</c:v>
                </c:pt>
                <c:pt idx="2781">
                  <c:v>40528</c:v>
                </c:pt>
                <c:pt idx="2782">
                  <c:v>40529</c:v>
                </c:pt>
                <c:pt idx="2783">
                  <c:v>40532</c:v>
                </c:pt>
                <c:pt idx="2784">
                  <c:v>40533</c:v>
                </c:pt>
                <c:pt idx="2785">
                  <c:v>40534</c:v>
                </c:pt>
                <c:pt idx="2786">
                  <c:v>40535</c:v>
                </c:pt>
                <c:pt idx="2787">
                  <c:v>40536</c:v>
                </c:pt>
                <c:pt idx="2788">
                  <c:v>40539</c:v>
                </c:pt>
                <c:pt idx="2789">
                  <c:v>40540</c:v>
                </c:pt>
                <c:pt idx="2790">
                  <c:v>40541</c:v>
                </c:pt>
                <c:pt idx="2791">
                  <c:v>40542</c:v>
                </c:pt>
                <c:pt idx="2792">
                  <c:v>40543</c:v>
                </c:pt>
                <c:pt idx="2793">
                  <c:v>40546</c:v>
                </c:pt>
                <c:pt idx="2794">
                  <c:v>40547</c:v>
                </c:pt>
                <c:pt idx="2795">
                  <c:v>40548</c:v>
                </c:pt>
                <c:pt idx="2796">
                  <c:v>40549</c:v>
                </c:pt>
                <c:pt idx="2797">
                  <c:v>40550</c:v>
                </c:pt>
                <c:pt idx="2798">
                  <c:v>40553</c:v>
                </c:pt>
                <c:pt idx="2799">
                  <c:v>40554</c:v>
                </c:pt>
                <c:pt idx="2800">
                  <c:v>40555</c:v>
                </c:pt>
                <c:pt idx="2801">
                  <c:v>40556</c:v>
                </c:pt>
                <c:pt idx="2802">
                  <c:v>40557</c:v>
                </c:pt>
                <c:pt idx="2803">
                  <c:v>40560</c:v>
                </c:pt>
                <c:pt idx="2804">
                  <c:v>40561</c:v>
                </c:pt>
                <c:pt idx="2805">
                  <c:v>40562</c:v>
                </c:pt>
                <c:pt idx="2806">
                  <c:v>40563</c:v>
                </c:pt>
                <c:pt idx="2807">
                  <c:v>40564</c:v>
                </c:pt>
                <c:pt idx="2808">
                  <c:v>40567</c:v>
                </c:pt>
                <c:pt idx="2809">
                  <c:v>40568</c:v>
                </c:pt>
                <c:pt idx="2810">
                  <c:v>40569</c:v>
                </c:pt>
                <c:pt idx="2811">
                  <c:v>40570</c:v>
                </c:pt>
                <c:pt idx="2812">
                  <c:v>40571</c:v>
                </c:pt>
                <c:pt idx="2813">
                  <c:v>40574</c:v>
                </c:pt>
                <c:pt idx="2814">
                  <c:v>40575</c:v>
                </c:pt>
                <c:pt idx="2815">
                  <c:v>40576</c:v>
                </c:pt>
                <c:pt idx="2816">
                  <c:v>40577</c:v>
                </c:pt>
                <c:pt idx="2817">
                  <c:v>40578</c:v>
                </c:pt>
                <c:pt idx="2818">
                  <c:v>40581</c:v>
                </c:pt>
                <c:pt idx="2819">
                  <c:v>40582</c:v>
                </c:pt>
                <c:pt idx="2820">
                  <c:v>40583</c:v>
                </c:pt>
                <c:pt idx="2821">
                  <c:v>40584</c:v>
                </c:pt>
                <c:pt idx="2822">
                  <c:v>40585</c:v>
                </c:pt>
                <c:pt idx="2823">
                  <c:v>40588</c:v>
                </c:pt>
                <c:pt idx="2824">
                  <c:v>40589</c:v>
                </c:pt>
                <c:pt idx="2825">
                  <c:v>40590</c:v>
                </c:pt>
                <c:pt idx="2826">
                  <c:v>40591</c:v>
                </c:pt>
                <c:pt idx="2827">
                  <c:v>40592</c:v>
                </c:pt>
                <c:pt idx="2828">
                  <c:v>40595</c:v>
                </c:pt>
                <c:pt idx="2829">
                  <c:v>40596</c:v>
                </c:pt>
                <c:pt idx="2830">
                  <c:v>40597</c:v>
                </c:pt>
                <c:pt idx="2831">
                  <c:v>40598</c:v>
                </c:pt>
                <c:pt idx="2832">
                  <c:v>40599</c:v>
                </c:pt>
                <c:pt idx="2833">
                  <c:v>40602</c:v>
                </c:pt>
                <c:pt idx="2834">
                  <c:v>40603</c:v>
                </c:pt>
                <c:pt idx="2835">
                  <c:v>40604</c:v>
                </c:pt>
                <c:pt idx="2836">
                  <c:v>40605</c:v>
                </c:pt>
                <c:pt idx="2837">
                  <c:v>40606</c:v>
                </c:pt>
                <c:pt idx="2838">
                  <c:v>40609</c:v>
                </c:pt>
                <c:pt idx="2839">
                  <c:v>40610</c:v>
                </c:pt>
                <c:pt idx="2840">
                  <c:v>40611</c:v>
                </c:pt>
                <c:pt idx="2841">
                  <c:v>40612</c:v>
                </c:pt>
                <c:pt idx="2842">
                  <c:v>40613</c:v>
                </c:pt>
                <c:pt idx="2843">
                  <c:v>40616</c:v>
                </c:pt>
                <c:pt idx="2844">
                  <c:v>40617</c:v>
                </c:pt>
                <c:pt idx="2845">
                  <c:v>40618</c:v>
                </c:pt>
                <c:pt idx="2846">
                  <c:v>40619</c:v>
                </c:pt>
                <c:pt idx="2847">
                  <c:v>40620</c:v>
                </c:pt>
                <c:pt idx="2848">
                  <c:v>40623</c:v>
                </c:pt>
                <c:pt idx="2849">
                  <c:v>40624</c:v>
                </c:pt>
                <c:pt idx="2850">
                  <c:v>40625</c:v>
                </c:pt>
                <c:pt idx="2851">
                  <c:v>40626</c:v>
                </c:pt>
                <c:pt idx="2852">
                  <c:v>40627</c:v>
                </c:pt>
                <c:pt idx="2853">
                  <c:v>40630</c:v>
                </c:pt>
                <c:pt idx="2854">
                  <c:v>40631</c:v>
                </c:pt>
                <c:pt idx="2855">
                  <c:v>40632</c:v>
                </c:pt>
                <c:pt idx="2856">
                  <c:v>40633</c:v>
                </c:pt>
                <c:pt idx="2857">
                  <c:v>40634</c:v>
                </c:pt>
                <c:pt idx="2858">
                  <c:v>40637</c:v>
                </c:pt>
                <c:pt idx="2859">
                  <c:v>40638</c:v>
                </c:pt>
                <c:pt idx="2860">
                  <c:v>40639</c:v>
                </c:pt>
                <c:pt idx="2861">
                  <c:v>40640</c:v>
                </c:pt>
                <c:pt idx="2862">
                  <c:v>40641</c:v>
                </c:pt>
                <c:pt idx="2863">
                  <c:v>40644</c:v>
                </c:pt>
                <c:pt idx="2864">
                  <c:v>40645</c:v>
                </c:pt>
                <c:pt idx="2865">
                  <c:v>40646</c:v>
                </c:pt>
                <c:pt idx="2866">
                  <c:v>40647</c:v>
                </c:pt>
                <c:pt idx="2867">
                  <c:v>40648</c:v>
                </c:pt>
                <c:pt idx="2868">
                  <c:v>40651</c:v>
                </c:pt>
                <c:pt idx="2869">
                  <c:v>40652</c:v>
                </c:pt>
                <c:pt idx="2870">
                  <c:v>40653</c:v>
                </c:pt>
                <c:pt idx="2871">
                  <c:v>40654</c:v>
                </c:pt>
                <c:pt idx="2872">
                  <c:v>40659</c:v>
                </c:pt>
                <c:pt idx="2873">
                  <c:v>40660</c:v>
                </c:pt>
                <c:pt idx="2874">
                  <c:v>40661</c:v>
                </c:pt>
                <c:pt idx="2875">
                  <c:v>40662</c:v>
                </c:pt>
                <c:pt idx="2876">
                  <c:v>40665</c:v>
                </c:pt>
                <c:pt idx="2877">
                  <c:v>40666</c:v>
                </c:pt>
                <c:pt idx="2878">
                  <c:v>40667</c:v>
                </c:pt>
                <c:pt idx="2879">
                  <c:v>40668</c:v>
                </c:pt>
                <c:pt idx="2880">
                  <c:v>40669</c:v>
                </c:pt>
                <c:pt idx="2881">
                  <c:v>40672</c:v>
                </c:pt>
                <c:pt idx="2882">
                  <c:v>40673</c:v>
                </c:pt>
                <c:pt idx="2883">
                  <c:v>40674</c:v>
                </c:pt>
                <c:pt idx="2884">
                  <c:v>40675</c:v>
                </c:pt>
                <c:pt idx="2885">
                  <c:v>40676</c:v>
                </c:pt>
                <c:pt idx="2886">
                  <c:v>40679</c:v>
                </c:pt>
                <c:pt idx="2887">
                  <c:v>40680</c:v>
                </c:pt>
                <c:pt idx="2888">
                  <c:v>40681</c:v>
                </c:pt>
                <c:pt idx="2889">
                  <c:v>40682</c:v>
                </c:pt>
                <c:pt idx="2890">
                  <c:v>40683</c:v>
                </c:pt>
                <c:pt idx="2891">
                  <c:v>40686</c:v>
                </c:pt>
                <c:pt idx="2892">
                  <c:v>40687</c:v>
                </c:pt>
                <c:pt idx="2893">
                  <c:v>40688</c:v>
                </c:pt>
                <c:pt idx="2894">
                  <c:v>40689</c:v>
                </c:pt>
                <c:pt idx="2895">
                  <c:v>40690</c:v>
                </c:pt>
                <c:pt idx="2896">
                  <c:v>40693</c:v>
                </c:pt>
                <c:pt idx="2897">
                  <c:v>40694</c:v>
                </c:pt>
                <c:pt idx="2898">
                  <c:v>40695</c:v>
                </c:pt>
                <c:pt idx="2899">
                  <c:v>40696</c:v>
                </c:pt>
                <c:pt idx="2900">
                  <c:v>40697</c:v>
                </c:pt>
                <c:pt idx="2901">
                  <c:v>40700</c:v>
                </c:pt>
                <c:pt idx="2902">
                  <c:v>40701</c:v>
                </c:pt>
                <c:pt idx="2903">
                  <c:v>40702</c:v>
                </c:pt>
                <c:pt idx="2904">
                  <c:v>40703</c:v>
                </c:pt>
                <c:pt idx="2905">
                  <c:v>40704</c:v>
                </c:pt>
                <c:pt idx="2906">
                  <c:v>40707</c:v>
                </c:pt>
                <c:pt idx="2907">
                  <c:v>40708</c:v>
                </c:pt>
                <c:pt idx="2908">
                  <c:v>40709</c:v>
                </c:pt>
                <c:pt idx="2909">
                  <c:v>40710</c:v>
                </c:pt>
                <c:pt idx="2910">
                  <c:v>40711</c:v>
                </c:pt>
                <c:pt idx="2911">
                  <c:v>40714</c:v>
                </c:pt>
                <c:pt idx="2912">
                  <c:v>40715</c:v>
                </c:pt>
                <c:pt idx="2913">
                  <c:v>40716</c:v>
                </c:pt>
                <c:pt idx="2914">
                  <c:v>40717</c:v>
                </c:pt>
                <c:pt idx="2915">
                  <c:v>40718</c:v>
                </c:pt>
                <c:pt idx="2916">
                  <c:v>40721</c:v>
                </c:pt>
                <c:pt idx="2917">
                  <c:v>40722</c:v>
                </c:pt>
                <c:pt idx="2918">
                  <c:v>40723</c:v>
                </c:pt>
                <c:pt idx="2919">
                  <c:v>40724</c:v>
                </c:pt>
                <c:pt idx="2920">
                  <c:v>40725</c:v>
                </c:pt>
                <c:pt idx="2921">
                  <c:v>40728</c:v>
                </c:pt>
                <c:pt idx="2922">
                  <c:v>40729</c:v>
                </c:pt>
                <c:pt idx="2923">
                  <c:v>40730</c:v>
                </c:pt>
                <c:pt idx="2924">
                  <c:v>40731</c:v>
                </c:pt>
                <c:pt idx="2925">
                  <c:v>40732</c:v>
                </c:pt>
                <c:pt idx="2926">
                  <c:v>40735</c:v>
                </c:pt>
                <c:pt idx="2927">
                  <c:v>40736</c:v>
                </c:pt>
                <c:pt idx="2928">
                  <c:v>40737</c:v>
                </c:pt>
                <c:pt idx="2929">
                  <c:v>40738</c:v>
                </c:pt>
                <c:pt idx="2930">
                  <c:v>40739</c:v>
                </c:pt>
                <c:pt idx="2931">
                  <c:v>40742</c:v>
                </c:pt>
                <c:pt idx="2932">
                  <c:v>40743</c:v>
                </c:pt>
                <c:pt idx="2933">
                  <c:v>40744</c:v>
                </c:pt>
                <c:pt idx="2934">
                  <c:v>40745</c:v>
                </c:pt>
                <c:pt idx="2935">
                  <c:v>40746</c:v>
                </c:pt>
                <c:pt idx="2936">
                  <c:v>40749</c:v>
                </c:pt>
                <c:pt idx="2937">
                  <c:v>40750</c:v>
                </c:pt>
                <c:pt idx="2938">
                  <c:v>40751</c:v>
                </c:pt>
                <c:pt idx="2939">
                  <c:v>40752</c:v>
                </c:pt>
                <c:pt idx="2940">
                  <c:v>40753</c:v>
                </c:pt>
                <c:pt idx="2941">
                  <c:v>40756</c:v>
                </c:pt>
                <c:pt idx="2942">
                  <c:v>40757</c:v>
                </c:pt>
                <c:pt idx="2943">
                  <c:v>40758</c:v>
                </c:pt>
                <c:pt idx="2944">
                  <c:v>40759</c:v>
                </c:pt>
                <c:pt idx="2945">
                  <c:v>40760</c:v>
                </c:pt>
                <c:pt idx="2946">
                  <c:v>40763</c:v>
                </c:pt>
                <c:pt idx="2947">
                  <c:v>40764</c:v>
                </c:pt>
                <c:pt idx="2948">
                  <c:v>40765</c:v>
                </c:pt>
                <c:pt idx="2949">
                  <c:v>40766</c:v>
                </c:pt>
                <c:pt idx="2950">
                  <c:v>40767</c:v>
                </c:pt>
                <c:pt idx="2951">
                  <c:v>40770</c:v>
                </c:pt>
                <c:pt idx="2952">
                  <c:v>40771</c:v>
                </c:pt>
                <c:pt idx="2953">
                  <c:v>40772</c:v>
                </c:pt>
                <c:pt idx="2954">
                  <c:v>40773</c:v>
                </c:pt>
                <c:pt idx="2955">
                  <c:v>40774</c:v>
                </c:pt>
                <c:pt idx="2956">
                  <c:v>40777</c:v>
                </c:pt>
                <c:pt idx="2957">
                  <c:v>40778</c:v>
                </c:pt>
                <c:pt idx="2958">
                  <c:v>40779</c:v>
                </c:pt>
                <c:pt idx="2959">
                  <c:v>40780</c:v>
                </c:pt>
                <c:pt idx="2960">
                  <c:v>40781</c:v>
                </c:pt>
                <c:pt idx="2961">
                  <c:v>40784</c:v>
                </c:pt>
                <c:pt idx="2962">
                  <c:v>40785</c:v>
                </c:pt>
                <c:pt idx="2963">
                  <c:v>40786</c:v>
                </c:pt>
                <c:pt idx="2964">
                  <c:v>40787</c:v>
                </c:pt>
                <c:pt idx="2965">
                  <c:v>40788</c:v>
                </c:pt>
                <c:pt idx="2966">
                  <c:v>40791</c:v>
                </c:pt>
                <c:pt idx="2967">
                  <c:v>40792</c:v>
                </c:pt>
                <c:pt idx="2968">
                  <c:v>40793</c:v>
                </c:pt>
                <c:pt idx="2969">
                  <c:v>40794</c:v>
                </c:pt>
                <c:pt idx="2970">
                  <c:v>40795</c:v>
                </c:pt>
                <c:pt idx="2971">
                  <c:v>40798</c:v>
                </c:pt>
                <c:pt idx="2972">
                  <c:v>40799</c:v>
                </c:pt>
                <c:pt idx="2973">
                  <c:v>40800</c:v>
                </c:pt>
                <c:pt idx="2974">
                  <c:v>40801</c:v>
                </c:pt>
                <c:pt idx="2975">
                  <c:v>40802</c:v>
                </c:pt>
                <c:pt idx="2976">
                  <c:v>40805</c:v>
                </c:pt>
                <c:pt idx="2977">
                  <c:v>40806</c:v>
                </c:pt>
                <c:pt idx="2978">
                  <c:v>40807</c:v>
                </c:pt>
                <c:pt idx="2979">
                  <c:v>40808</c:v>
                </c:pt>
                <c:pt idx="2980">
                  <c:v>40809</c:v>
                </c:pt>
                <c:pt idx="2981">
                  <c:v>40812</c:v>
                </c:pt>
                <c:pt idx="2982">
                  <c:v>40813</c:v>
                </c:pt>
                <c:pt idx="2983">
                  <c:v>40814</c:v>
                </c:pt>
                <c:pt idx="2984">
                  <c:v>40815</c:v>
                </c:pt>
                <c:pt idx="2985">
                  <c:v>40816</c:v>
                </c:pt>
                <c:pt idx="2986">
                  <c:v>40819</c:v>
                </c:pt>
                <c:pt idx="2987">
                  <c:v>40820</c:v>
                </c:pt>
                <c:pt idx="2988">
                  <c:v>40821</c:v>
                </c:pt>
                <c:pt idx="2989">
                  <c:v>40822</c:v>
                </c:pt>
                <c:pt idx="2990">
                  <c:v>40823</c:v>
                </c:pt>
                <c:pt idx="2991">
                  <c:v>40826</c:v>
                </c:pt>
                <c:pt idx="2992">
                  <c:v>40827</c:v>
                </c:pt>
                <c:pt idx="2993">
                  <c:v>40828</c:v>
                </c:pt>
                <c:pt idx="2994">
                  <c:v>40829</c:v>
                </c:pt>
                <c:pt idx="2995">
                  <c:v>40830</c:v>
                </c:pt>
                <c:pt idx="2996">
                  <c:v>40833</c:v>
                </c:pt>
                <c:pt idx="2997">
                  <c:v>40834</c:v>
                </c:pt>
                <c:pt idx="2998">
                  <c:v>40835</c:v>
                </c:pt>
                <c:pt idx="2999">
                  <c:v>40836</c:v>
                </c:pt>
                <c:pt idx="3000">
                  <c:v>40837</c:v>
                </c:pt>
                <c:pt idx="3001">
                  <c:v>40840</c:v>
                </c:pt>
                <c:pt idx="3002">
                  <c:v>40841</c:v>
                </c:pt>
                <c:pt idx="3003">
                  <c:v>40842</c:v>
                </c:pt>
                <c:pt idx="3004">
                  <c:v>40843</c:v>
                </c:pt>
                <c:pt idx="3005">
                  <c:v>40844</c:v>
                </c:pt>
                <c:pt idx="3006">
                  <c:v>40847</c:v>
                </c:pt>
                <c:pt idx="3007">
                  <c:v>40848</c:v>
                </c:pt>
                <c:pt idx="3008">
                  <c:v>40849</c:v>
                </c:pt>
                <c:pt idx="3009">
                  <c:v>40850</c:v>
                </c:pt>
                <c:pt idx="3010">
                  <c:v>40851</c:v>
                </c:pt>
                <c:pt idx="3011">
                  <c:v>40854</c:v>
                </c:pt>
                <c:pt idx="3012">
                  <c:v>40855</c:v>
                </c:pt>
                <c:pt idx="3013">
                  <c:v>40856</c:v>
                </c:pt>
                <c:pt idx="3014">
                  <c:v>40857</c:v>
                </c:pt>
                <c:pt idx="3015">
                  <c:v>40858</c:v>
                </c:pt>
                <c:pt idx="3016">
                  <c:v>40861</c:v>
                </c:pt>
                <c:pt idx="3017">
                  <c:v>40862</c:v>
                </c:pt>
                <c:pt idx="3018">
                  <c:v>40863</c:v>
                </c:pt>
                <c:pt idx="3019">
                  <c:v>40864</c:v>
                </c:pt>
                <c:pt idx="3020">
                  <c:v>40865</c:v>
                </c:pt>
                <c:pt idx="3021">
                  <c:v>40868</c:v>
                </c:pt>
                <c:pt idx="3022">
                  <c:v>40869</c:v>
                </c:pt>
                <c:pt idx="3023">
                  <c:v>40870</c:v>
                </c:pt>
                <c:pt idx="3024">
                  <c:v>40871</c:v>
                </c:pt>
                <c:pt idx="3025">
                  <c:v>40872</c:v>
                </c:pt>
                <c:pt idx="3026">
                  <c:v>40875</c:v>
                </c:pt>
                <c:pt idx="3027">
                  <c:v>40876</c:v>
                </c:pt>
                <c:pt idx="3028">
                  <c:v>40877</c:v>
                </c:pt>
                <c:pt idx="3029">
                  <c:v>40878</c:v>
                </c:pt>
                <c:pt idx="3030">
                  <c:v>40879</c:v>
                </c:pt>
                <c:pt idx="3031">
                  <c:v>40882</c:v>
                </c:pt>
                <c:pt idx="3032">
                  <c:v>40883</c:v>
                </c:pt>
                <c:pt idx="3033">
                  <c:v>40884</c:v>
                </c:pt>
                <c:pt idx="3034">
                  <c:v>40885</c:v>
                </c:pt>
                <c:pt idx="3035">
                  <c:v>40886</c:v>
                </c:pt>
                <c:pt idx="3036">
                  <c:v>40889</c:v>
                </c:pt>
                <c:pt idx="3037">
                  <c:v>40890</c:v>
                </c:pt>
                <c:pt idx="3038">
                  <c:v>40891</c:v>
                </c:pt>
                <c:pt idx="3039">
                  <c:v>40892</c:v>
                </c:pt>
                <c:pt idx="3040">
                  <c:v>40893</c:v>
                </c:pt>
                <c:pt idx="3041">
                  <c:v>40896</c:v>
                </c:pt>
                <c:pt idx="3042">
                  <c:v>40897</c:v>
                </c:pt>
                <c:pt idx="3043">
                  <c:v>40898</c:v>
                </c:pt>
                <c:pt idx="3044">
                  <c:v>40899</c:v>
                </c:pt>
                <c:pt idx="3045">
                  <c:v>40900</c:v>
                </c:pt>
                <c:pt idx="3046">
                  <c:v>40904</c:v>
                </c:pt>
                <c:pt idx="3047">
                  <c:v>40905</c:v>
                </c:pt>
                <c:pt idx="3048">
                  <c:v>40906</c:v>
                </c:pt>
                <c:pt idx="3049">
                  <c:v>40907</c:v>
                </c:pt>
                <c:pt idx="3050">
                  <c:v>40910</c:v>
                </c:pt>
                <c:pt idx="3051">
                  <c:v>40911</c:v>
                </c:pt>
                <c:pt idx="3052">
                  <c:v>40912</c:v>
                </c:pt>
                <c:pt idx="3053">
                  <c:v>40913</c:v>
                </c:pt>
                <c:pt idx="3054">
                  <c:v>40914</c:v>
                </c:pt>
                <c:pt idx="3055">
                  <c:v>40917</c:v>
                </c:pt>
                <c:pt idx="3056">
                  <c:v>40918</c:v>
                </c:pt>
                <c:pt idx="3057">
                  <c:v>40919</c:v>
                </c:pt>
                <c:pt idx="3058">
                  <c:v>40920</c:v>
                </c:pt>
                <c:pt idx="3059">
                  <c:v>40921</c:v>
                </c:pt>
                <c:pt idx="3060">
                  <c:v>40924</c:v>
                </c:pt>
                <c:pt idx="3061">
                  <c:v>40925</c:v>
                </c:pt>
                <c:pt idx="3062">
                  <c:v>40926</c:v>
                </c:pt>
                <c:pt idx="3063">
                  <c:v>40927</c:v>
                </c:pt>
                <c:pt idx="3064">
                  <c:v>40928</c:v>
                </c:pt>
                <c:pt idx="3065">
                  <c:v>40931</c:v>
                </c:pt>
                <c:pt idx="3066">
                  <c:v>40932</c:v>
                </c:pt>
                <c:pt idx="3067">
                  <c:v>40933</c:v>
                </c:pt>
                <c:pt idx="3068">
                  <c:v>40934</c:v>
                </c:pt>
                <c:pt idx="3069">
                  <c:v>40935</c:v>
                </c:pt>
                <c:pt idx="3070">
                  <c:v>40938</c:v>
                </c:pt>
                <c:pt idx="3071">
                  <c:v>40939</c:v>
                </c:pt>
                <c:pt idx="3072">
                  <c:v>40940</c:v>
                </c:pt>
                <c:pt idx="3073">
                  <c:v>40941</c:v>
                </c:pt>
                <c:pt idx="3074">
                  <c:v>40942</c:v>
                </c:pt>
                <c:pt idx="3075">
                  <c:v>40945</c:v>
                </c:pt>
                <c:pt idx="3076">
                  <c:v>40946</c:v>
                </c:pt>
                <c:pt idx="3077">
                  <c:v>40947</c:v>
                </c:pt>
                <c:pt idx="3078">
                  <c:v>40948</c:v>
                </c:pt>
                <c:pt idx="3079">
                  <c:v>40949</c:v>
                </c:pt>
                <c:pt idx="3080">
                  <c:v>40952</c:v>
                </c:pt>
                <c:pt idx="3081">
                  <c:v>40953</c:v>
                </c:pt>
                <c:pt idx="3082">
                  <c:v>40954</c:v>
                </c:pt>
                <c:pt idx="3083">
                  <c:v>40955</c:v>
                </c:pt>
                <c:pt idx="3084">
                  <c:v>40956</c:v>
                </c:pt>
                <c:pt idx="3085">
                  <c:v>40959</c:v>
                </c:pt>
                <c:pt idx="3086">
                  <c:v>40960</c:v>
                </c:pt>
                <c:pt idx="3087">
                  <c:v>40961</c:v>
                </c:pt>
                <c:pt idx="3088">
                  <c:v>40962</c:v>
                </c:pt>
                <c:pt idx="3089">
                  <c:v>40963</c:v>
                </c:pt>
                <c:pt idx="3090">
                  <c:v>40966</c:v>
                </c:pt>
                <c:pt idx="3091">
                  <c:v>40967</c:v>
                </c:pt>
                <c:pt idx="3092">
                  <c:v>40968</c:v>
                </c:pt>
                <c:pt idx="3093">
                  <c:v>40969</c:v>
                </c:pt>
                <c:pt idx="3094">
                  <c:v>40970</c:v>
                </c:pt>
                <c:pt idx="3095">
                  <c:v>40973</c:v>
                </c:pt>
                <c:pt idx="3096">
                  <c:v>40974</c:v>
                </c:pt>
                <c:pt idx="3097">
                  <c:v>40975</c:v>
                </c:pt>
                <c:pt idx="3098">
                  <c:v>40976</c:v>
                </c:pt>
                <c:pt idx="3099">
                  <c:v>40977</c:v>
                </c:pt>
                <c:pt idx="3100">
                  <c:v>40980</c:v>
                </c:pt>
                <c:pt idx="3101">
                  <c:v>40981</c:v>
                </c:pt>
                <c:pt idx="3102">
                  <c:v>40982</c:v>
                </c:pt>
                <c:pt idx="3103">
                  <c:v>40983</c:v>
                </c:pt>
                <c:pt idx="3104">
                  <c:v>40984</c:v>
                </c:pt>
                <c:pt idx="3105">
                  <c:v>40987</c:v>
                </c:pt>
                <c:pt idx="3106">
                  <c:v>40988</c:v>
                </c:pt>
                <c:pt idx="3107">
                  <c:v>40989</c:v>
                </c:pt>
                <c:pt idx="3108">
                  <c:v>40990</c:v>
                </c:pt>
                <c:pt idx="3109">
                  <c:v>40991</c:v>
                </c:pt>
                <c:pt idx="3110">
                  <c:v>40994</c:v>
                </c:pt>
                <c:pt idx="3111">
                  <c:v>40995</c:v>
                </c:pt>
                <c:pt idx="3112">
                  <c:v>40996</c:v>
                </c:pt>
                <c:pt idx="3113">
                  <c:v>40997</c:v>
                </c:pt>
                <c:pt idx="3114">
                  <c:v>40998</c:v>
                </c:pt>
                <c:pt idx="3115">
                  <c:v>41001</c:v>
                </c:pt>
                <c:pt idx="3116">
                  <c:v>41002</c:v>
                </c:pt>
                <c:pt idx="3117">
                  <c:v>41003</c:v>
                </c:pt>
                <c:pt idx="3118">
                  <c:v>41004</c:v>
                </c:pt>
                <c:pt idx="3119">
                  <c:v>41009</c:v>
                </c:pt>
                <c:pt idx="3120">
                  <c:v>41010</c:v>
                </c:pt>
                <c:pt idx="3121">
                  <c:v>41011</c:v>
                </c:pt>
                <c:pt idx="3122">
                  <c:v>41012</c:v>
                </c:pt>
                <c:pt idx="3123">
                  <c:v>41015</c:v>
                </c:pt>
                <c:pt idx="3124">
                  <c:v>41016</c:v>
                </c:pt>
                <c:pt idx="3125">
                  <c:v>41017</c:v>
                </c:pt>
                <c:pt idx="3126">
                  <c:v>41018</c:v>
                </c:pt>
                <c:pt idx="3127">
                  <c:v>41019</c:v>
                </c:pt>
                <c:pt idx="3128">
                  <c:v>41022</c:v>
                </c:pt>
                <c:pt idx="3129">
                  <c:v>41023</c:v>
                </c:pt>
                <c:pt idx="3130">
                  <c:v>41024</c:v>
                </c:pt>
                <c:pt idx="3131">
                  <c:v>41025</c:v>
                </c:pt>
                <c:pt idx="3132">
                  <c:v>41026</c:v>
                </c:pt>
                <c:pt idx="3133">
                  <c:v>41029</c:v>
                </c:pt>
                <c:pt idx="3134">
                  <c:v>41030</c:v>
                </c:pt>
                <c:pt idx="3135">
                  <c:v>41031</c:v>
                </c:pt>
                <c:pt idx="3136">
                  <c:v>41032</c:v>
                </c:pt>
                <c:pt idx="3137">
                  <c:v>41033</c:v>
                </c:pt>
                <c:pt idx="3138">
                  <c:v>41036</c:v>
                </c:pt>
                <c:pt idx="3139">
                  <c:v>41037</c:v>
                </c:pt>
                <c:pt idx="3140">
                  <c:v>41038</c:v>
                </c:pt>
                <c:pt idx="3141">
                  <c:v>41039</c:v>
                </c:pt>
                <c:pt idx="3142">
                  <c:v>41040</c:v>
                </c:pt>
                <c:pt idx="3143">
                  <c:v>41043</c:v>
                </c:pt>
                <c:pt idx="3144">
                  <c:v>41044</c:v>
                </c:pt>
                <c:pt idx="3145">
                  <c:v>41045</c:v>
                </c:pt>
                <c:pt idx="3146">
                  <c:v>41046</c:v>
                </c:pt>
                <c:pt idx="3147">
                  <c:v>41047</c:v>
                </c:pt>
                <c:pt idx="3148">
                  <c:v>41050</c:v>
                </c:pt>
                <c:pt idx="3149">
                  <c:v>41051</c:v>
                </c:pt>
                <c:pt idx="3150">
                  <c:v>41052</c:v>
                </c:pt>
                <c:pt idx="3151">
                  <c:v>41053</c:v>
                </c:pt>
                <c:pt idx="3152">
                  <c:v>41054</c:v>
                </c:pt>
                <c:pt idx="3153">
                  <c:v>41057</c:v>
                </c:pt>
                <c:pt idx="3154">
                  <c:v>41058</c:v>
                </c:pt>
                <c:pt idx="3155">
                  <c:v>41059</c:v>
                </c:pt>
                <c:pt idx="3156">
                  <c:v>41060</c:v>
                </c:pt>
                <c:pt idx="3157">
                  <c:v>41061</c:v>
                </c:pt>
                <c:pt idx="3158">
                  <c:v>41064</c:v>
                </c:pt>
                <c:pt idx="3159">
                  <c:v>41065</c:v>
                </c:pt>
                <c:pt idx="3160">
                  <c:v>41066</c:v>
                </c:pt>
                <c:pt idx="3161">
                  <c:v>41067</c:v>
                </c:pt>
                <c:pt idx="3162">
                  <c:v>41068</c:v>
                </c:pt>
                <c:pt idx="3163">
                  <c:v>41071</c:v>
                </c:pt>
                <c:pt idx="3164">
                  <c:v>41072</c:v>
                </c:pt>
                <c:pt idx="3165">
                  <c:v>41073</c:v>
                </c:pt>
                <c:pt idx="3166">
                  <c:v>41074</c:v>
                </c:pt>
                <c:pt idx="3167">
                  <c:v>41075</c:v>
                </c:pt>
                <c:pt idx="3168">
                  <c:v>41078</c:v>
                </c:pt>
                <c:pt idx="3169">
                  <c:v>41079</c:v>
                </c:pt>
                <c:pt idx="3170">
                  <c:v>41080</c:v>
                </c:pt>
                <c:pt idx="3171">
                  <c:v>41081</c:v>
                </c:pt>
              </c:numCache>
            </c:numRef>
          </c:cat>
          <c:val>
            <c:numRef>
              <c:f>Histories!$D$3:$D$3174</c:f>
              <c:numCache>
                <c:formatCode>General</c:formatCode>
                <c:ptCount val="3172"/>
                <c:pt idx="0">
                  <c:v>100</c:v>
                </c:pt>
                <c:pt idx="1">
                  <c:v>99.540202548704841</c:v>
                </c:pt>
                <c:pt idx="2">
                  <c:v>99.73839110529758</c:v>
                </c:pt>
                <c:pt idx="3">
                  <c:v>99.165626176744539</c:v>
                </c:pt>
                <c:pt idx="4">
                  <c:v>101.27038864775946</c:v>
                </c:pt>
                <c:pt idx="5">
                  <c:v>101.28426184672097</c:v>
                </c:pt>
                <c:pt idx="6">
                  <c:v>101.58352656717599</c:v>
                </c:pt>
                <c:pt idx="7">
                  <c:v>101.4626315476544</c:v>
                </c:pt>
                <c:pt idx="8">
                  <c:v>98.592861248191511</c:v>
                </c:pt>
                <c:pt idx="9">
                  <c:v>99.217155201458667</c:v>
                </c:pt>
                <c:pt idx="10">
                  <c:v>97.443367619953634</c:v>
                </c:pt>
                <c:pt idx="11">
                  <c:v>97.534534355986281</c:v>
                </c:pt>
                <c:pt idx="12">
                  <c:v>95.057177398577011</c:v>
                </c:pt>
                <c:pt idx="13">
                  <c:v>97.7366866837109</c:v>
                </c:pt>
                <c:pt idx="14">
                  <c:v>99.054640585052653</c:v>
                </c:pt>
                <c:pt idx="15">
                  <c:v>98.965455734585888</c:v>
                </c:pt>
                <c:pt idx="16">
                  <c:v>96.971678855262908</c:v>
                </c:pt>
                <c:pt idx="17">
                  <c:v>96.979606397526595</c:v>
                </c:pt>
                <c:pt idx="18">
                  <c:v>96.983570168658488</c:v>
                </c:pt>
                <c:pt idx="19">
                  <c:v>94.238658659849023</c:v>
                </c:pt>
                <c:pt idx="20">
                  <c:v>92.776027112194541</c:v>
                </c:pt>
                <c:pt idx="21">
                  <c:v>93.982995421844365</c:v>
                </c:pt>
                <c:pt idx="22">
                  <c:v>95.483282795251412</c:v>
                </c:pt>
                <c:pt idx="23">
                  <c:v>96.133341260875639</c:v>
                </c:pt>
                <c:pt idx="24">
                  <c:v>96.133341260875639</c:v>
                </c:pt>
                <c:pt idx="25">
                  <c:v>96.133341260875639</c:v>
                </c:pt>
                <c:pt idx="26">
                  <c:v>97.096537645916399</c:v>
                </c:pt>
                <c:pt idx="27">
                  <c:v>98.026041976336359</c:v>
                </c:pt>
                <c:pt idx="28">
                  <c:v>97.350218998355103</c:v>
                </c:pt>
                <c:pt idx="29">
                  <c:v>99.04076738609119</c:v>
                </c:pt>
                <c:pt idx="30">
                  <c:v>99.04076738609119</c:v>
                </c:pt>
                <c:pt idx="31">
                  <c:v>101.09003706126016</c:v>
                </c:pt>
                <c:pt idx="32">
                  <c:v>99.791902015577691</c:v>
                </c:pt>
                <c:pt idx="33">
                  <c:v>99.603622886814577</c:v>
                </c:pt>
                <c:pt idx="34">
                  <c:v>99.762173732088769</c:v>
                </c:pt>
                <c:pt idx="35">
                  <c:v>99.175535604574264</c:v>
                </c:pt>
                <c:pt idx="36">
                  <c:v>97.536516241552292</c:v>
                </c:pt>
                <c:pt idx="37">
                  <c:v>95.594268386943426</c:v>
                </c:pt>
                <c:pt idx="38">
                  <c:v>97.11041084487789</c:v>
                </c:pt>
                <c:pt idx="39">
                  <c:v>98.242067503022454</c:v>
                </c:pt>
                <c:pt idx="40">
                  <c:v>97.140139128366798</c:v>
                </c:pt>
                <c:pt idx="41">
                  <c:v>99.320213250886951</c:v>
                </c:pt>
                <c:pt idx="42">
                  <c:v>97.885328101155494</c:v>
                </c:pt>
                <c:pt idx="43">
                  <c:v>97.867491131062152</c:v>
                </c:pt>
                <c:pt idx="44">
                  <c:v>94.938264264621424</c:v>
                </c:pt>
                <c:pt idx="45">
                  <c:v>93.184295538775672</c:v>
                </c:pt>
                <c:pt idx="46">
                  <c:v>93.699585785916796</c:v>
                </c:pt>
                <c:pt idx="47">
                  <c:v>92.631349465881911</c:v>
                </c:pt>
                <c:pt idx="48">
                  <c:v>94.563687892661136</c:v>
                </c:pt>
                <c:pt idx="49">
                  <c:v>93.535089283944814</c:v>
                </c:pt>
                <c:pt idx="50">
                  <c:v>94.474503042194399</c:v>
                </c:pt>
                <c:pt idx="51">
                  <c:v>95.889569336266575</c:v>
                </c:pt>
                <c:pt idx="52">
                  <c:v>96.200725370117198</c:v>
                </c:pt>
                <c:pt idx="53">
                  <c:v>97.544443783816007</c:v>
                </c:pt>
                <c:pt idx="54">
                  <c:v>99.906851378401484</c:v>
                </c:pt>
                <c:pt idx="55">
                  <c:v>99.06455001288235</c:v>
                </c:pt>
                <c:pt idx="56">
                  <c:v>98.438274174049283</c:v>
                </c:pt>
                <c:pt idx="57">
                  <c:v>97.78028816616137</c:v>
                </c:pt>
                <c:pt idx="58">
                  <c:v>97.766414967199893</c:v>
                </c:pt>
                <c:pt idx="59">
                  <c:v>97.901183185682967</c:v>
                </c:pt>
                <c:pt idx="60">
                  <c:v>97.869473016628078</c:v>
                </c:pt>
                <c:pt idx="61">
                  <c:v>97.607864121925687</c:v>
                </c:pt>
                <c:pt idx="62">
                  <c:v>98.588897477059717</c:v>
                </c:pt>
                <c:pt idx="63">
                  <c:v>98.224230532929084</c:v>
                </c:pt>
                <c:pt idx="64">
                  <c:v>97.633628634282715</c:v>
                </c:pt>
                <c:pt idx="65">
                  <c:v>97.447331391085541</c:v>
                </c:pt>
                <c:pt idx="66">
                  <c:v>98.327288582357312</c:v>
                </c:pt>
                <c:pt idx="67">
                  <c:v>97.530570584854502</c:v>
                </c:pt>
                <c:pt idx="68">
                  <c:v>97.294726202509153</c:v>
                </c:pt>
                <c:pt idx="69">
                  <c:v>97.157976098460153</c:v>
                </c:pt>
                <c:pt idx="70">
                  <c:v>97.10050141704825</c:v>
                </c:pt>
                <c:pt idx="71">
                  <c:v>96.521790831797446</c:v>
                </c:pt>
                <c:pt idx="72">
                  <c:v>96.670432249242012</c:v>
                </c:pt>
                <c:pt idx="73">
                  <c:v>94.458647957667011</c:v>
                </c:pt>
                <c:pt idx="74">
                  <c:v>95.465445825158142</c:v>
                </c:pt>
                <c:pt idx="75">
                  <c:v>96.78934538319767</c:v>
                </c:pt>
                <c:pt idx="76">
                  <c:v>96.783399726499866</c:v>
                </c:pt>
                <c:pt idx="77">
                  <c:v>96.254236280397279</c:v>
                </c:pt>
                <c:pt idx="78">
                  <c:v>96.476207463781122</c:v>
                </c:pt>
                <c:pt idx="79">
                  <c:v>98.057752145391191</c:v>
                </c:pt>
                <c:pt idx="80">
                  <c:v>97.806052678518412</c:v>
                </c:pt>
                <c:pt idx="81">
                  <c:v>97.802088907386548</c:v>
                </c:pt>
                <c:pt idx="82">
                  <c:v>98.531422795647885</c:v>
                </c:pt>
                <c:pt idx="83">
                  <c:v>99.042749271657144</c:v>
                </c:pt>
                <c:pt idx="84">
                  <c:v>99.320213250886979</c:v>
                </c:pt>
                <c:pt idx="85">
                  <c:v>100.02180074122529</c:v>
                </c:pt>
                <c:pt idx="86">
                  <c:v>99.215173315892812</c:v>
                </c:pt>
                <c:pt idx="87">
                  <c:v>99.256792912777286</c:v>
                </c:pt>
                <c:pt idx="88">
                  <c:v>99.974235487643028</c:v>
                </c:pt>
                <c:pt idx="89">
                  <c:v>98.634480845076069</c:v>
                </c:pt>
                <c:pt idx="90">
                  <c:v>98.711774382147254</c:v>
                </c:pt>
                <c:pt idx="91">
                  <c:v>98.335216124620999</c:v>
                </c:pt>
                <c:pt idx="92">
                  <c:v>98.041897060863761</c:v>
                </c:pt>
                <c:pt idx="93">
                  <c:v>96.862675149136948</c:v>
                </c:pt>
                <c:pt idx="94">
                  <c:v>96.331529817468379</c:v>
                </c:pt>
                <c:pt idx="95">
                  <c:v>97.048972392334093</c:v>
                </c:pt>
                <c:pt idx="96">
                  <c:v>97.122302158273413</c:v>
                </c:pt>
                <c:pt idx="97">
                  <c:v>97.286798660245424</c:v>
                </c:pt>
                <c:pt idx="98">
                  <c:v>96.103612977386746</c:v>
                </c:pt>
                <c:pt idx="99">
                  <c:v>97.023207879977093</c:v>
                </c:pt>
                <c:pt idx="100">
                  <c:v>97.811998335216202</c:v>
                </c:pt>
                <c:pt idx="101">
                  <c:v>98.030005747468209</c:v>
                </c:pt>
                <c:pt idx="102">
                  <c:v>98.945636878926678</c:v>
                </c:pt>
                <c:pt idx="103">
                  <c:v>98.618625760548667</c:v>
                </c:pt>
                <c:pt idx="104">
                  <c:v>98.787086033652457</c:v>
                </c:pt>
                <c:pt idx="105">
                  <c:v>99.593713458984908</c:v>
                </c:pt>
                <c:pt idx="106">
                  <c:v>99.393543016826243</c:v>
                </c:pt>
                <c:pt idx="107">
                  <c:v>99.750282418693189</c:v>
                </c:pt>
                <c:pt idx="108">
                  <c:v>99.250847256079467</c:v>
                </c:pt>
                <c:pt idx="109">
                  <c:v>99.332104564282503</c:v>
                </c:pt>
                <c:pt idx="110">
                  <c:v>99.482727867292979</c:v>
                </c:pt>
                <c:pt idx="111">
                  <c:v>99.710644707374669</c:v>
                </c:pt>
                <c:pt idx="112">
                  <c:v>99.585785916721179</c:v>
                </c:pt>
                <c:pt idx="113">
                  <c:v>99.102205838634902</c:v>
                </c:pt>
                <c:pt idx="114">
                  <c:v>99.5045286085182</c:v>
                </c:pt>
                <c:pt idx="115">
                  <c:v>99.835503498028075</c:v>
                </c:pt>
                <c:pt idx="116">
                  <c:v>99.591731573418969</c:v>
                </c:pt>
                <c:pt idx="117">
                  <c:v>99.49263729512262</c:v>
                </c:pt>
                <c:pt idx="118">
                  <c:v>100.33890243177362</c:v>
                </c:pt>
                <c:pt idx="119">
                  <c:v>101.83522603404886</c:v>
                </c:pt>
                <c:pt idx="120">
                  <c:v>102.72112888201842</c:v>
                </c:pt>
                <c:pt idx="121">
                  <c:v>102.17016469469058</c:v>
                </c:pt>
                <c:pt idx="122">
                  <c:v>101.96206671026822</c:v>
                </c:pt>
                <c:pt idx="123">
                  <c:v>101.94026596904305</c:v>
                </c:pt>
                <c:pt idx="124">
                  <c:v>100.48556196365227</c:v>
                </c:pt>
                <c:pt idx="125">
                  <c:v>100.34088431733956</c:v>
                </c:pt>
                <c:pt idx="126">
                  <c:v>99.869195552648833</c:v>
                </c:pt>
                <c:pt idx="127">
                  <c:v>98.777176605822831</c:v>
                </c:pt>
                <c:pt idx="128">
                  <c:v>99.631369284737559</c:v>
                </c:pt>
                <c:pt idx="129">
                  <c:v>98.697901183185706</c:v>
                </c:pt>
                <c:pt idx="130">
                  <c:v>98.291614642170629</c:v>
                </c:pt>
                <c:pt idx="131">
                  <c:v>98.347107438016565</c:v>
                </c:pt>
                <c:pt idx="132">
                  <c:v>97.106447073745969</c:v>
                </c:pt>
                <c:pt idx="133">
                  <c:v>95.822185227025003</c:v>
                </c:pt>
                <c:pt idx="134">
                  <c:v>95.608141585904846</c:v>
                </c:pt>
                <c:pt idx="135">
                  <c:v>96.551519115286311</c:v>
                </c:pt>
                <c:pt idx="136">
                  <c:v>95.73498226212422</c:v>
                </c:pt>
                <c:pt idx="137">
                  <c:v>96.101631091820792</c:v>
                </c:pt>
                <c:pt idx="138">
                  <c:v>95.788493172404259</c:v>
                </c:pt>
                <c:pt idx="139">
                  <c:v>95.941098360980703</c:v>
                </c:pt>
                <c:pt idx="140">
                  <c:v>96.581247398775247</c:v>
                </c:pt>
                <c:pt idx="141">
                  <c:v>97.259052262322442</c:v>
                </c:pt>
                <c:pt idx="142">
                  <c:v>96.765562756406496</c:v>
                </c:pt>
                <c:pt idx="143">
                  <c:v>97.266979804586114</c:v>
                </c:pt>
                <c:pt idx="144">
                  <c:v>96.727906930653859</c:v>
                </c:pt>
                <c:pt idx="145">
                  <c:v>94.746021364726445</c:v>
                </c:pt>
                <c:pt idx="146">
                  <c:v>94.926372951225829</c:v>
                </c:pt>
                <c:pt idx="147">
                  <c:v>93.005925837842156</c:v>
                </c:pt>
                <c:pt idx="148">
                  <c:v>93.638147333372999</c:v>
                </c:pt>
                <c:pt idx="149">
                  <c:v>94.308024654656478</c:v>
                </c:pt>
                <c:pt idx="150">
                  <c:v>94.967992548110317</c:v>
                </c:pt>
                <c:pt idx="151">
                  <c:v>94.020651247596973</c:v>
                </c:pt>
                <c:pt idx="152">
                  <c:v>93.39041163763207</c:v>
                </c:pt>
                <c:pt idx="153">
                  <c:v>95.439681312801</c:v>
                </c:pt>
                <c:pt idx="154">
                  <c:v>96.006500584656251</c:v>
                </c:pt>
                <c:pt idx="155">
                  <c:v>96.769526527538332</c:v>
                </c:pt>
                <c:pt idx="156">
                  <c:v>98.713756267713137</c:v>
                </c:pt>
                <c:pt idx="157">
                  <c:v>97.871454902193989</c:v>
                </c:pt>
                <c:pt idx="158">
                  <c:v>96.989515825356293</c:v>
                </c:pt>
                <c:pt idx="159">
                  <c:v>97.802088907386533</c:v>
                </c:pt>
                <c:pt idx="160">
                  <c:v>97.992349921715601</c:v>
                </c:pt>
                <c:pt idx="161">
                  <c:v>98.691955526487959</c:v>
                </c:pt>
                <c:pt idx="162">
                  <c:v>98.596825019323447</c:v>
                </c:pt>
                <c:pt idx="163">
                  <c:v>98.289632756604675</c:v>
                </c:pt>
                <c:pt idx="164">
                  <c:v>98.307469726698045</c:v>
                </c:pt>
                <c:pt idx="165">
                  <c:v>98.182610936044597</c:v>
                </c:pt>
                <c:pt idx="166">
                  <c:v>98.402600233862586</c:v>
                </c:pt>
                <c:pt idx="167">
                  <c:v>98.091444200011992</c:v>
                </c:pt>
                <c:pt idx="168">
                  <c:v>97.157976098460153</c:v>
                </c:pt>
                <c:pt idx="169">
                  <c:v>96.067939037200077</c:v>
                </c:pt>
                <c:pt idx="170">
                  <c:v>94.736111936896833</c:v>
                </c:pt>
                <c:pt idx="171">
                  <c:v>96.918167944982955</c:v>
                </c:pt>
                <c:pt idx="172">
                  <c:v>97.409675565332961</c:v>
                </c:pt>
                <c:pt idx="173">
                  <c:v>97.072755019125267</c:v>
                </c:pt>
                <c:pt idx="174">
                  <c:v>96.785381612065777</c:v>
                </c:pt>
                <c:pt idx="175">
                  <c:v>95.354460233466185</c:v>
                </c:pt>
                <c:pt idx="176">
                  <c:v>96.038210753711169</c:v>
                </c:pt>
                <c:pt idx="177">
                  <c:v>93.546980597340394</c:v>
                </c:pt>
                <c:pt idx="178">
                  <c:v>94.490358126721816</c:v>
                </c:pt>
                <c:pt idx="179">
                  <c:v>95.673543809580508</c:v>
                </c:pt>
                <c:pt idx="180">
                  <c:v>96.067939037200091</c:v>
                </c:pt>
                <c:pt idx="181">
                  <c:v>94.605307489545652</c:v>
                </c:pt>
                <c:pt idx="182">
                  <c:v>94.24856808767872</c:v>
                </c:pt>
                <c:pt idx="183">
                  <c:v>92.44901599381663</c:v>
                </c:pt>
                <c:pt idx="184">
                  <c:v>93.396357294329903</c:v>
                </c:pt>
                <c:pt idx="185">
                  <c:v>92.254791208355712</c:v>
                </c:pt>
                <c:pt idx="186">
                  <c:v>94.603325603979712</c:v>
                </c:pt>
                <c:pt idx="187">
                  <c:v>94.016687476465208</c:v>
                </c:pt>
                <c:pt idx="188">
                  <c:v>93.826426462136183</c:v>
                </c:pt>
                <c:pt idx="189">
                  <c:v>94.528013952474467</c:v>
                </c:pt>
                <c:pt idx="190">
                  <c:v>96.307747190677318</c:v>
                </c:pt>
                <c:pt idx="191">
                  <c:v>95.802366371365807</c:v>
                </c:pt>
                <c:pt idx="192">
                  <c:v>95.60021404364123</c:v>
                </c:pt>
                <c:pt idx="193">
                  <c:v>93.772915551856116</c:v>
                </c:pt>
                <c:pt idx="194">
                  <c:v>92.060566422894823</c:v>
                </c:pt>
                <c:pt idx="195">
                  <c:v>92.835483679172484</c:v>
                </c:pt>
                <c:pt idx="196">
                  <c:v>93.671839387993813</c:v>
                </c:pt>
                <c:pt idx="197">
                  <c:v>90.831797372019807</c:v>
                </c:pt>
                <c:pt idx="198">
                  <c:v>89.904274927165815</c:v>
                </c:pt>
                <c:pt idx="199">
                  <c:v>89.91418435499547</c:v>
                </c:pt>
                <c:pt idx="200">
                  <c:v>89.91418435499547</c:v>
                </c:pt>
                <c:pt idx="201">
                  <c:v>89.91418435499547</c:v>
                </c:pt>
                <c:pt idx="202">
                  <c:v>91.303486136710546</c:v>
                </c:pt>
                <c:pt idx="203">
                  <c:v>91.941653288939236</c:v>
                </c:pt>
                <c:pt idx="204">
                  <c:v>91.630497255088585</c:v>
                </c:pt>
                <c:pt idx="205">
                  <c:v>91.630497255088585</c:v>
                </c:pt>
                <c:pt idx="206">
                  <c:v>90.373981806290587</c:v>
                </c:pt>
                <c:pt idx="207">
                  <c:v>89.494024615018873</c:v>
                </c:pt>
                <c:pt idx="208">
                  <c:v>90.809996630794643</c:v>
                </c:pt>
                <c:pt idx="209">
                  <c:v>90.443347801098099</c:v>
                </c:pt>
                <c:pt idx="210">
                  <c:v>90.074717085835601</c:v>
                </c:pt>
                <c:pt idx="211">
                  <c:v>89.343401312008368</c:v>
                </c:pt>
                <c:pt idx="212">
                  <c:v>88.84991180609245</c:v>
                </c:pt>
                <c:pt idx="213">
                  <c:v>89.692213171611598</c:v>
                </c:pt>
                <c:pt idx="214">
                  <c:v>90.130209881681552</c:v>
                </c:pt>
                <c:pt idx="215">
                  <c:v>90.677210297877522</c:v>
                </c:pt>
                <c:pt idx="216">
                  <c:v>89.418712963513613</c:v>
                </c:pt>
                <c:pt idx="217">
                  <c:v>91.569058802544845</c:v>
                </c:pt>
                <c:pt idx="218">
                  <c:v>91.188536773886753</c:v>
                </c:pt>
                <c:pt idx="219">
                  <c:v>90.984402560596251</c:v>
                </c:pt>
                <c:pt idx="220">
                  <c:v>90.988366331728102</c:v>
                </c:pt>
                <c:pt idx="221">
                  <c:v>90.911072794656931</c:v>
                </c:pt>
                <c:pt idx="222">
                  <c:v>91.856432209604307</c:v>
                </c:pt>
                <c:pt idx="223">
                  <c:v>92.209207840339403</c:v>
                </c:pt>
                <c:pt idx="224">
                  <c:v>92.054620766197075</c:v>
                </c:pt>
                <c:pt idx="225">
                  <c:v>92.343976058822463</c:v>
                </c:pt>
                <c:pt idx="226">
                  <c:v>92.092276591949698</c:v>
                </c:pt>
                <c:pt idx="227">
                  <c:v>92.312265889767644</c:v>
                </c:pt>
                <c:pt idx="228">
                  <c:v>91.366906474820254</c:v>
                </c:pt>
                <c:pt idx="229">
                  <c:v>90.917018451354735</c:v>
                </c:pt>
                <c:pt idx="230">
                  <c:v>90.839724914283551</c:v>
                </c:pt>
                <c:pt idx="231">
                  <c:v>91.36096081812245</c:v>
                </c:pt>
                <c:pt idx="232">
                  <c:v>90.24912301563721</c:v>
                </c:pt>
                <c:pt idx="233">
                  <c:v>90.443347801098071</c:v>
                </c:pt>
                <c:pt idx="234">
                  <c:v>89.244307033711962</c:v>
                </c:pt>
                <c:pt idx="235">
                  <c:v>89.846800245753911</c:v>
                </c:pt>
                <c:pt idx="236">
                  <c:v>90.221376617714185</c:v>
                </c:pt>
                <c:pt idx="237">
                  <c:v>89.196741780129699</c:v>
                </c:pt>
                <c:pt idx="238">
                  <c:v>90.366054264026886</c:v>
                </c:pt>
                <c:pt idx="239">
                  <c:v>88.503081832055074</c:v>
                </c:pt>
                <c:pt idx="240">
                  <c:v>88.110668490001473</c:v>
                </c:pt>
                <c:pt idx="241">
                  <c:v>87.549794874843982</c:v>
                </c:pt>
                <c:pt idx="242">
                  <c:v>86.907663951483528</c:v>
                </c:pt>
                <c:pt idx="243">
                  <c:v>86.689656539231478</c:v>
                </c:pt>
                <c:pt idx="244">
                  <c:v>85.11802128545105</c:v>
                </c:pt>
                <c:pt idx="245">
                  <c:v>85.722496383058896</c:v>
                </c:pt>
                <c:pt idx="246">
                  <c:v>85.867174029371625</c:v>
                </c:pt>
                <c:pt idx="247">
                  <c:v>85.462869373922445</c:v>
                </c:pt>
                <c:pt idx="248">
                  <c:v>84.691915888776663</c:v>
                </c:pt>
                <c:pt idx="249">
                  <c:v>84.789028281507129</c:v>
                </c:pt>
                <c:pt idx="250">
                  <c:v>85.706641298531508</c:v>
                </c:pt>
                <c:pt idx="251">
                  <c:v>86.735239907247859</c:v>
                </c:pt>
                <c:pt idx="252">
                  <c:v>86.733258021681905</c:v>
                </c:pt>
                <c:pt idx="253">
                  <c:v>86.406246903303895</c:v>
                </c:pt>
                <c:pt idx="254">
                  <c:v>85.423231662603882</c:v>
                </c:pt>
                <c:pt idx="255">
                  <c:v>83.556295459500262</c:v>
                </c:pt>
                <c:pt idx="256">
                  <c:v>82.769486889827064</c:v>
                </c:pt>
                <c:pt idx="257">
                  <c:v>81.457478645183087</c:v>
                </c:pt>
                <c:pt idx="258">
                  <c:v>82.906236993876036</c:v>
                </c:pt>
                <c:pt idx="259">
                  <c:v>80.918405771250832</c:v>
                </c:pt>
                <c:pt idx="260">
                  <c:v>80.246546564401413</c:v>
                </c:pt>
                <c:pt idx="261">
                  <c:v>81.29694591434297</c:v>
                </c:pt>
                <c:pt idx="262">
                  <c:v>79.973046356303414</c:v>
                </c:pt>
                <c:pt idx="263">
                  <c:v>76.817884535346977</c:v>
                </c:pt>
                <c:pt idx="264">
                  <c:v>78.484650296291932</c:v>
                </c:pt>
                <c:pt idx="265">
                  <c:v>81.011554392849391</c:v>
                </c:pt>
                <c:pt idx="266">
                  <c:v>82.74570426303589</c:v>
                </c:pt>
                <c:pt idx="267">
                  <c:v>81.721069425451404</c:v>
                </c:pt>
                <c:pt idx="268">
                  <c:v>81.851873872802599</c:v>
                </c:pt>
                <c:pt idx="269">
                  <c:v>82.262124184949599</c:v>
                </c:pt>
                <c:pt idx="270">
                  <c:v>81.86772895733003</c:v>
                </c:pt>
                <c:pt idx="271">
                  <c:v>79.305150920585859</c:v>
                </c:pt>
                <c:pt idx="272">
                  <c:v>79.586578670947574</c:v>
                </c:pt>
                <c:pt idx="273">
                  <c:v>81.253344431892543</c:v>
                </c:pt>
                <c:pt idx="274">
                  <c:v>81.003626850585675</c:v>
                </c:pt>
                <c:pt idx="275">
                  <c:v>82.220504588065126</c:v>
                </c:pt>
                <c:pt idx="276">
                  <c:v>84.232118437481432</c:v>
                </c:pt>
                <c:pt idx="277">
                  <c:v>84.616604237271375</c:v>
                </c:pt>
                <c:pt idx="278">
                  <c:v>84.396614939453428</c:v>
                </c:pt>
                <c:pt idx="279">
                  <c:v>84.396614939453428</c:v>
                </c:pt>
                <c:pt idx="280">
                  <c:v>84.396614939453428</c:v>
                </c:pt>
                <c:pt idx="281">
                  <c:v>84.20635392512439</c:v>
                </c:pt>
                <c:pt idx="282">
                  <c:v>86.227877202370351</c:v>
                </c:pt>
                <c:pt idx="283">
                  <c:v>86.099054640585095</c:v>
                </c:pt>
                <c:pt idx="284">
                  <c:v>85.336028697703028</c:v>
                </c:pt>
                <c:pt idx="285">
                  <c:v>84.757318112452211</c:v>
                </c:pt>
                <c:pt idx="286">
                  <c:v>85.118021285451007</c:v>
                </c:pt>
                <c:pt idx="287">
                  <c:v>84.967397982440545</c:v>
                </c:pt>
                <c:pt idx="288">
                  <c:v>85.403412806944559</c:v>
                </c:pt>
                <c:pt idx="289">
                  <c:v>86.802624016489304</c:v>
                </c:pt>
                <c:pt idx="290">
                  <c:v>87.666726123233659</c:v>
                </c:pt>
                <c:pt idx="291">
                  <c:v>87.666726123233659</c:v>
                </c:pt>
                <c:pt idx="292">
                  <c:v>87.034504627702844</c:v>
                </c:pt>
                <c:pt idx="293">
                  <c:v>85.528271597597964</c:v>
                </c:pt>
                <c:pt idx="294">
                  <c:v>86.215985888974814</c:v>
                </c:pt>
                <c:pt idx="295">
                  <c:v>86.739203678379681</c:v>
                </c:pt>
                <c:pt idx="296">
                  <c:v>86.766950076302663</c:v>
                </c:pt>
                <c:pt idx="297">
                  <c:v>86.326971480666742</c:v>
                </c:pt>
                <c:pt idx="298">
                  <c:v>87.884733535485694</c:v>
                </c:pt>
                <c:pt idx="299">
                  <c:v>87.488356422300228</c:v>
                </c:pt>
                <c:pt idx="300">
                  <c:v>86.085181441623618</c:v>
                </c:pt>
                <c:pt idx="301">
                  <c:v>87.014685772043592</c:v>
                </c:pt>
                <c:pt idx="302">
                  <c:v>87.179182274015545</c:v>
                </c:pt>
                <c:pt idx="303">
                  <c:v>88.009592326139128</c:v>
                </c:pt>
                <c:pt idx="304">
                  <c:v>88.909368373070208</c:v>
                </c:pt>
                <c:pt idx="305">
                  <c:v>89.371147709931279</c:v>
                </c:pt>
                <c:pt idx="306">
                  <c:v>90.148046851774836</c:v>
                </c:pt>
                <c:pt idx="307">
                  <c:v>89.434568048040987</c:v>
                </c:pt>
                <c:pt idx="308">
                  <c:v>89.390966565590574</c:v>
                </c:pt>
                <c:pt idx="309">
                  <c:v>88.952969855520593</c:v>
                </c:pt>
                <c:pt idx="310">
                  <c:v>89.065937332778432</c:v>
                </c:pt>
                <c:pt idx="311">
                  <c:v>88.675505876290742</c:v>
                </c:pt>
                <c:pt idx="312">
                  <c:v>87.706363834552249</c:v>
                </c:pt>
                <c:pt idx="313">
                  <c:v>88.007610440573245</c:v>
                </c:pt>
                <c:pt idx="314">
                  <c:v>87.918425590106494</c:v>
                </c:pt>
                <c:pt idx="315">
                  <c:v>88.291020076500843</c:v>
                </c:pt>
                <c:pt idx="316">
                  <c:v>89.022335850328034</c:v>
                </c:pt>
                <c:pt idx="317">
                  <c:v>88.423806409417963</c:v>
                </c:pt>
                <c:pt idx="318">
                  <c:v>88.322730245555618</c:v>
                </c:pt>
                <c:pt idx="319">
                  <c:v>88.017519868402843</c:v>
                </c:pt>
                <c:pt idx="320">
                  <c:v>87.309986721366741</c:v>
                </c:pt>
                <c:pt idx="321">
                  <c:v>85.651148502685459</c:v>
                </c:pt>
                <c:pt idx="322">
                  <c:v>86.319043938403041</c:v>
                </c:pt>
                <c:pt idx="323">
                  <c:v>85.040727748379865</c:v>
                </c:pt>
                <c:pt idx="324">
                  <c:v>84.477872247656464</c:v>
                </c:pt>
                <c:pt idx="325">
                  <c:v>83.740610817131468</c:v>
                </c:pt>
                <c:pt idx="326">
                  <c:v>84.154824900410333</c:v>
                </c:pt>
                <c:pt idx="327">
                  <c:v>83.863487722218963</c:v>
                </c:pt>
                <c:pt idx="328">
                  <c:v>83.942763144856087</c:v>
                </c:pt>
                <c:pt idx="329">
                  <c:v>84.081495134470984</c:v>
                </c:pt>
                <c:pt idx="330">
                  <c:v>84.018074796361319</c:v>
                </c:pt>
                <c:pt idx="331">
                  <c:v>82.694175238321776</c:v>
                </c:pt>
                <c:pt idx="332">
                  <c:v>82.920110192837512</c:v>
                </c:pt>
                <c:pt idx="333">
                  <c:v>84.144915472580649</c:v>
                </c:pt>
                <c:pt idx="334">
                  <c:v>84.903977644330865</c:v>
                </c:pt>
                <c:pt idx="335">
                  <c:v>86.065362585964309</c:v>
                </c:pt>
                <c:pt idx="336">
                  <c:v>84.80884713716631</c:v>
                </c:pt>
                <c:pt idx="337">
                  <c:v>84.358959113700777</c:v>
                </c:pt>
                <c:pt idx="338">
                  <c:v>83.87141526448265</c:v>
                </c:pt>
                <c:pt idx="339">
                  <c:v>82.091682026279841</c:v>
                </c:pt>
                <c:pt idx="340">
                  <c:v>81.960877578928617</c:v>
                </c:pt>
                <c:pt idx="341">
                  <c:v>81.352438710188864</c:v>
                </c:pt>
                <c:pt idx="342">
                  <c:v>80.143488514973157</c:v>
                </c:pt>
                <c:pt idx="343">
                  <c:v>81.354420595754817</c:v>
                </c:pt>
                <c:pt idx="344">
                  <c:v>81.796381076956635</c:v>
                </c:pt>
                <c:pt idx="345">
                  <c:v>81.251362546326618</c:v>
                </c:pt>
                <c:pt idx="346">
                  <c:v>80.442753235428214</c:v>
                </c:pt>
                <c:pt idx="347">
                  <c:v>79.539013417365325</c:v>
                </c:pt>
                <c:pt idx="348">
                  <c:v>80.841112234179633</c:v>
                </c:pt>
                <c:pt idx="349">
                  <c:v>80.089977604693132</c:v>
                </c:pt>
                <c:pt idx="350">
                  <c:v>80.270329191192531</c:v>
                </c:pt>
                <c:pt idx="351">
                  <c:v>79.069306538240511</c:v>
                </c:pt>
                <c:pt idx="352">
                  <c:v>77.963414392452989</c:v>
                </c:pt>
                <c:pt idx="353">
                  <c:v>78.569871375626775</c:v>
                </c:pt>
                <c:pt idx="354">
                  <c:v>79.965118814039684</c:v>
                </c:pt>
                <c:pt idx="355">
                  <c:v>80.914442000118953</c:v>
                </c:pt>
                <c:pt idx="356">
                  <c:v>81.760707136769923</c:v>
                </c:pt>
                <c:pt idx="357">
                  <c:v>82.022316031472357</c:v>
                </c:pt>
                <c:pt idx="358">
                  <c:v>82.03222545930204</c:v>
                </c:pt>
                <c:pt idx="359">
                  <c:v>81.334601740095565</c:v>
                </c:pt>
                <c:pt idx="360">
                  <c:v>81.261271974156244</c:v>
                </c:pt>
                <c:pt idx="361">
                  <c:v>81.392076421507454</c:v>
                </c:pt>
                <c:pt idx="362">
                  <c:v>80.411043066373409</c:v>
                </c:pt>
                <c:pt idx="363">
                  <c:v>78.853281011554387</c:v>
                </c:pt>
                <c:pt idx="364">
                  <c:v>78.270606655171747</c:v>
                </c:pt>
                <c:pt idx="365">
                  <c:v>78.581762689022369</c:v>
                </c:pt>
                <c:pt idx="366">
                  <c:v>79.574687357551952</c:v>
                </c:pt>
                <c:pt idx="367">
                  <c:v>78.993994886735265</c:v>
                </c:pt>
                <c:pt idx="368">
                  <c:v>78.1021463820679</c:v>
                </c:pt>
                <c:pt idx="369">
                  <c:v>76.982381037318916</c:v>
                </c:pt>
                <c:pt idx="370">
                  <c:v>77.004181778544122</c:v>
                </c:pt>
                <c:pt idx="371">
                  <c:v>77.933686108964082</c:v>
                </c:pt>
                <c:pt idx="372">
                  <c:v>77.687932298789065</c:v>
                </c:pt>
                <c:pt idx="373">
                  <c:v>77.812791089442513</c:v>
                </c:pt>
                <c:pt idx="374">
                  <c:v>79.009849971262696</c:v>
                </c:pt>
                <c:pt idx="375">
                  <c:v>79.112908020690895</c:v>
                </c:pt>
                <c:pt idx="376">
                  <c:v>78.385556017995526</c:v>
                </c:pt>
                <c:pt idx="377">
                  <c:v>78.215113859325797</c:v>
                </c:pt>
                <c:pt idx="378">
                  <c:v>76.691043859127603</c:v>
                </c:pt>
                <c:pt idx="379">
                  <c:v>76.960580296093738</c:v>
                </c:pt>
                <c:pt idx="380">
                  <c:v>76.201518124343536</c:v>
                </c:pt>
                <c:pt idx="381">
                  <c:v>77.489743742196353</c:v>
                </c:pt>
                <c:pt idx="382">
                  <c:v>76.461145133480002</c:v>
                </c:pt>
                <c:pt idx="383">
                  <c:v>74.629882870563051</c:v>
                </c:pt>
                <c:pt idx="384">
                  <c:v>72.719345185009047</c:v>
                </c:pt>
                <c:pt idx="385">
                  <c:v>72.108924430703382</c:v>
                </c:pt>
                <c:pt idx="386">
                  <c:v>67.631844937273357</c:v>
                </c:pt>
                <c:pt idx="387">
                  <c:v>68.898269813900981</c:v>
                </c:pt>
                <c:pt idx="388">
                  <c:v>69.496799254811066</c:v>
                </c:pt>
                <c:pt idx="389">
                  <c:v>66.004716887646921</c:v>
                </c:pt>
                <c:pt idx="390">
                  <c:v>67.455457121905809</c:v>
                </c:pt>
                <c:pt idx="391">
                  <c:v>66.823235626374952</c:v>
                </c:pt>
                <c:pt idx="392">
                  <c:v>65.219890203539649</c:v>
                </c:pt>
                <c:pt idx="393">
                  <c:v>62.698931763679994</c:v>
                </c:pt>
                <c:pt idx="394">
                  <c:v>61.036129773866875</c:v>
                </c:pt>
                <c:pt idx="395">
                  <c:v>64.19129159482334</c:v>
                </c:pt>
                <c:pt idx="396">
                  <c:v>64.968190736666884</c:v>
                </c:pt>
                <c:pt idx="397">
                  <c:v>65.800582674356406</c:v>
                </c:pt>
                <c:pt idx="398">
                  <c:v>66.698376835721504</c:v>
                </c:pt>
                <c:pt idx="399">
                  <c:v>68.920070555126188</c:v>
                </c:pt>
                <c:pt idx="400">
                  <c:v>67.267177993142724</c:v>
                </c:pt>
                <c:pt idx="401">
                  <c:v>67.713102245476392</c:v>
                </c:pt>
                <c:pt idx="402">
                  <c:v>68.170917811205626</c:v>
                </c:pt>
                <c:pt idx="403">
                  <c:v>70.319281764670976</c:v>
                </c:pt>
                <c:pt idx="404">
                  <c:v>70.018035158649994</c:v>
                </c:pt>
                <c:pt idx="405">
                  <c:v>69.877321283469158</c:v>
                </c:pt>
                <c:pt idx="406">
                  <c:v>69.71084289593125</c:v>
                </c:pt>
                <c:pt idx="407">
                  <c:v>71.452920308381451</c:v>
                </c:pt>
                <c:pt idx="408">
                  <c:v>72.53106605624599</c:v>
                </c:pt>
                <c:pt idx="409">
                  <c:v>71.99992072457745</c:v>
                </c:pt>
                <c:pt idx="410">
                  <c:v>70.745387161345363</c:v>
                </c:pt>
                <c:pt idx="411">
                  <c:v>71.292387577541334</c:v>
                </c:pt>
                <c:pt idx="412">
                  <c:v>72.971044651881883</c:v>
                </c:pt>
                <c:pt idx="413">
                  <c:v>71.775967655627653</c:v>
                </c:pt>
                <c:pt idx="414">
                  <c:v>70.701785678894979</c:v>
                </c:pt>
                <c:pt idx="415">
                  <c:v>71.625344352617148</c:v>
                </c:pt>
                <c:pt idx="416">
                  <c:v>73.452642844402249</c:v>
                </c:pt>
                <c:pt idx="417">
                  <c:v>73.583447291753458</c:v>
                </c:pt>
                <c:pt idx="418">
                  <c:v>72.287294131636912</c:v>
                </c:pt>
                <c:pt idx="419">
                  <c:v>73.961987434845597</c:v>
                </c:pt>
                <c:pt idx="420">
                  <c:v>72.433953663515581</c:v>
                </c:pt>
                <c:pt idx="421">
                  <c:v>70.743405275779466</c:v>
                </c:pt>
                <c:pt idx="422">
                  <c:v>71.835424222605468</c:v>
                </c:pt>
                <c:pt idx="423">
                  <c:v>72.263511504845823</c:v>
                </c:pt>
                <c:pt idx="424">
                  <c:v>72.598450165487549</c:v>
                </c:pt>
                <c:pt idx="425">
                  <c:v>74.302871752185112</c:v>
                </c:pt>
                <c:pt idx="426">
                  <c:v>74.263234040866593</c:v>
                </c:pt>
                <c:pt idx="427">
                  <c:v>74.881582337435916</c:v>
                </c:pt>
                <c:pt idx="428">
                  <c:v>76.215391323305113</c:v>
                </c:pt>
                <c:pt idx="429">
                  <c:v>75.452365380423032</c:v>
                </c:pt>
                <c:pt idx="430">
                  <c:v>73.819291674098864</c:v>
                </c:pt>
                <c:pt idx="431">
                  <c:v>76.298630517074059</c:v>
                </c:pt>
                <c:pt idx="432">
                  <c:v>76.195572467645832</c:v>
                </c:pt>
                <c:pt idx="433">
                  <c:v>76.405652337634137</c:v>
                </c:pt>
                <c:pt idx="434">
                  <c:v>76.918960699209379</c:v>
                </c:pt>
                <c:pt idx="435">
                  <c:v>77.66018590086621</c:v>
                </c:pt>
                <c:pt idx="436">
                  <c:v>76.754464197237397</c:v>
                </c:pt>
                <c:pt idx="437">
                  <c:v>76.746536654973696</c:v>
                </c:pt>
                <c:pt idx="438">
                  <c:v>77.285609528905923</c:v>
                </c:pt>
                <c:pt idx="439">
                  <c:v>76.899141843550055</c:v>
                </c:pt>
                <c:pt idx="440">
                  <c:v>76.905087500247873</c:v>
                </c:pt>
                <c:pt idx="441">
                  <c:v>76.005311453316793</c:v>
                </c:pt>
                <c:pt idx="442">
                  <c:v>75.036169411578314</c:v>
                </c:pt>
                <c:pt idx="443">
                  <c:v>74.952930217809325</c:v>
                </c:pt>
                <c:pt idx="444">
                  <c:v>74.887527994133734</c:v>
                </c:pt>
                <c:pt idx="445">
                  <c:v>74.608082129337959</c:v>
                </c:pt>
                <c:pt idx="446">
                  <c:v>75.527677031928278</c:v>
                </c:pt>
                <c:pt idx="447">
                  <c:v>77.707751154448431</c:v>
                </c:pt>
                <c:pt idx="448">
                  <c:v>77.91981291000269</c:v>
                </c:pt>
                <c:pt idx="449">
                  <c:v>77.257863130982912</c:v>
                </c:pt>
                <c:pt idx="450">
                  <c:v>76.094496303783515</c:v>
                </c:pt>
                <c:pt idx="451">
                  <c:v>76.110351388310946</c:v>
                </c:pt>
                <c:pt idx="452">
                  <c:v>75.29976019184663</c:v>
                </c:pt>
                <c:pt idx="453">
                  <c:v>74.174049190399842</c:v>
                </c:pt>
                <c:pt idx="454">
                  <c:v>73.541827694869013</c:v>
                </c:pt>
                <c:pt idx="455">
                  <c:v>75.262104366093993</c:v>
                </c:pt>
                <c:pt idx="456">
                  <c:v>75.232376082605086</c:v>
                </c:pt>
                <c:pt idx="457">
                  <c:v>74.580335731414948</c:v>
                </c:pt>
                <c:pt idx="458">
                  <c:v>74.15819410587244</c:v>
                </c:pt>
                <c:pt idx="459">
                  <c:v>75.537586459757932</c:v>
                </c:pt>
                <c:pt idx="460">
                  <c:v>77.022018748637578</c:v>
                </c:pt>
                <c:pt idx="461">
                  <c:v>77.440196603048307</c:v>
                </c:pt>
                <c:pt idx="462">
                  <c:v>77.440196603048307</c:v>
                </c:pt>
                <c:pt idx="463">
                  <c:v>77.440196603048307</c:v>
                </c:pt>
                <c:pt idx="464">
                  <c:v>76.144043442931732</c:v>
                </c:pt>
                <c:pt idx="465">
                  <c:v>77.545236538042417</c:v>
                </c:pt>
                <c:pt idx="466">
                  <c:v>77.931704223398285</c:v>
                </c:pt>
                <c:pt idx="467">
                  <c:v>77.204352220702901</c:v>
                </c:pt>
                <c:pt idx="468">
                  <c:v>76.580058267435732</c:v>
                </c:pt>
                <c:pt idx="469">
                  <c:v>76.550329983946853</c:v>
                </c:pt>
                <c:pt idx="470">
                  <c:v>75.870543234833718</c:v>
                </c:pt>
                <c:pt idx="471">
                  <c:v>76.393761024238572</c:v>
                </c:pt>
                <c:pt idx="472">
                  <c:v>74.723031492161738</c:v>
                </c:pt>
                <c:pt idx="473">
                  <c:v>75.436510295895644</c:v>
                </c:pt>
                <c:pt idx="474">
                  <c:v>74.661593039618026</c:v>
                </c:pt>
                <c:pt idx="475">
                  <c:v>75.525695146362352</c:v>
                </c:pt>
                <c:pt idx="476">
                  <c:v>75.273995679489573</c:v>
                </c:pt>
                <c:pt idx="477">
                  <c:v>74.853835939512962</c:v>
                </c:pt>
                <c:pt idx="478">
                  <c:v>74.847890282815214</c:v>
                </c:pt>
                <c:pt idx="479">
                  <c:v>75.486057435043833</c:v>
                </c:pt>
                <c:pt idx="480">
                  <c:v>76.393761024238586</c:v>
                </c:pt>
                <c:pt idx="481">
                  <c:v>76.126206472838376</c:v>
                </c:pt>
                <c:pt idx="482">
                  <c:v>76.804011336385557</c:v>
                </c:pt>
                <c:pt idx="483">
                  <c:v>75.725865588521032</c:v>
                </c:pt>
                <c:pt idx="484">
                  <c:v>74.883564223001883</c:v>
                </c:pt>
                <c:pt idx="485">
                  <c:v>75.85667003587227</c:v>
                </c:pt>
                <c:pt idx="486">
                  <c:v>76.1202608161406</c:v>
                </c:pt>
                <c:pt idx="487">
                  <c:v>75.220484769209577</c:v>
                </c:pt>
                <c:pt idx="488">
                  <c:v>73.979824404938995</c:v>
                </c:pt>
                <c:pt idx="489">
                  <c:v>73.23661731771621</c:v>
                </c:pt>
                <c:pt idx="490">
                  <c:v>73.862893156549248</c:v>
                </c:pt>
                <c:pt idx="491">
                  <c:v>73.757853221555123</c:v>
                </c:pt>
                <c:pt idx="492">
                  <c:v>74.433676199536379</c:v>
                </c:pt>
                <c:pt idx="493">
                  <c:v>74.405929801613397</c:v>
                </c:pt>
                <c:pt idx="494">
                  <c:v>74.937075133281937</c:v>
                </c:pt>
                <c:pt idx="495">
                  <c:v>75.668390907109156</c:v>
                </c:pt>
                <c:pt idx="496">
                  <c:v>75.149136888836182</c:v>
                </c:pt>
                <c:pt idx="497">
                  <c:v>74.709158293200304</c:v>
                </c:pt>
                <c:pt idx="498">
                  <c:v>73.319856511485156</c:v>
                </c:pt>
                <c:pt idx="499">
                  <c:v>72.907624313772274</c:v>
                </c:pt>
                <c:pt idx="500">
                  <c:v>73.634976316467601</c:v>
                </c:pt>
                <c:pt idx="501">
                  <c:v>72.917533741601915</c:v>
                </c:pt>
                <c:pt idx="502">
                  <c:v>73.948114235884162</c:v>
                </c:pt>
                <c:pt idx="503">
                  <c:v>74.471332025288987</c:v>
                </c:pt>
                <c:pt idx="504">
                  <c:v>75.569296628812836</c:v>
                </c:pt>
                <c:pt idx="505">
                  <c:v>75.299760191846673</c:v>
                </c:pt>
                <c:pt idx="506">
                  <c:v>76.106387617179124</c:v>
                </c:pt>
                <c:pt idx="507">
                  <c:v>77.588838020492844</c:v>
                </c:pt>
                <c:pt idx="508">
                  <c:v>77.253899359851118</c:v>
                </c:pt>
                <c:pt idx="509">
                  <c:v>77.378758150504495</c:v>
                </c:pt>
                <c:pt idx="510">
                  <c:v>77.804863547178925</c:v>
                </c:pt>
                <c:pt idx="511">
                  <c:v>78.308262480924498</c:v>
                </c:pt>
                <c:pt idx="512">
                  <c:v>77.854410686327128</c:v>
                </c:pt>
                <c:pt idx="513">
                  <c:v>77.287591414471862</c:v>
                </c:pt>
                <c:pt idx="514">
                  <c:v>77.311374041262994</c:v>
                </c:pt>
                <c:pt idx="515">
                  <c:v>77.301464613433353</c:v>
                </c:pt>
                <c:pt idx="516">
                  <c:v>77.947559307925729</c:v>
                </c:pt>
                <c:pt idx="517">
                  <c:v>78.379610361297907</c:v>
                </c:pt>
                <c:pt idx="518">
                  <c:v>78.61149097251139</c:v>
                </c:pt>
                <c:pt idx="519">
                  <c:v>77.959450621321295</c:v>
                </c:pt>
                <c:pt idx="520">
                  <c:v>77.75928017916263</c:v>
                </c:pt>
                <c:pt idx="521">
                  <c:v>78.201240660364476</c:v>
                </c:pt>
                <c:pt idx="522">
                  <c:v>77.662167786432178</c:v>
                </c:pt>
                <c:pt idx="523">
                  <c:v>77.814772975008609</c:v>
                </c:pt>
                <c:pt idx="524">
                  <c:v>78.02683473056284</c:v>
                </c:pt>
                <c:pt idx="525">
                  <c:v>78.940483976455383</c:v>
                </c:pt>
                <c:pt idx="526">
                  <c:v>78.940483976455383</c:v>
                </c:pt>
                <c:pt idx="527">
                  <c:v>78.940483976455383</c:v>
                </c:pt>
                <c:pt idx="528">
                  <c:v>78.482668410726149</c:v>
                </c:pt>
                <c:pt idx="529">
                  <c:v>78.373664704600174</c:v>
                </c:pt>
                <c:pt idx="530">
                  <c:v>77.64829458747073</c:v>
                </c:pt>
                <c:pt idx="531">
                  <c:v>77.64829458747073</c:v>
                </c:pt>
                <c:pt idx="532">
                  <c:v>76.679152545732208</c:v>
                </c:pt>
                <c:pt idx="533">
                  <c:v>76.772301167330767</c:v>
                </c:pt>
                <c:pt idx="534">
                  <c:v>77.43226906078462</c:v>
                </c:pt>
                <c:pt idx="535">
                  <c:v>76.195572467645889</c:v>
                </c:pt>
                <c:pt idx="536">
                  <c:v>76.587985809699532</c:v>
                </c:pt>
                <c:pt idx="537">
                  <c:v>77.107239827972521</c:v>
                </c:pt>
                <c:pt idx="538">
                  <c:v>78.302316824226736</c:v>
                </c:pt>
                <c:pt idx="539">
                  <c:v>78.332045107715658</c:v>
                </c:pt>
                <c:pt idx="540">
                  <c:v>77.814772975008609</c:v>
                </c:pt>
                <c:pt idx="541">
                  <c:v>77.903957825475345</c:v>
                </c:pt>
                <c:pt idx="542">
                  <c:v>77.402540777295712</c:v>
                </c:pt>
                <c:pt idx="543">
                  <c:v>77.16669639495035</c:v>
                </c:pt>
                <c:pt idx="544">
                  <c:v>76.863467903363443</c:v>
                </c:pt>
                <c:pt idx="545">
                  <c:v>76.096478189349511</c:v>
                </c:pt>
                <c:pt idx="546">
                  <c:v>75.704064847295896</c:v>
                </c:pt>
                <c:pt idx="547">
                  <c:v>75.486057435043875</c:v>
                </c:pt>
                <c:pt idx="548">
                  <c:v>75.922072259547889</c:v>
                </c:pt>
                <c:pt idx="549">
                  <c:v>75.922072259547889</c:v>
                </c:pt>
                <c:pt idx="550">
                  <c:v>75.779376498801113</c:v>
                </c:pt>
                <c:pt idx="551">
                  <c:v>75.151118774402121</c:v>
                </c:pt>
                <c:pt idx="552">
                  <c:v>74.998513585825748</c:v>
                </c:pt>
                <c:pt idx="553">
                  <c:v>74.205759359454731</c:v>
                </c:pt>
                <c:pt idx="554">
                  <c:v>75.813068553421857</c:v>
                </c:pt>
                <c:pt idx="555">
                  <c:v>75.567314743246897</c:v>
                </c:pt>
                <c:pt idx="556">
                  <c:v>74.750777890084748</c:v>
                </c:pt>
                <c:pt idx="557">
                  <c:v>75.333452246467459</c:v>
                </c:pt>
                <c:pt idx="558">
                  <c:v>76.324395029431159</c:v>
                </c:pt>
                <c:pt idx="559">
                  <c:v>76.649424262243286</c:v>
                </c:pt>
                <c:pt idx="560">
                  <c:v>76.318449372733369</c:v>
                </c:pt>
                <c:pt idx="561">
                  <c:v>75.757575757575907</c:v>
                </c:pt>
                <c:pt idx="562">
                  <c:v>75.357234873258577</c:v>
                </c:pt>
                <c:pt idx="563">
                  <c:v>75.32948847533558</c:v>
                </c:pt>
                <c:pt idx="564">
                  <c:v>74.265215926432575</c:v>
                </c:pt>
                <c:pt idx="565">
                  <c:v>74.437639970668286</c:v>
                </c:pt>
                <c:pt idx="566">
                  <c:v>74.522861050003129</c:v>
                </c:pt>
                <c:pt idx="567">
                  <c:v>74.556553104623902</c:v>
                </c:pt>
                <c:pt idx="568">
                  <c:v>73.743980022593647</c:v>
                </c:pt>
                <c:pt idx="569">
                  <c:v>73.492280555720882</c:v>
                </c:pt>
                <c:pt idx="570">
                  <c:v>72.538993598509776</c:v>
                </c:pt>
                <c:pt idx="571">
                  <c:v>73.19301583526584</c:v>
                </c:pt>
                <c:pt idx="572">
                  <c:v>72.673761816992823</c:v>
                </c:pt>
                <c:pt idx="573">
                  <c:v>71.326079632162177</c:v>
                </c:pt>
                <c:pt idx="574">
                  <c:v>70.937630061240441</c:v>
                </c:pt>
                <c:pt idx="575">
                  <c:v>70.620528370692028</c:v>
                </c:pt>
                <c:pt idx="576">
                  <c:v>69.730661751590631</c:v>
                </c:pt>
                <c:pt idx="577">
                  <c:v>69.883266940167076</c:v>
                </c:pt>
                <c:pt idx="578">
                  <c:v>70.555126147016452</c:v>
                </c:pt>
                <c:pt idx="579">
                  <c:v>69.046911231345717</c:v>
                </c:pt>
                <c:pt idx="580">
                  <c:v>68.242265691579178</c:v>
                </c:pt>
                <c:pt idx="581">
                  <c:v>66.521989020354141</c:v>
                </c:pt>
                <c:pt idx="582">
                  <c:v>68.686208058346878</c:v>
                </c:pt>
                <c:pt idx="583">
                  <c:v>68.264066432804356</c:v>
                </c:pt>
                <c:pt idx="584">
                  <c:v>67.138355431357581</c:v>
                </c:pt>
                <c:pt idx="585">
                  <c:v>65.701488396060185</c:v>
                </c:pt>
                <c:pt idx="586">
                  <c:v>65.441861386923705</c:v>
                </c:pt>
                <c:pt idx="587">
                  <c:v>63.927700814555159</c:v>
                </c:pt>
                <c:pt idx="588">
                  <c:v>65.299165626176944</c:v>
                </c:pt>
                <c:pt idx="589">
                  <c:v>64.04066829181302</c:v>
                </c:pt>
                <c:pt idx="590">
                  <c:v>64.773965951206165</c:v>
                </c:pt>
                <c:pt idx="591">
                  <c:v>66.76972471609507</c:v>
                </c:pt>
                <c:pt idx="592">
                  <c:v>67.007550984006386</c:v>
                </c:pt>
                <c:pt idx="593">
                  <c:v>65.126741581941218</c:v>
                </c:pt>
                <c:pt idx="594">
                  <c:v>63.305388746853936</c:v>
                </c:pt>
                <c:pt idx="595">
                  <c:v>64.551994767822293</c:v>
                </c:pt>
                <c:pt idx="596">
                  <c:v>67.005569098440432</c:v>
                </c:pt>
                <c:pt idx="597">
                  <c:v>66.716213805815059</c:v>
                </c:pt>
                <c:pt idx="598">
                  <c:v>65.941296549537441</c:v>
                </c:pt>
                <c:pt idx="599">
                  <c:v>63.999048694928533</c:v>
                </c:pt>
                <c:pt idx="600">
                  <c:v>61.805101373446853</c:v>
                </c:pt>
                <c:pt idx="601">
                  <c:v>61.763481776562365</c:v>
                </c:pt>
                <c:pt idx="602">
                  <c:v>58.655885209188156</c:v>
                </c:pt>
                <c:pt idx="603">
                  <c:v>58.544899617496213</c:v>
                </c:pt>
                <c:pt idx="604">
                  <c:v>60.449491646352477</c:v>
                </c:pt>
                <c:pt idx="605">
                  <c:v>61.32350318092648</c:v>
                </c:pt>
                <c:pt idx="606">
                  <c:v>58.529044532968811</c:v>
                </c:pt>
                <c:pt idx="607">
                  <c:v>55.922865013774242</c:v>
                </c:pt>
                <c:pt idx="608">
                  <c:v>54.91606714628309</c:v>
                </c:pt>
                <c:pt idx="609">
                  <c:v>54.026200527181693</c:v>
                </c:pt>
                <c:pt idx="610">
                  <c:v>56.010067978675032</c:v>
                </c:pt>
                <c:pt idx="611">
                  <c:v>56.578869136096209</c:v>
                </c:pt>
                <c:pt idx="612">
                  <c:v>59.773668668371229</c:v>
                </c:pt>
                <c:pt idx="613">
                  <c:v>59.474403947916173</c:v>
                </c:pt>
                <c:pt idx="614">
                  <c:v>59.894563687892791</c:v>
                </c:pt>
                <c:pt idx="615">
                  <c:v>57.409279188219806</c:v>
                </c:pt>
                <c:pt idx="616">
                  <c:v>57.333967536714567</c:v>
                </c:pt>
                <c:pt idx="617">
                  <c:v>55.639455377846616</c:v>
                </c:pt>
                <c:pt idx="618">
                  <c:v>57.869076639514972</c:v>
                </c:pt>
                <c:pt idx="619">
                  <c:v>57.217036288324849</c:v>
                </c:pt>
                <c:pt idx="620">
                  <c:v>59.375309669619796</c:v>
                </c:pt>
                <c:pt idx="621">
                  <c:v>60.181937094952275</c:v>
                </c:pt>
                <c:pt idx="622">
                  <c:v>58.840200566819391</c:v>
                </c:pt>
                <c:pt idx="623">
                  <c:v>59.420893037636127</c:v>
                </c:pt>
                <c:pt idx="624">
                  <c:v>58.148522504310719</c:v>
                </c:pt>
                <c:pt idx="625">
                  <c:v>59.846998434310528</c:v>
                </c:pt>
                <c:pt idx="626">
                  <c:v>60.104643557881083</c:v>
                </c:pt>
                <c:pt idx="627">
                  <c:v>61.783300632221632</c:v>
                </c:pt>
                <c:pt idx="628">
                  <c:v>60.915234754345413</c:v>
                </c:pt>
                <c:pt idx="629">
                  <c:v>61.513764195255497</c:v>
                </c:pt>
                <c:pt idx="630">
                  <c:v>62.70487742037789</c:v>
                </c:pt>
                <c:pt idx="631">
                  <c:v>61.898249995045425</c:v>
                </c:pt>
                <c:pt idx="632">
                  <c:v>61.434488772618401</c:v>
                </c:pt>
                <c:pt idx="633">
                  <c:v>62.508670749351069</c:v>
                </c:pt>
                <c:pt idx="634">
                  <c:v>60.267158174287154</c:v>
                </c:pt>
                <c:pt idx="635">
                  <c:v>59.264324077927867</c:v>
                </c:pt>
                <c:pt idx="636">
                  <c:v>59.866817289969809</c:v>
                </c:pt>
                <c:pt idx="637">
                  <c:v>58.792635313237149</c:v>
                </c:pt>
                <c:pt idx="638">
                  <c:v>56.446082803179081</c:v>
                </c:pt>
                <c:pt idx="639">
                  <c:v>56.788949006084515</c:v>
                </c:pt>
                <c:pt idx="640">
                  <c:v>56.428245833085739</c:v>
                </c:pt>
                <c:pt idx="641">
                  <c:v>58.136631190915161</c:v>
                </c:pt>
                <c:pt idx="642">
                  <c:v>57.389460332560525</c:v>
                </c:pt>
                <c:pt idx="643">
                  <c:v>58.850109994649031</c:v>
                </c:pt>
                <c:pt idx="644">
                  <c:v>59.934201399211339</c:v>
                </c:pt>
                <c:pt idx="645">
                  <c:v>57.855203440553474</c:v>
                </c:pt>
                <c:pt idx="646">
                  <c:v>56.788949006084515</c:v>
                </c:pt>
                <c:pt idx="647">
                  <c:v>56.725528667974849</c:v>
                </c:pt>
                <c:pt idx="648">
                  <c:v>56.273658758943377</c:v>
                </c:pt>
                <c:pt idx="649">
                  <c:v>54.273936222922615</c:v>
                </c:pt>
                <c:pt idx="650">
                  <c:v>53.243355728640331</c:v>
                </c:pt>
                <c:pt idx="651">
                  <c:v>53.421725429573812</c:v>
                </c:pt>
                <c:pt idx="652">
                  <c:v>51.608300136750209</c:v>
                </c:pt>
                <c:pt idx="653">
                  <c:v>50.799690825851819</c:v>
                </c:pt>
                <c:pt idx="654">
                  <c:v>51.628118992409497</c:v>
                </c:pt>
                <c:pt idx="655">
                  <c:v>53.895396079830455</c:v>
                </c:pt>
                <c:pt idx="656">
                  <c:v>53.942961333412711</c:v>
                </c:pt>
                <c:pt idx="657">
                  <c:v>51.451731177041935</c:v>
                </c:pt>
                <c:pt idx="658">
                  <c:v>52.187010722001013</c:v>
                </c:pt>
                <c:pt idx="659">
                  <c:v>53.661533583051011</c:v>
                </c:pt>
                <c:pt idx="660">
                  <c:v>52.926254038091948</c:v>
                </c:pt>
                <c:pt idx="661">
                  <c:v>51.901619200507454</c:v>
                </c:pt>
                <c:pt idx="662">
                  <c:v>51.192104167905448</c:v>
                </c:pt>
                <c:pt idx="663">
                  <c:v>50.423132568325606</c:v>
                </c:pt>
                <c:pt idx="664">
                  <c:v>50.030719226271984</c:v>
                </c:pt>
                <c:pt idx="665">
                  <c:v>51.116792516400203</c:v>
                </c:pt>
                <c:pt idx="666">
                  <c:v>53.570366847018356</c:v>
                </c:pt>
                <c:pt idx="667">
                  <c:v>53.051112828745367</c:v>
                </c:pt>
                <c:pt idx="668">
                  <c:v>56.128981112630655</c:v>
                </c:pt>
                <c:pt idx="669">
                  <c:v>55.316408030600421</c:v>
                </c:pt>
                <c:pt idx="670">
                  <c:v>57.131815208989963</c:v>
                </c:pt>
                <c:pt idx="671">
                  <c:v>56.83651425966675</c:v>
                </c:pt>
                <c:pt idx="672">
                  <c:v>56.905880254474212</c:v>
                </c:pt>
                <c:pt idx="673">
                  <c:v>56.390590007333074</c:v>
                </c:pt>
                <c:pt idx="674">
                  <c:v>54.769407614404457</c:v>
                </c:pt>
                <c:pt idx="675">
                  <c:v>56.121053570366954</c:v>
                </c:pt>
                <c:pt idx="676">
                  <c:v>55.788096795291146</c:v>
                </c:pt>
                <c:pt idx="677">
                  <c:v>56.448064688744978</c:v>
                </c:pt>
                <c:pt idx="678">
                  <c:v>54.220425312642554</c:v>
                </c:pt>
                <c:pt idx="679">
                  <c:v>55.54234298511615</c:v>
                </c:pt>
                <c:pt idx="680">
                  <c:v>56.319242126959715</c:v>
                </c:pt>
                <c:pt idx="681">
                  <c:v>55.647382920110303</c:v>
                </c:pt>
                <c:pt idx="682">
                  <c:v>57.544047406702845</c:v>
                </c:pt>
                <c:pt idx="683">
                  <c:v>57.746199734427456</c:v>
                </c:pt>
                <c:pt idx="684">
                  <c:v>57.165507263610714</c:v>
                </c:pt>
                <c:pt idx="685">
                  <c:v>56.115107913669178</c:v>
                </c:pt>
                <c:pt idx="686">
                  <c:v>55.498741502665752</c:v>
                </c:pt>
                <c:pt idx="687">
                  <c:v>55.149929643062507</c:v>
                </c:pt>
                <c:pt idx="688">
                  <c:v>55.88124541688974</c:v>
                </c:pt>
                <c:pt idx="689">
                  <c:v>55.467031333610905</c:v>
                </c:pt>
                <c:pt idx="690">
                  <c:v>56.483738628931683</c:v>
                </c:pt>
                <c:pt idx="691">
                  <c:v>56.775075807123038</c:v>
                </c:pt>
                <c:pt idx="692">
                  <c:v>57.337931307846397</c:v>
                </c:pt>
                <c:pt idx="693">
                  <c:v>57.038666587391354</c:v>
                </c:pt>
                <c:pt idx="694">
                  <c:v>56.943536080226849</c:v>
                </c:pt>
                <c:pt idx="695">
                  <c:v>58.709396119468202</c:v>
                </c:pt>
                <c:pt idx="696">
                  <c:v>58.830291138989764</c:v>
                </c:pt>
                <c:pt idx="697">
                  <c:v>58.447787224765761</c:v>
                </c:pt>
                <c:pt idx="698">
                  <c:v>57.230909487286304</c:v>
                </c:pt>
                <c:pt idx="699">
                  <c:v>58.60237429890811</c:v>
                </c:pt>
                <c:pt idx="700">
                  <c:v>58.990823869829882</c:v>
                </c:pt>
                <c:pt idx="701">
                  <c:v>58.877856392572014</c:v>
                </c:pt>
                <c:pt idx="702">
                  <c:v>58.873892621440149</c:v>
                </c:pt>
                <c:pt idx="703">
                  <c:v>57.670888082922211</c:v>
                </c:pt>
                <c:pt idx="704">
                  <c:v>57.308203024357496</c:v>
                </c:pt>
                <c:pt idx="705">
                  <c:v>56.755256951463743</c:v>
                </c:pt>
                <c:pt idx="706">
                  <c:v>56.440137146481284</c:v>
                </c:pt>
                <c:pt idx="707">
                  <c:v>55.294607289375229</c:v>
                </c:pt>
                <c:pt idx="708">
                  <c:v>55.425411736726453</c:v>
                </c:pt>
                <c:pt idx="709">
                  <c:v>56.035832491032082</c:v>
                </c:pt>
                <c:pt idx="710">
                  <c:v>55.149929643062514</c:v>
                </c:pt>
                <c:pt idx="711">
                  <c:v>54.434468953762718</c:v>
                </c:pt>
                <c:pt idx="712">
                  <c:v>55.912955585944573</c:v>
                </c:pt>
                <c:pt idx="713">
                  <c:v>55.145965871930656</c:v>
                </c:pt>
                <c:pt idx="714">
                  <c:v>54.143131775571383</c:v>
                </c:pt>
                <c:pt idx="715">
                  <c:v>53.970707731335686</c:v>
                </c:pt>
                <c:pt idx="716">
                  <c:v>54.464197237251611</c:v>
                </c:pt>
                <c:pt idx="717">
                  <c:v>54.585092256773201</c:v>
                </c:pt>
                <c:pt idx="718">
                  <c:v>54.585092256773201</c:v>
                </c:pt>
                <c:pt idx="719">
                  <c:v>54.585092256773201</c:v>
                </c:pt>
                <c:pt idx="720">
                  <c:v>54.585092256773201</c:v>
                </c:pt>
                <c:pt idx="721">
                  <c:v>52.924272152526015</c:v>
                </c:pt>
                <c:pt idx="722">
                  <c:v>53.425689200705648</c:v>
                </c:pt>
                <c:pt idx="723">
                  <c:v>53.425689200705648</c:v>
                </c:pt>
                <c:pt idx="724">
                  <c:v>53.425689200705648</c:v>
                </c:pt>
                <c:pt idx="725">
                  <c:v>55.437303050122004</c:v>
                </c:pt>
                <c:pt idx="726">
                  <c:v>55.726658342747406</c:v>
                </c:pt>
                <c:pt idx="727">
                  <c:v>55.839625820005253</c:v>
                </c:pt>
                <c:pt idx="728">
                  <c:v>55.447212477951624</c:v>
                </c:pt>
                <c:pt idx="729">
                  <c:v>54.658422022712514</c:v>
                </c:pt>
                <c:pt idx="730">
                  <c:v>54.963632399865347</c:v>
                </c:pt>
                <c:pt idx="731">
                  <c:v>55.056781021463927</c:v>
                </c:pt>
                <c:pt idx="732">
                  <c:v>55.003270111183888</c:v>
                </c:pt>
                <c:pt idx="733">
                  <c:v>55.260915234754471</c:v>
                </c:pt>
                <c:pt idx="734">
                  <c:v>54.513744376399821</c:v>
                </c:pt>
                <c:pt idx="735">
                  <c:v>54.476088550647191</c:v>
                </c:pt>
                <c:pt idx="736">
                  <c:v>53.235428186376637</c:v>
                </c:pt>
                <c:pt idx="737">
                  <c:v>52.537804467170169</c:v>
                </c:pt>
                <c:pt idx="738">
                  <c:v>52.002695364369778</c:v>
                </c:pt>
                <c:pt idx="739">
                  <c:v>51.10291931743874</c:v>
                </c:pt>
                <c:pt idx="740">
                  <c:v>50.724379174346574</c:v>
                </c:pt>
                <c:pt idx="741">
                  <c:v>50.256654180787706</c:v>
                </c:pt>
                <c:pt idx="742">
                  <c:v>48.593852190974609</c:v>
                </c:pt>
                <c:pt idx="743">
                  <c:v>48.683037041441324</c:v>
                </c:pt>
                <c:pt idx="744">
                  <c:v>48.863388627940729</c:v>
                </c:pt>
                <c:pt idx="745">
                  <c:v>50.030719226271998</c:v>
                </c:pt>
                <c:pt idx="746">
                  <c:v>50.096121449947596</c:v>
                </c:pt>
                <c:pt idx="747">
                  <c:v>50.928513387637118</c:v>
                </c:pt>
                <c:pt idx="748">
                  <c:v>49.341023049329245</c:v>
                </c:pt>
                <c:pt idx="749">
                  <c:v>50.300255663238104</c:v>
                </c:pt>
                <c:pt idx="750">
                  <c:v>49.154725806132056</c:v>
                </c:pt>
                <c:pt idx="751">
                  <c:v>48.71276532493026</c:v>
                </c:pt>
                <c:pt idx="752">
                  <c:v>48.488812255980442</c:v>
                </c:pt>
                <c:pt idx="753">
                  <c:v>49.551102919317543</c:v>
                </c:pt>
                <c:pt idx="754">
                  <c:v>48.685018927007263</c:v>
                </c:pt>
                <c:pt idx="755">
                  <c:v>48.35404403749736</c:v>
                </c:pt>
                <c:pt idx="756">
                  <c:v>49.119051865945366</c:v>
                </c:pt>
                <c:pt idx="757">
                  <c:v>49.997027171651219</c:v>
                </c:pt>
                <c:pt idx="758">
                  <c:v>50.4865529064353</c:v>
                </c:pt>
                <c:pt idx="759">
                  <c:v>49.352914362724803</c:v>
                </c:pt>
                <c:pt idx="760">
                  <c:v>49.012030045385281</c:v>
                </c:pt>
                <c:pt idx="761">
                  <c:v>49.350932477158864</c:v>
                </c:pt>
                <c:pt idx="762">
                  <c:v>48.853479200111074</c:v>
                </c:pt>
                <c:pt idx="763">
                  <c:v>47.470123075093731</c:v>
                </c:pt>
                <c:pt idx="764">
                  <c:v>47.127256872188298</c:v>
                </c:pt>
                <c:pt idx="765">
                  <c:v>47.507778900846354</c:v>
                </c:pt>
                <c:pt idx="766">
                  <c:v>48.280714271558061</c:v>
                </c:pt>
                <c:pt idx="767">
                  <c:v>48.367917236458865</c:v>
                </c:pt>
                <c:pt idx="768">
                  <c:v>47.416612164813685</c:v>
                </c:pt>
                <c:pt idx="769">
                  <c:v>47.004379967100782</c:v>
                </c:pt>
                <c:pt idx="770">
                  <c:v>46.586202112690096</c:v>
                </c:pt>
                <c:pt idx="771">
                  <c:v>45.670570981231627</c:v>
                </c:pt>
                <c:pt idx="772">
                  <c:v>44.630081059119725</c:v>
                </c:pt>
                <c:pt idx="773">
                  <c:v>44.669718770438287</c:v>
                </c:pt>
                <c:pt idx="774">
                  <c:v>43.278435103157236</c:v>
                </c:pt>
                <c:pt idx="775">
                  <c:v>45.773629030659862</c:v>
                </c:pt>
                <c:pt idx="776">
                  <c:v>47.573181124521973</c:v>
                </c:pt>
                <c:pt idx="777">
                  <c:v>49.055631527835672</c:v>
                </c:pt>
                <c:pt idx="778">
                  <c:v>49.230037457637287</c:v>
                </c:pt>
                <c:pt idx="779">
                  <c:v>49.905860435618536</c:v>
                </c:pt>
                <c:pt idx="780">
                  <c:v>49.668034167707255</c:v>
                </c:pt>
                <c:pt idx="781">
                  <c:v>51.297144102899601</c:v>
                </c:pt>
                <c:pt idx="782">
                  <c:v>49.168599005093547</c:v>
                </c:pt>
                <c:pt idx="783">
                  <c:v>49.777037873833258</c:v>
                </c:pt>
                <c:pt idx="784">
                  <c:v>49.763164674871788</c:v>
                </c:pt>
                <c:pt idx="785">
                  <c:v>48.883207483599989</c:v>
                </c:pt>
                <c:pt idx="786">
                  <c:v>48.736547951721356</c:v>
                </c:pt>
                <c:pt idx="787">
                  <c:v>47.057890877380828</c:v>
                </c:pt>
                <c:pt idx="788">
                  <c:v>47.727768198664307</c:v>
                </c:pt>
                <c:pt idx="789">
                  <c:v>49.235983114335092</c:v>
                </c:pt>
                <c:pt idx="790">
                  <c:v>49.7433458192125</c:v>
                </c:pt>
                <c:pt idx="791">
                  <c:v>50.276473036446987</c:v>
                </c:pt>
                <c:pt idx="792">
                  <c:v>52.008641021067547</c:v>
                </c:pt>
                <c:pt idx="793">
                  <c:v>51.176249083378032</c:v>
                </c:pt>
                <c:pt idx="794">
                  <c:v>51.126701944229865</c:v>
                </c:pt>
                <c:pt idx="795">
                  <c:v>50.290346235408478</c:v>
                </c:pt>
                <c:pt idx="796">
                  <c:v>50.686723348593965</c:v>
                </c:pt>
                <c:pt idx="797">
                  <c:v>51.174267197812085</c:v>
                </c:pt>
                <c:pt idx="798">
                  <c:v>51.996749707672002</c:v>
                </c:pt>
                <c:pt idx="799">
                  <c:v>51.463622490437508</c:v>
                </c:pt>
                <c:pt idx="800">
                  <c:v>51.832253205700006</c:v>
                </c:pt>
                <c:pt idx="801">
                  <c:v>51.832253205700006</c:v>
                </c:pt>
                <c:pt idx="802">
                  <c:v>51.832253205700006</c:v>
                </c:pt>
                <c:pt idx="803">
                  <c:v>52.078007015875023</c:v>
                </c:pt>
                <c:pt idx="804">
                  <c:v>52.811304675268161</c:v>
                </c:pt>
                <c:pt idx="805">
                  <c:v>51.969003309749027</c:v>
                </c:pt>
                <c:pt idx="806">
                  <c:v>51.334799928652231</c:v>
                </c:pt>
                <c:pt idx="807">
                  <c:v>52.561587093961307</c:v>
                </c:pt>
                <c:pt idx="808">
                  <c:v>52.282141229165553</c:v>
                </c:pt>
                <c:pt idx="809">
                  <c:v>52.246467288978863</c:v>
                </c:pt>
                <c:pt idx="810">
                  <c:v>52.044314961254251</c:v>
                </c:pt>
                <c:pt idx="811">
                  <c:v>52.353489109538927</c:v>
                </c:pt>
                <c:pt idx="812">
                  <c:v>52.634916859900621</c:v>
                </c:pt>
                <c:pt idx="813">
                  <c:v>53.370196404859698</c:v>
                </c:pt>
                <c:pt idx="814">
                  <c:v>52.870761242245976</c:v>
                </c:pt>
                <c:pt idx="815">
                  <c:v>51.51316962958569</c:v>
                </c:pt>
                <c:pt idx="816">
                  <c:v>52.000713478803839</c:v>
                </c:pt>
                <c:pt idx="817">
                  <c:v>51.970985195314924</c:v>
                </c:pt>
                <c:pt idx="818">
                  <c:v>52.187010722001027</c:v>
                </c:pt>
                <c:pt idx="819">
                  <c:v>52.268268030204048</c:v>
                </c:pt>
                <c:pt idx="820">
                  <c:v>53.047149057613495</c:v>
                </c:pt>
                <c:pt idx="821">
                  <c:v>53.112551281289115</c:v>
                </c:pt>
                <c:pt idx="822">
                  <c:v>51.433894206948573</c:v>
                </c:pt>
                <c:pt idx="823">
                  <c:v>51.671720474859882</c:v>
                </c:pt>
                <c:pt idx="824">
                  <c:v>51.166339655548377</c:v>
                </c:pt>
                <c:pt idx="825">
                  <c:v>51.877836573716301</c:v>
                </c:pt>
                <c:pt idx="826">
                  <c:v>51.481459460530829</c:v>
                </c:pt>
                <c:pt idx="827">
                  <c:v>51.289216560635879</c:v>
                </c:pt>
                <c:pt idx="828">
                  <c:v>51.596408823354622</c:v>
                </c:pt>
                <c:pt idx="829">
                  <c:v>52.755811879422176</c:v>
                </c:pt>
                <c:pt idx="830">
                  <c:v>52.852924272152613</c:v>
                </c:pt>
                <c:pt idx="831">
                  <c:v>52.936163465921574</c:v>
                </c:pt>
                <c:pt idx="832">
                  <c:v>53.988544701429042</c:v>
                </c:pt>
                <c:pt idx="833">
                  <c:v>53.550547991359075</c:v>
                </c:pt>
                <c:pt idx="834">
                  <c:v>54.145113661137302</c:v>
                </c:pt>
                <c:pt idx="835">
                  <c:v>53.847830826248178</c:v>
                </c:pt>
                <c:pt idx="836">
                  <c:v>55.090473076084692</c:v>
                </c:pt>
                <c:pt idx="837">
                  <c:v>54.384921814614515</c:v>
                </c:pt>
                <c:pt idx="838">
                  <c:v>54.670313336108094</c:v>
                </c:pt>
                <c:pt idx="839">
                  <c:v>55.354063856353022</c:v>
                </c:pt>
                <c:pt idx="840">
                  <c:v>55.710803258219975</c:v>
                </c:pt>
                <c:pt idx="841">
                  <c:v>54.912103375151219</c:v>
                </c:pt>
                <c:pt idx="842">
                  <c:v>55.811879422082256</c:v>
                </c:pt>
                <c:pt idx="843">
                  <c:v>56.382662465069352</c:v>
                </c:pt>
                <c:pt idx="844">
                  <c:v>56.802822205045985</c:v>
                </c:pt>
                <c:pt idx="845">
                  <c:v>55.879263531323794</c:v>
                </c:pt>
                <c:pt idx="846">
                  <c:v>56.307350813564135</c:v>
                </c:pt>
                <c:pt idx="847">
                  <c:v>55.431357393424207</c:v>
                </c:pt>
                <c:pt idx="848">
                  <c:v>55.177676040985503</c:v>
                </c:pt>
                <c:pt idx="849">
                  <c:v>55.350100085221172</c:v>
                </c:pt>
                <c:pt idx="850">
                  <c:v>55.314426145034489</c:v>
                </c:pt>
                <c:pt idx="851">
                  <c:v>55.338208771825627</c:v>
                </c:pt>
                <c:pt idx="852">
                  <c:v>54.799135897893372</c:v>
                </c:pt>
                <c:pt idx="853">
                  <c:v>53.711080722199206</c:v>
                </c:pt>
                <c:pt idx="854">
                  <c:v>54.696077848465158</c:v>
                </c:pt>
                <c:pt idx="855">
                  <c:v>55.052817250332055</c:v>
                </c:pt>
                <c:pt idx="856">
                  <c:v>54.910121489585293</c:v>
                </c:pt>
                <c:pt idx="857">
                  <c:v>56.230057276492978</c:v>
                </c:pt>
                <c:pt idx="858">
                  <c:v>56.130962998196608</c:v>
                </c:pt>
                <c:pt idx="859">
                  <c:v>55.728640228313331</c:v>
                </c:pt>
                <c:pt idx="860">
                  <c:v>55.199476782210709</c:v>
                </c:pt>
                <c:pt idx="861">
                  <c:v>55.841607705571192</c:v>
                </c:pt>
                <c:pt idx="862">
                  <c:v>56.606615534019198</c:v>
                </c:pt>
                <c:pt idx="863">
                  <c:v>56.245912361020409</c:v>
                </c:pt>
                <c:pt idx="864">
                  <c:v>55.942683869433488</c:v>
                </c:pt>
                <c:pt idx="865">
                  <c:v>55.441266821253855</c:v>
                </c:pt>
                <c:pt idx="866">
                  <c:v>55.441266821253855</c:v>
                </c:pt>
                <c:pt idx="867">
                  <c:v>54.97948748439277</c:v>
                </c:pt>
                <c:pt idx="868">
                  <c:v>55.215331866738154</c:v>
                </c:pt>
                <c:pt idx="869">
                  <c:v>55.11029193174398</c:v>
                </c:pt>
                <c:pt idx="870">
                  <c:v>56.069524545652854</c:v>
                </c:pt>
                <c:pt idx="871">
                  <c:v>55.631527835582901</c:v>
                </c:pt>
                <c:pt idx="872">
                  <c:v>56.279604415641167</c:v>
                </c:pt>
                <c:pt idx="873">
                  <c:v>56.071506431218786</c:v>
                </c:pt>
                <c:pt idx="874">
                  <c:v>56.446082803179081</c:v>
                </c:pt>
                <c:pt idx="875">
                  <c:v>57.086231840973653</c:v>
                </c:pt>
                <c:pt idx="876">
                  <c:v>56.455992231008729</c:v>
                </c:pt>
                <c:pt idx="877">
                  <c:v>56.014031749806904</c:v>
                </c:pt>
                <c:pt idx="878">
                  <c:v>56.410408862992384</c:v>
                </c:pt>
                <c:pt idx="879">
                  <c:v>55.637473492280691</c:v>
                </c:pt>
                <c:pt idx="880">
                  <c:v>55.798006223120836</c:v>
                </c:pt>
                <c:pt idx="881">
                  <c:v>56.273658758943398</c:v>
                </c:pt>
                <c:pt idx="882">
                  <c:v>56.432209604217583</c:v>
                </c:pt>
                <c:pt idx="883">
                  <c:v>56.798858433914162</c:v>
                </c:pt>
                <c:pt idx="884">
                  <c:v>56.977228134847628</c:v>
                </c:pt>
                <c:pt idx="885">
                  <c:v>57.746199734427485</c:v>
                </c:pt>
                <c:pt idx="886">
                  <c:v>57.851239669421616</c:v>
                </c:pt>
                <c:pt idx="887">
                  <c:v>58.433914025804285</c:v>
                </c:pt>
                <c:pt idx="888">
                  <c:v>58.531026418534736</c:v>
                </c:pt>
                <c:pt idx="889">
                  <c:v>58.382385001090171</c:v>
                </c:pt>
                <c:pt idx="890">
                  <c:v>58.976950670868405</c:v>
                </c:pt>
                <c:pt idx="891">
                  <c:v>59.165229799631511</c:v>
                </c:pt>
                <c:pt idx="892">
                  <c:v>58.727233089561558</c:v>
                </c:pt>
                <c:pt idx="893">
                  <c:v>58.213924727986353</c:v>
                </c:pt>
                <c:pt idx="894">
                  <c:v>58.632102582397039</c:v>
                </c:pt>
                <c:pt idx="895">
                  <c:v>58.854073765780889</c:v>
                </c:pt>
                <c:pt idx="896">
                  <c:v>58.233743583645605</c:v>
                </c:pt>
                <c:pt idx="897">
                  <c:v>59.040371008978092</c:v>
                </c:pt>
                <c:pt idx="898">
                  <c:v>59.307925560378294</c:v>
                </c:pt>
                <c:pt idx="899">
                  <c:v>60.263194403155318</c:v>
                </c:pt>
                <c:pt idx="900">
                  <c:v>60.110589214578916</c:v>
                </c:pt>
                <c:pt idx="901">
                  <c:v>59.724121529223055</c:v>
                </c:pt>
                <c:pt idx="902">
                  <c:v>60.066987732128503</c:v>
                </c:pt>
                <c:pt idx="903">
                  <c:v>59.264324077927881</c:v>
                </c:pt>
                <c:pt idx="904">
                  <c:v>58.79858096993496</c:v>
                </c:pt>
                <c:pt idx="905">
                  <c:v>58.951186158511348</c:v>
                </c:pt>
                <c:pt idx="906">
                  <c:v>58.604356184474064</c:v>
                </c:pt>
                <c:pt idx="907">
                  <c:v>58.808490397764572</c:v>
                </c:pt>
                <c:pt idx="908">
                  <c:v>59.452603206690995</c:v>
                </c:pt>
                <c:pt idx="909">
                  <c:v>59.632954793190386</c:v>
                </c:pt>
                <c:pt idx="910">
                  <c:v>60.096716015617403</c:v>
                </c:pt>
                <c:pt idx="911">
                  <c:v>59.539806171591799</c:v>
                </c:pt>
                <c:pt idx="912">
                  <c:v>58.513189448441381</c:v>
                </c:pt>
                <c:pt idx="913">
                  <c:v>58.30112769288715</c:v>
                </c:pt>
                <c:pt idx="914">
                  <c:v>58.299145807321239</c:v>
                </c:pt>
                <c:pt idx="915">
                  <c:v>57.875022296212748</c:v>
                </c:pt>
                <c:pt idx="916">
                  <c:v>57.456844441802048</c:v>
                </c:pt>
                <c:pt idx="917">
                  <c:v>57.129833323424045</c:v>
                </c:pt>
                <c:pt idx="918">
                  <c:v>56.152763739421822</c:v>
                </c:pt>
                <c:pt idx="919">
                  <c:v>56.945517965792774</c:v>
                </c:pt>
                <c:pt idx="920">
                  <c:v>57.258655885209322</c:v>
                </c:pt>
                <c:pt idx="921">
                  <c:v>58.675704064847423</c:v>
                </c:pt>
                <c:pt idx="922">
                  <c:v>58.368511802128687</c:v>
                </c:pt>
                <c:pt idx="923">
                  <c:v>57.880967952910524</c:v>
                </c:pt>
                <c:pt idx="924">
                  <c:v>57.880967952910524</c:v>
                </c:pt>
                <c:pt idx="925">
                  <c:v>59.006678954357305</c:v>
                </c:pt>
                <c:pt idx="926">
                  <c:v>58.667776522583722</c:v>
                </c:pt>
                <c:pt idx="927">
                  <c:v>59.700338902431923</c:v>
                </c:pt>
                <c:pt idx="928">
                  <c:v>59.523951087064354</c:v>
                </c:pt>
                <c:pt idx="929">
                  <c:v>60.120498642408535</c:v>
                </c:pt>
                <c:pt idx="930">
                  <c:v>59.940147055909122</c:v>
                </c:pt>
                <c:pt idx="931">
                  <c:v>59.785559981766802</c:v>
                </c:pt>
                <c:pt idx="932">
                  <c:v>59.759795469409731</c:v>
                </c:pt>
                <c:pt idx="933">
                  <c:v>59.835107120914984</c:v>
                </c:pt>
                <c:pt idx="934">
                  <c:v>58.826327367857907</c:v>
                </c:pt>
                <c:pt idx="935">
                  <c:v>58.398240085617573</c:v>
                </c:pt>
                <c:pt idx="936">
                  <c:v>58.301127692887135</c:v>
                </c:pt>
                <c:pt idx="937">
                  <c:v>58.830291138989757</c:v>
                </c:pt>
                <c:pt idx="938">
                  <c:v>59.462512634520614</c:v>
                </c:pt>
                <c:pt idx="939">
                  <c:v>59.686465703470404</c:v>
                </c:pt>
                <c:pt idx="940">
                  <c:v>60.158154468161136</c:v>
                </c:pt>
                <c:pt idx="941">
                  <c:v>60.181937094952254</c:v>
                </c:pt>
                <c:pt idx="942">
                  <c:v>61.129278395465569</c:v>
                </c:pt>
                <c:pt idx="943">
                  <c:v>60.863705729631299</c:v>
                </c:pt>
                <c:pt idx="944">
                  <c:v>60.522821412291776</c:v>
                </c:pt>
                <c:pt idx="945">
                  <c:v>60.802267277087537</c:v>
                </c:pt>
                <c:pt idx="946">
                  <c:v>61.400796717997615</c:v>
                </c:pt>
                <c:pt idx="947">
                  <c:v>60.891452127554281</c:v>
                </c:pt>
                <c:pt idx="948">
                  <c:v>60.608042491626641</c:v>
                </c:pt>
                <c:pt idx="949">
                  <c:v>60.814158590483096</c:v>
                </c:pt>
                <c:pt idx="950">
                  <c:v>60.980636978021003</c:v>
                </c:pt>
                <c:pt idx="951">
                  <c:v>61.240263987157491</c:v>
                </c:pt>
                <c:pt idx="952">
                  <c:v>60.122480527974432</c:v>
                </c:pt>
                <c:pt idx="953">
                  <c:v>60.065005846562528</c:v>
                </c:pt>
                <c:pt idx="954">
                  <c:v>59.698357016865963</c:v>
                </c:pt>
                <c:pt idx="955">
                  <c:v>59.579443882910297</c:v>
                </c:pt>
                <c:pt idx="956">
                  <c:v>59.74195849931634</c:v>
                </c:pt>
                <c:pt idx="957">
                  <c:v>60.899379669817954</c:v>
                </c:pt>
                <c:pt idx="958">
                  <c:v>60.931089838872808</c:v>
                </c:pt>
                <c:pt idx="959">
                  <c:v>60.719028083318562</c:v>
                </c:pt>
                <c:pt idx="960">
                  <c:v>61.012347147075836</c:v>
                </c:pt>
                <c:pt idx="961">
                  <c:v>60.740828824543769</c:v>
                </c:pt>
                <c:pt idx="962">
                  <c:v>61.690152010623009</c:v>
                </c:pt>
                <c:pt idx="963">
                  <c:v>61.369086548942747</c:v>
                </c:pt>
                <c:pt idx="964">
                  <c:v>61.686188239491152</c:v>
                </c:pt>
                <c:pt idx="965">
                  <c:v>61.602949045722191</c:v>
                </c:pt>
                <c:pt idx="966">
                  <c:v>61.180807420179654</c:v>
                </c:pt>
                <c:pt idx="967">
                  <c:v>60.899379669817954</c:v>
                </c:pt>
                <c:pt idx="968">
                  <c:v>61.343322036585704</c:v>
                </c:pt>
                <c:pt idx="969">
                  <c:v>60.851814416235698</c:v>
                </c:pt>
                <c:pt idx="970">
                  <c:v>61.200626275838928</c:v>
                </c:pt>
                <c:pt idx="971">
                  <c:v>61.121350853201832</c:v>
                </c:pt>
                <c:pt idx="972">
                  <c:v>61.224408902630067</c:v>
                </c:pt>
                <c:pt idx="973">
                  <c:v>60.929107953306875</c:v>
                </c:pt>
                <c:pt idx="974">
                  <c:v>60.972709435757274</c:v>
                </c:pt>
                <c:pt idx="975">
                  <c:v>61.55142002100807</c:v>
                </c:pt>
                <c:pt idx="976">
                  <c:v>61.706007095150412</c:v>
                </c:pt>
                <c:pt idx="977">
                  <c:v>61.460253284975423</c:v>
                </c:pt>
                <c:pt idx="978">
                  <c:v>61.769427433260084</c:v>
                </c:pt>
                <c:pt idx="979">
                  <c:v>61.902213766177219</c:v>
                </c:pt>
                <c:pt idx="980">
                  <c:v>62.0885110093744</c:v>
                </c:pt>
                <c:pt idx="981">
                  <c:v>62.308500307192347</c:v>
                </c:pt>
                <c:pt idx="982">
                  <c:v>62.399667043225008</c:v>
                </c:pt>
                <c:pt idx="983">
                  <c:v>62.399667043225008</c:v>
                </c:pt>
                <c:pt idx="984">
                  <c:v>63.071526250074406</c:v>
                </c:pt>
                <c:pt idx="985">
                  <c:v>63.38862794062279</c:v>
                </c:pt>
                <c:pt idx="986">
                  <c:v>63.364845313831665</c:v>
                </c:pt>
                <c:pt idx="987">
                  <c:v>63.063598707810698</c:v>
                </c:pt>
                <c:pt idx="988">
                  <c:v>63.691856432209697</c:v>
                </c:pt>
                <c:pt idx="989">
                  <c:v>63.368809084963523</c:v>
                </c:pt>
                <c:pt idx="990">
                  <c:v>63.299443090156061</c:v>
                </c:pt>
                <c:pt idx="991">
                  <c:v>63.418356224111726</c:v>
                </c:pt>
                <c:pt idx="992">
                  <c:v>64.001030580494373</c:v>
                </c:pt>
                <c:pt idx="993">
                  <c:v>64.032740749549205</c:v>
                </c:pt>
                <c:pt idx="994">
                  <c:v>64.728382583189727</c:v>
                </c:pt>
                <c:pt idx="995">
                  <c:v>64.882969657332097</c:v>
                </c:pt>
                <c:pt idx="996">
                  <c:v>64.553976653388119</c:v>
                </c:pt>
                <c:pt idx="997">
                  <c:v>64.863150801672802</c:v>
                </c:pt>
                <c:pt idx="998">
                  <c:v>64.880987771766158</c:v>
                </c:pt>
                <c:pt idx="999">
                  <c:v>64.773965951206065</c:v>
                </c:pt>
                <c:pt idx="1000">
                  <c:v>64.593614364706696</c:v>
                </c:pt>
                <c:pt idx="1001">
                  <c:v>64.690726757437119</c:v>
                </c:pt>
                <c:pt idx="1002">
                  <c:v>65.0098103335514</c:v>
                </c:pt>
                <c:pt idx="1003">
                  <c:v>64.522266484333301</c:v>
                </c:pt>
                <c:pt idx="1004">
                  <c:v>64.211110450482693</c:v>
                </c:pt>
                <c:pt idx="1005">
                  <c:v>64.314168499910906</c:v>
                </c:pt>
                <c:pt idx="1006">
                  <c:v>64.157599540202654</c:v>
                </c:pt>
                <c:pt idx="1007">
                  <c:v>63.973284182571376</c:v>
                </c:pt>
                <c:pt idx="1008">
                  <c:v>63.882117446538722</c:v>
                </c:pt>
                <c:pt idx="1009">
                  <c:v>64.228947420576006</c:v>
                </c:pt>
                <c:pt idx="1010">
                  <c:v>65.045484273738111</c:v>
                </c:pt>
                <c:pt idx="1011">
                  <c:v>65.079176328358884</c:v>
                </c:pt>
                <c:pt idx="1012">
                  <c:v>65.223853974671613</c:v>
                </c:pt>
                <c:pt idx="1013">
                  <c:v>65.156469865430068</c:v>
                </c:pt>
                <c:pt idx="1014">
                  <c:v>65.031611074776663</c:v>
                </c:pt>
                <c:pt idx="1015">
                  <c:v>65.223853974671613</c:v>
                </c:pt>
                <c:pt idx="1016">
                  <c:v>65.806528331054267</c:v>
                </c:pt>
                <c:pt idx="1017">
                  <c:v>65.828329072279459</c:v>
                </c:pt>
                <c:pt idx="1018">
                  <c:v>66.680539865628262</c:v>
                </c:pt>
                <c:pt idx="1019">
                  <c:v>66.286144638008707</c:v>
                </c:pt>
                <c:pt idx="1020">
                  <c:v>66.405057771964351</c:v>
                </c:pt>
                <c:pt idx="1021">
                  <c:v>65.74905364964242</c:v>
                </c:pt>
                <c:pt idx="1022">
                  <c:v>66.095883623679683</c:v>
                </c:pt>
                <c:pt idx="1023">
                  <c:v>66.177140931882718</c:v>
                </c:pt>
                <c:pt idx="1024">
                  <c:v>66.149394533959708</c:v>
                </c:pt>
                <c:pt idx="1025">
                  <c:v>66.843054482034333</c:v>
                </c:pt>
                <c:pt idx="1026">
                  <c:v>67.241413480785766</c:v>
                </c:pt>
                <c:pt idx="1027">
                  <c:v>67.055116237588535</c:v>
                </c:pt>
                <c:pt idx="1028">
                  <c:v>67.39996432605993</c:v>
                </c:pt>
                <c:pt idx="1029">
                  <c:v>67.140337316923421</c:v>
                </c:pt>
                <c:pt idx="1030">
                  <c:v>67.396000554928079</c:v>
                </c:pt>
                <c:pt idx="1031">
                  <c:v>66.696394950155693</c:v>
                </c:pt>
                <c:pt idx="1032">
                  <c:v>66.567572388370422</c:v>
                </c:pt>
                <c:pt idx="1033">
                  <c:v>64.78982103573351</c:v>
                </c:pt>
                <c:pt idx="1034">
                  <c:v>64.970172622232909</c:v>
                </c:pt>
                <c:pt idx="1035">
                  <c:v>63.745367342489772</c:v>
                </c:pt>
                <c:pt idx="1036">
                  <c:v>64.058505261906305</c:v>
                </c:pt>
                <c:pt idx="1037">
                  <c:v>65.110886497413759</c:v>
                </c:pt>
                <c:pt idx="1038">
                  <c:v>64.094179202093002</c:v>
                </c:pt>
                <c:pt idx="1039">
                  <c:v>64.389480151416166</c:v>
                </c:pt>
                <c:pt idx="1040">
                  <c:v>63.154765443843388</c:v>
                </c:pt>
                <c:pt idx="1041">
                  <c:v>63.370790970529498</c:v>
                </c:pt>
                <c:pt idx="1042">
                  <c:v>63.243950294310139</c:v>
                </c:pt>
                <c:pt idx="1043">
                  <c:v>64.060487147472216</c:v>
                </c:pt>
                <c:pt idx="1044">
                  <c:v>64.199219137087141</c:v>
                </c:pt>
                <c:pt idx="1045">
                  <c:v>64.910716055255094</c:v>
                </c:pt>
                <c:pt idx="1046">
                  <c:v>64.894860970727677</c:v>
                </c:pt>
                <c:pt idx="1047">
                  <c:v>64.766038408942393</c:v>
                </c:pt>
                <c:pt idx="1048">
                  <c:v>65.523118695126669</c:v>
                </c:pt>
                <c:pt idx="1049">
                  <c:v>66.625047069782298</c:v>
                </c:pt>
                <c:pt idx="1050">
                  <c:v>67.080880749945635</c:v>
                </c:pt>
                <c:pt idx="1051">
                  <c:v>66.755851517133507</c:v>
                </c:pt>
                <c:pt idx="1052">
                  <c:v>66.648829696573472</c:v>
                </c:pt>
                <c:pt idx="1053">
                  <c:v>66.965931387121827</c:v>
                </c:pt>
                <c:pt idx="1054">
                  <c:v>67.54860574350451</c:v>
                </c:pt>
                <c:pt idx="1055">
                  <c:v>66.525952791485935</c:v>
                </c:pt>
                <c:pt idx="1056">
                  <c:v>66.476405652337775</c:v>
                </c:pt>
                <c:pt idx="1057">
                  <c:v>66.87476465108918</c:v>
                </c:pt>
                <c:pt idx="1058">
                  <c:v>67.023406068533731</c:v>
                </c:pt>
                <c:pt idx="1059">
                  <c:v>67.49113106209262</c:v>
                </c:pt>
                <c:pt idx="1060">
                  <c:v>66.833145054204707</c:v>
                </c:pt>
                <c:pt idx="1061">
                  <c:v>67.223576510692396</c:v>
                </c:pt>
                <c:pt idx="1062">
                  <c:v>67.518877460015602</c:v>
                </c:pt>
                <c:pt idx="1063">
                  <c:v>67.788413896981695</c:v>
                </c:pt>
                <c:pt idx="1064">
                  <c:v>67.756703727926862</c:v>
                </c:pt>
                <c:pt idx="1065">
                  <c:v>66.833145054204692</c:v>
                </c:pt>
                <c:pt idx="1066">
                  <c:v>66.276235210179081</c:v>
                </c:pt>
                <c:pt idx="1067">
                  <c:v>65.693560853796399</c:v>
                </c:pt>
                <c:pt idx="1068">
                  <c:v>66.097865509245636</c:v>
                </c:pt>
                <c:pt idx="1069">
                  <c:v>66.361456289513967</c:v>
                </c:pt>
                <c:pt idx="1070">
                  <c:v>66.658739124403027</c:v>
                </c:pt>
                <c:pt idx="1071">
                  <c:v>65.790673246526822</c:v>
                </c:pt>
                <c:pt idx="1072">
                  <c:v>65.842202271240964</c:v>
                </c:pt>
                <c:pt idx="1073">
                  <c:v>64.094179202092946</c:v>
                </c:pt>
                <c:pt idx="1074">
                  <c:v>64.801712349129048</c:v>
                </c:pt>
                <c:pt idx="1075">
                  <c:v>64.175436510295953</c:v>
                </c:pt>
                <c:pt idx="1076">
                  <c:v>64.835404403749791</c:v>
                </c:pt>
                <c:pt idx="1077">
                  <c:v>64.450918603959877</c:v>
                </c:pt>
                <c:pt idx="1078">
                  <c:v>63.509522960144366</c:v>
                </c:pt>
                <c:pt idx="1079">
                  <c:v>63.995084923796568</c:v>
                </c:pt>
                <c:pt idx="1080">
                  <c:v>65.093049527320375</c:v>
                </c:pt>
                <c:pt idx="1081">
                  <c:v>64.684781100739301</c:v>
                </c:pt>
                <c:pt idx="1082">
                  <c:v>64.637215847157066</c:v>
                </c:pt>
                <c:pt idx="1083">
                  <c:v>65.063321243831453</c:v>
                </c:pt>
                <c:pt idx="1084">
                  <c:v>64.708563727530446</c:v>
                </c:pt>
                <c:pt idx="1085">
                  <c:v>65.29321996947904</c:v>
                </c:pt>
                <c:pt idx="1086">
                  <c:v>65.632122401252616</c:v>
                </c:pt>
                <c:pt idx="1087">
                  <c:v>65.431951959093936</c:v>
                </c:pt>
                <c:pt idx="1088">
                  <c:v>65.55086509304958</c:v>
                </c:pt>
                <c:pt idx="1089">
                  <c:v>65.114850268545567</c:v>
                </c:pt>
                <c:pt idx="1090">
                  <c:v>65.388350476643538</c:v>
                </c:pt>
                <c:pt idx="1091">
                  <c:v>65.63212240125263</c:v>
                </c:pt>
                <c:pt idx="1092">
                  <c:v>66.107774937075192</c:v>
                </c:pt>
                <c:pt idx="1093">
                  <c:v>66.561626731672604</c:v>
                </c:pt>
                <c:pt idx="1094">
                  <c:v>66.743960203737927</c:v>
                </c:pt>
                <c:pt idx="1095">
                  <c:v>66.789543571754251</c:v>
                </c:pt>
                <c:pt idx="1096">
                  <c:v>66.892601621182465</c:v>
                </c:pt>
                <c:pt idx="1097">
                  <c:v>66.831163168638724</c:v>
                </c:pt>
                <c:pt idx="1098">
                  <c:v>65.875894325861665</c:v>
                </c:pt>
                <c:pt idx="1099">
                  <c:v>66.371365717343551</c:v>
                </c:pt>
                <c:pt idx="1100">
                  <c:v>67.04124303862703</c:v>
                </c:pt>
                <c:pt idx="1101">
                  <c:v>67.144301088055272</c:v>
                </c:pt>
                <c:pt idx="1102">
                  <c:v>67.219612739560503</c:v>
                </c:pt>
                <c:pt idx="1103">
                  <c:v>67.1700656004123</c:v>
                </c:pt>
                <c:pt idx="1104">
                  <c:v>66.474423766771793</c:v>
                </c:pt>
                <c:pt idx="1105">
                  <c:v>66.710268149117169</c:v>
                </c:pt>
                <c:pt idx="1106">
                  <c:v>66.989714013912902</c:v>
                </c:pt>
                <c:pt idx="1107">
                  <c:v>66.997641556176617</c:v>
                </c:pt>
                <c:pt idx="1108">
                  <c:v>67.427710723982869</c:v>
                </c:pt>
                <c:pt idx="1109">
                  <c:v>67.118536575698172</c:v>
                </c:pt>
                <c:pt idx="1110">
                  <c:v>66.680539865628219</c:v>
                </c:pt>
                <c:pt idx="1111">
                  <c:v>66.476405652337704</c:v>
                </c:pt>
                <c:pt idx="1112">
                  <c:v>66.022553857740306</c:v>
                </c:pt>
                <c:pt idx="1113">
                  <c:v>65.982916146421744</c:v>
                </c:pt>
                <c:pt idx="1114">
                  <c:v>65.645995600214107</c:v>
                </c:pt>
                <c:pt idx="1115">
                  <c:v>65.562756406445146</c:v>
                </c:pt>
                <c:pt idx="1116">
                  <c:v>65.758963077471961</c:v>
                </c:pt>
                <c:pt idx="1117">
                  <c:v>65.727252908417142</c:v>
                </c:pt>
                <c:pt idx="1118">
                  <c:v>65.455734585885068</c:v>
                </c:pt>
                <c:pt idx="1119">
                  <c:v>65.558792635313281</c:v>
                </c:pt>
                <c:pt idx="1120">
                  <c:v>65.429970073527997</c:v>
                </c:pt>
                <c:pt idx="1121">
                  <c:v>64.758110866678606</c:v>
                </c:pt>
                <c:pt idx="1122">
                  <c:v>64.902788512991293</c:v>
                </c:pt>
                <c:pt idx="1123">
                  <c:v>64.573795509047372</c:v>
                </c:pt>
                <c:pt idx="1124">
                  <c:v>64.682799215173389</c:v>
                </c:pt>
                <c:pt idx="1125">
                  <c:v>65.320966367402008</c:v>
                </c:pt>
                <c:pt idx="1126">
                  <c:v>64.322096042174564</c:v>
                </c:pt>
                <c:pt idx="1127">
                  <c:v>64.488574429712514</c:v>
                </c:pt>
                <c:pt idx="1128">
                  <c:v>63.909863844461697</c:v>
                </c:pt>
                <c:pt idx="1129">
                  <c:v>64.450918603959863</c:v>
                </c:pt>
                <c:pt idx="1130">
                  <c:v>64.668926016211884</c:v>
                </c:pt>
                <c:pt idx="1131">
                  <c:v>65.402223675605072</c:v>
                </c:pt>
                <c:pt idx="1132">
                  <c:v>65.505281725033271</c:v>
                </c:pt>
                <c:pt idx="1133">
                  <c:v>65.437897615791741</c:v>
                </c:pt>
                <c:pt idx="1134">
                  <c:v>65.63410428681857</c:v>
                </c:pt>
                <c:pt idx="1135">
                  <c:v>65.134669124204834</c:v>
                </c:pt>
                <c:pt idx="1136">
                  <c:v>65.243672830330851</c:v>
                </c:pt>
                <c:pt idx="1137">
                  <c:v>63.779059397110487</c:v>
                </c:pt>
                <c:pt idx="1138">
                  <c:v>63.236022752046374</c:v>
                </c:pt>
                <c:pt idx="1139">
                  <c:v>63.624472322968145</c:v>
                </c:pt>
                <c:pt idx="1140">
                  <c:v>63.251877836573783</c:v>
                </c:pt>
                <c:pt idx="1141">
                  <c:v>63.138910359315929</c:v>
                </c:pt>
                <c:pt idx="1142">
                  <c:v>62.922884832629848</c:v>
                </c:pt>
                <c:pt idx="1143">
                  <c:v>63.527359930237722</c:v>
                </c:pt>
                <c:pt idx="1144">
                  <c:v>63.616544780704444</c:v>
                </c:pt>
                <c:pt idx="1145">
                  <c:v>63.685910775511907</c:v>
                </c:pt>
                <c:pt idx="1146">
                  <c:v>63.824642765126825</c:v>
                </c:pt>
                <c:pt idx="1147">
                  <c:v>63.66609191985264</c:v>
                </c:pt>
                <c:pt idx="1148">
                  <c:v>64.520284598767361</c:v>
                </c:pt>
                <c:pt idx="1149">
                  <c:v>64.441009176130265</c:v>
                </c:pt>
                <c:pt idx="1150">
                  <c:v>64.645143389420781</c:v>
                </c:pt>
                <c:pt idx="1151">
                  <c:v>65.168361178825606</c:v>
                </c:pt>
                <c:pt idx="1152">
                  <c:v>65.667796341439328</c:v>
                </c:pt>
                <c:pt idx="1153">
                  <c:v>65.56870206314295</c:v>
                </c:pt>
                <c:pt idx="1154">
                  <c:v>64.940444338743973</c:v>
                </c:pt>
                <c:pt idx="1155">
                  <c:v>65.386368591077641</c:v>
                </c:pt>
                <c:pt idx="1156">
                  <c:v>65.634104286818584</c:v>
                </c:pt>
                <c:pt idx="1157">
                  <c:v>66.147412648393782</c:v>
                </c:pt>
                <c:pt idx="1158">
                  <c:v>66.381275145173205</c:v>
                </c:pt>
                <c:pt idx="1159">
                  <c:v>66.347583090552433</c:v>
                </c:pt>
                <c:pt idx="1160">
                  <c:v>66.335691777156839</c:v>
                </c:pt>
                <c:pt idx="1161">
                  <c:v>65.929405236141733</c:v>
                </c:pt>
                <c:pt idx="1162">
                  <c:v>66.155340190657441</c:v>
                </c:pt>
                <c:pt idx="1163">
                  <c:v>66.724141348078646</c:v>
                </c:pt>
                <c:pt idx="1164">
                  <c:v>66.496224507996999</c:v>
                </c:pt>
                <c:pt idx="1165">
                  <c:v>66.381275145173191</c:v>
                </c:pt>
                <c:pt idx="1166">
                  <c:v>66.672612323364504</c:v>
                </c:pt>
                <c:pt idx="1167">
                  <c:v>67.053134352022568</c:v>
                </c:pt>
                <c:pt idx="1168">
                  <c:v>66.813326198545383</c:v>
                </c:pt>
                <c:pt idx="1169">
                  <c:v>67.124482232395962</c:v>
                </c:pt>
                <c:pt idx="1170">
                  <c:v>66.751887746001614</c:v>
                </c:pt>
                <c:pt idx="1171">
                  <c:v>66.256416354519757</c:v>
                </c:pt>
                <c:pt idx="1172">
                  <c:v>66.456586796678423</c:v>
                </c:pt>
                <c:pt idx="1173">
                  <c:v>66.02255385774032</c:v>
                </c:pt>
                <c:pt idx="1174">
                  <c:v>66.339655548288732</c:v>
                </c:pt>
                <c:pt idx="1175">
                  <c:v>66.577481816199992</c:v>
                </c:pt>
                <c:pt idx="1176">
                  <c:v>66.131557563866352</c:v>
                </c:pt>
                <c:pt idx="1177">
                  <c:v>67.275105535406453</c:v>
                </c:pt>
                <c:pt idx="1178">
                  <c:v>67.923182115464726</c:v>
                </c:pt>
                <c:pt idx="1179">
                  <c:v>67.982638682442555</c:v>
                </c:pt>
                <c:pt idx="1180">
                  <c:v>67.931109657728456</c:v>
                </c:pt>
                <c:pt idx="1181">
                  <c:v>67.921200229898815</c:v>
                </c:pt>
                <c:pt idx="1182">
                  <c:v>67.619953623877848</c:v>
                </c:pt>
                <c:pt idx="1183">
                  <c:v>67.584279683691136</c:v>
                </c:pt>
                <c:pt idx="1184">
                  <c:v>67.063043779852222</c:v>
                </c:pt>
                <c:pt idx="1185">
                  <c:v>67.219612739560503</c:v>
                </c:pt>
                <c:pt idx="1186">
                  <c:v>66.765760944963105</c:v>
                </c:pt>
                <c:pt idx="1187">
                  <c:v>66.632974612045956</c:v>
                </c:pt>
                <c:pt idx="1188">
                  <c:v>66.432804169887305</c:v>
                </c:pt>
                <c:pt idx="1189">
                  <c:v>67.067007550984059</c:v>
                </c:pt>
                <c:pt idx="1190">
                  <c:v>66.411003428662127</c:v>
                </c:pt>
                <c:pt idx="1191">
                  <c:v>66.803416770715742</c:v>
                </c:pt>
                <c:pt idx="1192">
                  <c:v>66.747923974869806</c:v>
                </c:pt>
                <c:pt idx="1193">
                  <c:v>65.659868799175612</c:v>
                </c:pt>
                <c:pt idx="1194">
                  <c:v>65.852111699070576</c:v>
                </c:pt>
                <c:pt idx="1195">
                  <c:v>66.642884039875611</c:v>
                </c:pt>
                <c:pt idx="1196">
                  <c:v>67.055116237588493</c:v>
                </c:pt>
                <c:pt idx="1197">
                  <c:v>66.87674653665502</c:v>
                </c:pt>
                <c:pt idx="1198">
                  <c:v>67.429692609548823</c:v>
                </c:pt>
                <c:pt idx="1199">
                  <c:v>68.050022791684071</c:v>
                </c:pt>
                <c:pt idx="1200">
                  <c:v>68.29181283072721</c:v>
                </c:pt>
                <c:pt idx="1201">
                  <c:v>68.087678617436694</c:v>
                </c:pt>
                <c:pt idx="1202">
                  <c:v>68.460273103831071</c:v>
                </c:pt>
                <c:pt idx="1203">
                  <c:v>68.37703391006211</c:v>
                </c:pt>
                <c:pt idx="1204">
                  <c:v>68.355233168836889</c:v>
                </c:pt>
                <c:pt idx="1205">
                  <c:v>68.52369344194075</c:v>
                </c:pt>
                <c:pt idx="1206">
                  <c:v>69.153933051905653</c:v>
                </c:pt>
                <c:pt idx="1207">
                  <c:v>69.401668747646596</c:v>
                </c:pt>
                <c:pt idx="1208">
                  <c:v>69.312483897179831</c:v>
                </c:pt>
                <c:pt idx="1209">
                  <c:v>68.854668331450597</c:v>
                </c:pt>
                <c:pt idx="1210">
                  <c:v>69.474998513585874</c:v>
                </c:pt>
                <c:pt idx="1211">
                  <c:v>69.488871712547365</c:v>
                </c:pt>
                <c:pt idx="1212">
                  <c:v>68.963672037576615</c:v>
                </c:pt>
                <c:pt idx="1213">
                  <c:v>68.604950750143757</c:v>
                </c:pt>
                <c:pt idx="1214">
                  <c:v>68.713954456269761</c:v>
                </c:pt>
                <c:pt idx="1215">
                  <c:v>68.686208058346779</c:v>
                </c:pt>
                <c:pt idx="1216">
                  <c:v>69.17969756426271</c:v>
                </c:pt>
                <c:pt idx="1217">
                  <c:v>69.070693858136693</c:v>
                </c:pt>
                <c:pt idx="1218">
                  <c:v>69.003309748895177</c:v>
                </c:pt>
                <c:pt idx="1219">
                  <c:v>68.719900112967551</c:v>
                </c:pt>
                <c:pt idx="1220">
                  <c:v>69.504726797074809</c:v>
                </c:pt>
                <c:pt idx="1221">
                  <c:v>69.792100204134286</c:v>
                </c:pt>
                <c:pt idx="1222">
                  <c:v>69.631567473294169</c:v>
                </c:pt>
                <c:pt idx="1223">
                  <c:v>69.298610698218397</c:v>
                </c:pt>
                <c:pt idx="1224">
                  <c:v>69.550310165091133</c:v>
                </c:pt>
                <c:pt idx="1225">
                  <c:v>69.421487603305863</c:v>
                </c:pt>
                <c:pt idx="1226">
                  <c:v>68.924034326258081</c:v>
                </c:pt>
                <c:pt idx="1227">
                  <c:v>69.201498305487902</c:v>
                </c:pt>
                <c:pt idx="1228">
                  <c:v>69.718770438194937</c:v>
                </c:pt>
                <c:pt idx="1229">
                  <c:v>69.796063975266151</c:v>
                </c:pt>
                <c:pt idx="1230">
                  <c:v>69.76237192064535</c:v>
                </c:pt>
                <c:pt idx="1231">
                  <c:v>70.018035158649994</c:v>
                </c:pt>
                <c:pt idx="1232">
                  <c:v>69.471034742453995</c:v>
                </c:pt>
                <c:pt idx="1233">
                  <c:v>69.794082089700225</c:v>
                </c:pt>
                <c:pt idx="1234">
                  <c:v>69.651386328953407</c:v>
                </c:pt>
                <c:pt idx="1235">
                  <c:v>69.97443367619961</c:v>
                </c:pt>
                <c:pt idx="1236">
                  <c:v>69.992270646292965</c:v>
                </c:pt>
                <c:pt idx="1237">
                  <c:v>70.071546068930061</c:v>
                </c:pt>
                <c:pt idx="1238">
                  <c:v>69.952632934974403</c:v>
                </c:pt>
                <c:pt idx="1239">
                  <c:v>70.021998929781873</c:v>
                </c:pt>
                <c:pt idx="1240">
                  <c:v>70.012089501952246</c:v>
                </c:pt>
                <c:pt idx="1241">
                  <c:v>70.010107616386307</c:v>
                </c:pt>
                <c:pt idx="1242">
                  <c:v>70.035872128743335</c:v>
                </c:pt>
                <c:pt idx="1243">
                  <c:v>70.446122440890377</c:v>
                </c:pt>
                <c:pt idx="1244">
                  <c:v>70.723586420120199</c:v>
                </c:pt>
                <c:pt idx="1245">
                  <c:v>70.255861426561296</c:v>
                </c:pt>
                <c:pt idx="1246">
                  <c:v>70.602691400598616</c:v>
                </c:pt>
                <c:pt idx="1247">
                  <c:v>71.058525080761939</c:v>
                </c:pt>
                <c:pt idx="1248">
                  <c:v>71.034742453970793</c:v>
                </c:pt>
                <c:pt idx="1249">
                  <c:v>70.511524664565982</c:v>
                </c:pt>
                <c:pt idx="1250">
                  <c:v>69.972451790633684</c:v>
                </c:pt>
                <c:pt idx="1251">
                  <c:v>70.234060685336161</c:v>
                </c:pt>
                <c:pt idx="1252">
                  <c:v>70.58485443050526</c:v>
                </c:pt>
                <c:pt idx="1253">
                  <c:v>70.876191608696587</c:v>
                </c:pt>
                <c:pt idx="1254">
                  <c:v>70.94753948907001</c:v>
                </c:pt>
                <c:pt idx="1255">
                  <c:v>71.078343936421149</c:v>
                </c:pt>
                <c:pt idx="1256">
                  <c:v>70.78700675822985</c:v>
                </c:pt>
                <c:pt idx="1257">
                  <c:v>70.713676992290544</c:v>
                </c:pt>
                <c:pt idx="1258">
                  <c:v>70.678003052103819</c:v>
                </c:pt>
                <c:pt idx="1259">
                  <c:v>71.139782388964917</c:v>
                </c:pt>
                <c:pt idx="1260">
                  <c:v>71.167528786887928</c:v>
                </c:pt>
                <c:pt idx="1261">
                  <c:v>71.470757278474807</c:v>
                </c:pt>
                <c:pt idx="1262">
                  <c:v>71.207166498206504</c:v>
                </c:pt>
                <c:pt idx="1263">
                  <c:v>71.686782805160902</c:v>
                </c:pt>
                <c:pt idx="1264">
                  <c:v>72.255583962582079</c:v>
                </c:pt>
                <c:pt idx="1265">
                  <c:v>72.48151891709783</c:v>
                </c:pt>
                <c:pt idx="1266">
                  <c:v>72.443863091345222</c:v>
                </c:pt>
                <c:pt idx="1267">
                  <c:v>73.133559268287954</c:v>
                </c:pt>
                <c:pt idx="1268">
                  <c:v>73.525972610341555</c:v>
                </c:pt>
                <c:pt idx="1269">
                  <c:v>73.658758943258704</c:v>
                </c:pt>
                <c:pt idx="1270">
                  <c:v>73.577501635055683</c:v>
                </c:pt>
                <c:pt idx="1271">
                  <c:v>73.502189983550423</c:v>
                </c:pt>
                <c:pt idx="1272">
                  <c:v>74.172067304833874</c:v>
                </c:pt>
                <c:pt idx="1273">
                  <c:v>74.281071010959892</c:v>
                </c:pt>
                <c:pt idx="1274">
                  <c:v>74.576371960283069</c:v>
                </c:pt>
                <c:pt idx="1275">
                  <c:v>74.164139762570187</c:v>
                </c:pt>
                <c:pt idx="1276">
                  <c:v>74.245397070773208</c:v>
                </c:pt>
                <c:pt idx="1277">
                  <c:v>74.348455120201422</c:v>
                </c:pt>
                <c:pt idx="1278">
                  <c:v>74.249360841905087</c:v>
                </c:pt>
                <c:pt idx="1279">
                  <c:v>73.716233624670608</c:v>
                </c:pt>
                <c:pt idx="1280">
                  <c:v>73.343639138276217</c:v>
                </c:pt>
                <c:pt idx="1281">
                  <c:v>73.302019541391743</c:v>
                </c:pt>
                <c:pt idx="1282">
                  <c:v>74.140357135779027</c:v>
                </c:pt>
                <c:pt idx="1283">
                  <c:v>73.902530867867753</c:v>
                </c:pt>
                <c:pt idx="1284">
                  <c:v>74.451513169629663</c:v>
                </c:pt>
                <c:pt idx="1285">
                  <c:v>74.445567512931859</c:v>
                </c:pt>
                <c:pt idx="1286">
                  <c:v>74.453495055195575</c:v>
                </c:pt>
                <c:pt idx="1287">
                  <c:v>74.960857760072997</c:v>
                </c:pt>
                <c:pt idx="1288">
                  <c:v>74.895455536397378</c:v>
                </c:pt>
                <c:pt idx="1289">
                  <c:v>74.487187109816333</c:v>
                </c:pt>
                <c:pt idx="1290">
                  <c:v>74.082882454367152</c:v>
                </c:pt>
                <c:pt idx="1291">
                  <c:v>73.484353013457053</c:v>
                </c:pt>
                <c:pt idx="1292">
                  <c:v>73.652813286560885</c:v>
                </c:pt>
                <c:pt idx="1293">
                  <c:v>73.543809580434882</c:v>
                </c:pt>
                <c:pt idx="1294">
                  <c:v>74.142339021344952</c:v>
                </c:pt>
                <c:pt idx="1295">
                  <c:v>73.212834690925007</c:v>
                </c:pt>
                <c:pt idx="1296">
                  <c:v>73.212834690925007</c:v>
                </c:pt>
                <c:pt idx="1297">
                  <c:v>73.37733119289696</c:v>
                </c:pt>
                <c:pt idx="1298">
                  <c:v>73.200943377529441</c:v>
                </c:pt>
                <c:pt idx="1299">
                  <c:v>73.341657252710291</c:v>
                </c:pt>
                <c:pt idx="1300">
                  <c:v>73.097885328101214</c:v>
                </c:pt>
                <c:pt idx="1301">
                  <c:v>73.523990724775615</c:v>
                </c:pt>
                <c:pt idx="1302">
                  <c:v>73.523990724775615</c:v>
                </c:pt>
                <c:pt idx="1303">
                  <c:v>73.523990724775615</c:v>
                </c:pt>
                <c:pt idx="1304">
                  <c:v>73.72416116693428</c:v>
                </c:pt>
                <c:pt idx="1305">
                  <c:v>73.52002695364375</c:v>
                </c:pt>
                <c:pt idx="1306">
                  <c:v>73.547773351566732</c:v>
                </c:pt>
                <c:pt idx="1307">
                  <c:v>73.910458410131469</c:v>
                </c:pt>
                <c:pt idx="1308">
                  <c:v>73.58344729175343</c:v>
                </c:pt>
                <c:pt idx="1309">
                  <c:v>74.203777473888735</c:v>
                </c:pt>
                <c:pt idx="1310">
                  <c:v>74.516915393305297</c:v>
                </c:pt>
                <c:pt idx="1311">
                  <c:v>74.756723546782482</c:v>
                </c:pt>
                <c:pt idx="1312">
                  <c:v>74.939057018847834</c:v>
                </c:pt>
                <c:pt idx="1313">
                  <c:v>74.796361258101044</c:v>
                </c:pt>
                <c:pt idx="1314">
                  <c:v>74.544661791228279</c:v>
                </c:pt>
                <c:pt idx="1315">
                  <c:v>74.901401193095182</c:v>
                </c:pt>
                <c:pt idx="1316">
                  <c:v>74.730959034425439</c:v>
                </c:pt>
                <c:pt idx="1317">
                  <c:v>73.577501635055683</c:v>
                </c:pt>
                <c:pt idx="1318">
                  <c:v>72.319004300691759</c:v>
                </c:pt>
                <c:pt idx="1319">
                  <c:v>72.816457577739527</c:v>
                </c:pt>
                <c:pt idx="1320">
                  <c:v>72.469627603702278</c:v>
                </c:pt>
                <c:pt idx="1321">
                  <c:v>72.368551439839948</c:v>
                </c:pt>
                <c:pt idx="1322">
                  <c:v>72.963117109618196</c:v>
                </c:pt>
                <c:pt idx="1323">
                  <c:v>73.304001426957683</c:v>
                </c:pt>
                <c:pt idx="1324">
                  <c:v>73.044374417821189</c:v>
                </c:pt>
                <c:pt idx="1325">
                  <c:v>72.100996888439738</c:v>
                </c:pt>
                <c:pt idx="1326">
                  <c:v>72.043522207027863</c:v>
                </c:pt>
                <c:pt idx="1327">
                  <c:v>72.194145510038339</c:v>
                </c:pt>
                <c:pt idx="1328">
                  <c:v>72.445844976911133</c:v>
                </c:pt>
                <c:pt idx="1329">
                  <c:v>72.764928553025442</c:v>
                </c:pt>
                <c:pt idx="1330">
                  <c:v>73.163287551776847</c:v>
                </c:pt>
                <c:pt idx="1331">
                  <c:v>73.591374834017174</c:v>
                </c:pt>
                <c:pt idx="1332">
                  <c:v>73.924331609093002</c:v>
                </c:pt>
                <c:pt idx="1333">
                  <c:v>73.676595913352045</c:v>
                </c:pt>
                <c:pt idx="1334">
                  <c:v>73.13752303941979</c:v>
                </c:pt>
                <c:pt idx="1335">
                  <c:v>73.030501218859698</c:v>
                </c:pt>
                <c:pt idx="1336">
                  <c:v>73.494262441286736</c:v>
                </c:pt>
                <c:pt idx="1337">
                  <c:v>73.522008839209676</c:v>
                </c:pt>
                <c:pt idx="1338">
                  <c:v>73.224726004320587</c:v>
                </c:pt>
                <c:pt idx="1339">
                  <c:v>73.31589274035322</c:v>
                </c:pt>
                <c:pt idx="1340">
                  <c:v>74.18990427492723</c:v>
                </c:pt>
                <c:pt idx="1341">
                  <c:v>74.556553104623802</c:v>
                </c:pt>
                <c:pt idx="1342">
                  <c:v>74.623937213865318</c:v>
                </c:pt>
                <c:pt idx="1343">
                  <c:v>74.978694730166353</c:v>
                </c:pt>
                <c:pt idx="1344">
                  <c:v>74.952930217809268</c:v>
                </c:pt>
                <c:pt idx="1345">
                  <c:v>74.917256277622613</c:v>
                </c:pt>
                <c:pt idx="1346">
                  <c:v>75.448401609291153</c:v>
                </c:pt>
                <c:pt idx="1347">
                  <c:v>75.402818241274801</c:v>
                </c:pt>
                <c:pt idx="1348">
                  <c:v>75.797213468894398</c:v>
                </c:pt>
                <c:pt idx="1349">
                  <c:v>75.777394613235103</c:v>
                </c:pt>
                <c:pt idx="1350">
                  <c:v>76.841667162138123</c:v>
                </c:pt>
                <c:pt idx="1351">
                  <c:v>76.829775848742543</c:v>
                </c:pt>
                <c:pt idx="1352">
                  <c:v>76.677170660166141</c:v>
                </c:pt>
                <c:pt idx="1353">
                  <c:v>76.437362506688913</c:v>
                </c:pt>
                <c:pt idx="1354">
                  <c:v>77.352993638147396</c:v>
                </c:pt>
                <c:pt idx="1355">
                  <c:v>77.190479021741353</c:v>
                </c:pt>
                <c:pt idx="1356">
                  <c:v>77.21227976296656</c:v>
                </c:pt>
                <c:pt idx="1357">
                  <c:v>77.680004756525406</c:v>
                </c:pt>
                <c:pt idx="1358">
                  <c:v>77.991160790376071</c:v>
                </c:pt>
                <c:pt idx="1359">
                  <c:v>78.098182610936121</c:v>
                </c:pt>
                <c:pt idx="1360">
                  <c:v>77.792972233783274</c:v>
                </c:pt>
                <c:pt idx="1361">
                  <c:v>78.223041401589541</c:v>
                </c:pt>
                <c:pt idx="1362">
                  <c:v>78.326099451017797</c:v>
                </c:pt>
                <c:pt idx="1363">
                  <c:v>78.339972649979273</c:v>
                </c:pt>
                <c:pt idx="1364">
                  <c:v>78.718512793071412</c:v>
                </c:pt>
                <c:pt idx="1365">
                  <c:v>78.817607071367817</c:v>
                </c:pt>
                <c:pt idx="1366">
                  <c:v>79.152545732009486</c:v>
                </c:pt>
                <c:pt idx="1367">
                  <c:v>78.508432923083078</c:v>
                </c:pt>
                <c:pt idx="1368">
                  <c:v>77.745406980201054</c:v>
                </c:pt>
                <c:pt idx="1369">
                  <c:v>78.407356759220804</c:v>
                </c:pt>
                <c:pt idx="1370">
                  <c:v>78.645183027132092</c:v>
                </c:pt>
                <c:pt idx="1371">
                  <c:v>78.399429216957103</c:v>
                </c:pt>
                <c:pt idx="1372">
                  <c:v>79.025705055790155</c:v>
                </c:pt>
                <c:pt idx="1373">
                  <c:v>79.221911726816998</c:v>
                </c:pt>
                <c:pt idx="1374">
                  <c:v>79.049487682581301</c:v>
                </c:pt>
                <c:pt idx="1375">
                  <c:v>79.529103989535756</c:v>
                </c:pt>
                <c:pt idx="1376">
                  <c:v>78.080345640842822</c:v>
                </c:pt>
                <c:pt idx="1377">
                  <c:v>79.156509503141379</c:v>
                </c:pt>
                <c:pt idx="1378">
                  <c:v>79.578651128683902</c:v>
                </c:pt>
                <c:pt idx="1379">
                  <c:v>79.277404522662948</c:v>
                </c:pt>
                <c:pt idx="1380">
                  <c:v>79.731256317260346</c:v>
                </c:pt>
                <c:pt idx="1381">
                  <c:v>80.095923261391007</c:v>
                </c:pt>
                <c:pt idx="1382">
                  <c:v>79.951245615078307</c:v>
                </c:pt>
                <c:pt idx="1383">
                  <c:v>79.762966486315207</c:v>
                </c:pt>
                <c:pt idx="1384">
                  <c:v>80.078086291297623</c:v>
                </c:pt>
                <c:pt idx="1385">
                  <c:v>79.907644132627851</c:v>
                </c:pt>
                <c:pt idx="1386">
                  <c:v>80.024575381017598</c:v>
                </c:pt>
                <c:pt idx="1387">
                  <c:v>80.080068176863534</c:v>
                </c:pt>
                <c:pt idx="1388">
                  <c:v>80.413024951939391</c:v>
                </c:pt>
                <c:pt idx="1389">
                  <c:v>80.46059020552164</c:v>
                </c:pt>
                <c:pt idx="1390">
                  <c:v>80.688507045603288</c:v>
                </c:pt>
                <c:pt idx="1391">
                  <c:v>81.090829815486558</c:v>
                </c:pt>
                <c:pt idx="1392">
                  <c:v>81.043264561904337</c:v>
                </c:pt>
                <c:pt idx="1393">
                  <c:v>81.12848564123918</c:v>
                </c:pt>
                <c:pt idx="1394">
                  <c:v>81.746833937808532</c:v>
                </c:pt>
                <c:pt idx="1395">
                  <c:v>81.697286798660343</c:v>
                </c:pt>
                <c:pt idx="1396">
                  <c:v>81.080920387656903</c:v>
                </c:pt>
                <c:pt idx="1397">
                  <c:v>80.773728124938145</c:v>
                </c:pt>
                <c:pt idx="1398">
                  <c:v>81.279108944249657</c:v>
                </c:pt>
                <c:pt idx="1399">
                  <c:v>81.7745803357315</c:v>
                </c:pt>
                <c:pt idx="1400">
                  <c:v>82.537606278613595</c:v>
                </c:pt>
                <c:pt idx="1401">
                  <c:v>82.281943040608965</c:v>
                </c:pt>
                <c:pt idx="1402">
                  <c:v>82.107537110807328</c:v>
                </c:pt>
                <c:pt idx="1403">
                  <c:v>82.077808827318407</c:v>
                </c:pt>
                <c:pt idx="1404">
                  <c:v>81.881602156291578</c:v>
                </c:pt>
                <c:pt idx="1405">
                  <c:v>81.725033196583311</c:v>
                </c:pt>
                <c:pt idx="1406">
                  <c:v>81.465406187446831</c:v>
                </c:pt>
                <c:pt idx="1407">
                  <c:v>82.244287214856314</c:v>
                </c:pt>
                <c:pt idx="1408">
                  <c:v>82.299780010702278</c:v>
                </c:pt>
                <c:pt idx="1409">
                  <c:v>81.830073131577478</c:v>
                </c:pt>
                <c:pt idx="1410">
                  <c:v>81.443605446221625</c:v>
                </c:pt>
                <c:pt idx="1411">
                  <c:v>80.888677487761925</c:v>
                </c:pt>
                <c:pt idx="1412">
                  <c:v>80.365459698357114</c:v>
                </c:pt>
                <c:pt idx="1413">
                  <c:v>80.591394652872822</c:v>
                </c:pt>
                <c:pt idx="1414">
                  <c:v>80.56959391164763</c:v>
                </c:pt>
                <c:pt idx="1415">
                  <c:v>81.221634262837767</c:v>
                </c:pt>
                <c:pt idx="1416">
                  <c:v>81.798362962522617</c:v>
                </c:pt>
                <c:pt idx="1417">
                  <c:v>81.760707136769994</c:v>
                </c:pt>
                <c:pt idx="1418">
                  <c:v>82.222486473631065</c:v>
                </c:pt>
                <c:pt idx="1419">
                  <c:v>82.906236993876064</c:v>
                </c:pt>
                <c:pt idx="1420">
                  <c:v>83.235229997820028</c:v>
                </c:pt>
                <c:pt idx="1421">
                  <c:v>83.155954575182889</c:v>
                </c:pt>
                <c:pt idx="1422">
                  <c:v>83.413599698753501</c:v>
                </c:pt>
                <c:pt idx="1423">
                  <c:v>83.603860713082497</c:v>
                </c:pt>
                <c:pt idx="1424">
                  <c:v>83.025150127831694</c:v>
                </c:pt>
                <c:pt idx="1425">
                  <c:v>83.31846919158896</c:v>
                </c:pt>
                <c:pt idx="1426">
                  <c:v>83.338288047248255</c:v>
                </c:pt>
                <c:pt idx="1427">
                  <c:v>83.839705095427888</c:v>
                </c:pt>
                <c:pt idx="1428">
                  <c:v>84.045821194284329</c:v>
                </c:pt>
                <c:pt idx="1429">
                  <c:v>84.14095170144887</c:v>
                </c:pt>
                <c:pt idx="1430">
                  <c:v>83.280813365836366</c:v>
                </c:pt>
                <c:pt idx="1431">
                  <c:v>82.981548645381324</c:v>
                </c:pt>
                <c:pt idx="1432">
                  <c:v>83.373961987434939</c:v>
                </c:pt>
                <c:pt idx="1433">
                  <c:v>84.380759854926069</c:v>
                </c:pt>
                <c:pt idx="1434">
                  <c:v>84.115187189091799</c:v>
                </c:pt>
                <c:pt idx="1435">
                  <c:v>84.840557306221228</c:v>
                </c:pt>
                <c:pt idx="1436">
                  <c:v>84.553183899161752</c:v>
                </c:pt>
                <c:pt idx="1437">
                  <c:v>84.862358047446435</c:v>
                </c:pt>
                <c:pt idx="1438">
                  <c:v>85.5322353687299</c:v>
                </c:pt>
                <c:pt idx="1439">
                  <c:v>85.777989178904903</c:v>
                </c:pt>
                <c:pt idx="1440">
                  <c:v>84.901995758764983</c:v>
                </c:pt>
                <c:pt idx="1441">
                  <c:v>83.734665160433735</c:v>
                </c:pt>
                <c:pt idx="1442">
                  <c:v>83.348197475077896</c:v>
                </c:pt>
                <c:pt idx="1443">
                  <c:v>83.582059971857333</c:v>
                </c:pt>
                <c:pt idx="1444">
                  <c:v>83.774302871752255</c:v>
                </c:pt>
                <c:pt idx="1445">
                  <c:v>83.177755316408081</c:v>
                </c:pt>
                <c:pt idx="1446">
                  <c:v>82.325544523059293</c:v>
                </c:pt>
                <c:pt idx="1447">
                  <c:v>82.460312741542396</c:v>
                </c:pt>
                <c:pt idx="1448">
                  <c:v>82.436530114751235</c:v>
                </c:pt>
                <c:pt idx="1449">
                  <c:v>82.274015498345221</c:v>
                </c:pt>
                <c:pt idx="1450">
                  <c:v>80.856967318707092</c:v>
                </c:pt>
                <c:pt idx="1451">
                  <c:v>81.227579919535543</c:v>
                </c:pt>
                <c:pt idx="1452">
                  <c:v>80.862912975404868</c:v>
                </c:pt>
                <c:pt idx="1453">
                  <c:v>81.826109360445628</c:v>
                </c:pt>
                <c:pt idx="1454">
                  <c:v>81.584319321402475</c:v>
                </c:pt>
                <c:pt idx="1455">
                  <c:v>81.913312325346425</c:v>
                </c:pt>
                <c:pt idx="1456">
                  <c:v>80.82922092078411</c:v>
                </c:pt>
                <c:pt idx="1457">
                  <c:v>80.946152169173857</c:v>
                </c:pt>
                <c:pt idx="1458">
                  <c:v>82.878490595953068</c:v>
                </c:pt>
                <c:pt idx="1459">
                  <c:v>82.932001506233092</c:v>
                </c:pt>
                <c:pt idx="1460">
                  <c:v>83.274867709138562</c:v>
                </c:pt>
                <c:pt idx="1461">
                  <c:v>84.509582416711339</c:v>
                </c:pt>
                <c:pt idx="1462">
                  <c:v>84.410488138414962</c:v>
                </c:pt>
                <c:pt idx="1463">
                  <c:v>84.739481142358926</c:v>
                </c:pt>
                <c:pt idx="1464">
                  <c:v>84.77911885367746</c:v>
                </c:pt>
                <c:pt idx="1465">
                  <c:v>84.729571714529257</c:v>
                </c:pt>
                <c:pt idx="1466">
                  <c:v>84.785064510375264</c:v>
                </c:pt>
                <c:pt idx="1467">
                  <c:v>85.678894900608498</c:v>
                </c:pt>
                <c:pt idx="1468">
                  <c:v>85.698713756267793</c:v>
                </c:pt>
                <c:pt idx="1469">
                  <c:v>85.443050518263163</c:v>
                </c:pt>
                <c:pt idx="1470">
                  <c:v>84.802901480468591</c:v>
                </c:pt>
                <c:pt idx="1471">
                  <c:v>85.171532195731103</c:v>
                </c:pt>
                <c:pt idx="1472">
                  <c:v>85.698713756267793</c:v>
                </c:pt>
                <c:pt idx="1473">
                  <c:v>85.944467566442825</c:v>
                </c:pt>
                <c:pt idx="1474">
                  <c:v>86.013833561250266</c:v>
                </c:pt>
                <c:pt idx="1475">
                  <c:v>86.416156331133536</c:v>
                </c:pt>
                <c:pt idx="1476">
                  <c:v>86.219949660106735</c:v>
                </c:pt>
                <c:pt idx="1477">
                  <c:v>86.471649126979486</c:v>
                </c:pt>
                <c:pt idx="1478">
                  <c:v>85.890956656162743</c:v>
                </c:pt>
                <c:pt idx="1479">
                  <c:v>86.083199556057707</c:v>
                </c:pt>
                <c:pt idx="1480">
                  <c:v>85.670967358344797</c:v>
                </c:pt>
                <c:pt idx="1481">
                  <c:v>87.054323483362182</c:v>
                </c:pt>
                <c:pt idx="1482">
                  <c:v>87.732128346909349</c:v>
                </c:pt>
                <c:pt idx="1483">
                  <c:v>87.393225915135787</c:v>
                </c:pt>
                <c:pt idx="1484">
                  <c:v>87.855005251996843</c:v>
                </c:pt>
                <c:pt idx="1485">
                  <c:v>87.769784172661943</c:v>
                </c:pt>
                <c:pt idx="1486">
                  <c:v>87.809421883980519</c:v>
                </c:pt>
                <c:pt idx="1487">
                  <c:v>87.791584913887192</c:v>
                </c:pt>
                <c:pt idx="1488">
                  <c:v>87.775729829359733</c:v>
                </c:pt>
                <c:pt idx="1489">
                  <c:v>87.89266107774948</c:v>
                </c:pt>
                <c:pt idx="1490">
                  <c:v>87.638979725310762</c:v>
                </c:pt>
                <c:pt idx="1491">
                  <c:v>87.458628138811378</c:v>
                </c:pt>
                <c:pt idx="1492">
                  <c:v>88.073012664248864</c:v>
                </c:pt>
                <c:pt idx="1493">
                  <c:v>87.967972729254711</c:v>
                </c:pt>
                <c:pt idx="1494">
                  <c:v>88.294983847632764</c:v>
                </c:pt>
                <c:pt idx="1495">
                  <c:v>88.75279941336197</c:v>
                </c:pt>
                <c:pt idx="1496">
                  <c:v>88.574429712428497</c:v>
                </c:pt>
                <c:pt idx="1497">
                  <c:v>88.616049309312999</c:v>
                </c:pt>
                <c:pt idx="1498">
                  <c:v>88.616049309312999</c:v>
                </c:pt>
                <c:pt idx="1499">
                  <c:v>88.857839348356123</c:v>
                </c:pt>
                <c:pt idx="1500">
                  <c:v>88.740908099966433</c:v>
                </c:pt>
                <c:pt idx="1501">
                  <c:v>89.244307033711976</c:v>
                </c:pt>
                <c:pt idx="1502">
                  <c:v>88.72108924430718</c:v>
                </c:pt>
                <c:pt idx="1503">
                  <c:v>89.059991676080728</c:v>
                </c:pt>
                <c:pt idx="1504">
                  <c:v>89.591137007749282</c:v>
                </c:pt>
                <c:pt idx="1505">
                  <c:v>90.481003626850722</c:v>
                </c:pt>
                <c:pt idx="1506">
                  <c:v>90.165883821868249</c:v>
                </c:pt>
                <c:pt idx="1507">
                  <c:v>90.756485720514618</c:v>
                </c:pt>
                <c:pt idx="1508">
                  <c:v>90.932873535882152</c:v>
                </c:pt>
                <c:pt idx="1509">
                  <c:v>90.362090492895049</c:v>
                </c:pt>
                <c:pt idx="1510">
                  <c:v>90.891253938997707</c:v>
                </c:pt>
                <c:pt idx="1511">
                  <c:v>91.220246942941642</c:v>
                </c:pt>
                <c:pt idx="1512">
                  <c:v>90.702974810234565</c:v>
                </c:pt>
                <c:pt idx="1513">
                  <c:v>90.90512713795917</c:v>
                </c:pt>
                <c:pt idx="1514">
                  <c:v>90.237231702241644</c:v>
                </c:pt>
                <c:pt idx="1515">
                  <c:v>89.462314445964026</c:v>
                </c:pt>
                <c:pt idx="1516">
                  <c:v>89.991477892066641</c:v>
                </c:pt>
                <c:pt idx="1517">
                  <c:v>89.448441247002535</c:v>
                </c:pt>
                <c:pt idx="1518">
                  <c:v>89.232415720316467</c:v>
                </c:pt>
                <c:pt idx="1519">
                  <c:v>89.032245278157802</c:v>
                </c:pt>
                <c:pt idx="1520">
                  <c:v>90.031115603385217</c:v>
                </c:pt>
                <c:pt idx="1521">
                  <c:v>90.907109023525123</c:v>
                </c:pt>
                <c:pt idx="1522">
                  <c:v>91.973363457994083</c:v>
                </c:pt>
                <c:pt idx="1523">
                  <c:v>91.931743861109624</c:v>
                </c:pt>
                <c:pt idx="1524">
                  <c:v>91.925798204411805</c:v>
                </c:pt>
                <c:pt idx="1525">
                  <c:v>92.918722872941458</c:v>
                </c:pt>
                <c:pt idx="1526">
                  <c:v>92.082367164120072</c:v>
                </c:pt>
                <c:pt idx="1527">
                  <c:v>92.141823731097929</c:v>
                </c:pt>
                <c:pt idx="1528">
                  <c:v>92.244881780526143</c:v>
                </c:pt>
                <c:pt idx="1529">
                  <c:v>91.949580831202965</c:v>
                </c:pt>
                <c:pt idx="1530">
                  <c:v>91.828685811681353</c:v>
                </c:pt>
                <c:pt idx="1531">
                  <c:v>92.896922131716281</c:v>
                </c:pt>
                <c:pt idx="1532">
                  <c:v>92.550092157678975</c:v>
                </c:pt>
                <c:pt idx="1533">
                  <c:v>93.011871494540102</c:v>
                </c:pt>
                <c:pt idx="1534">
                  <c:v>92.847374992568106</c:v>
                </c:pt>
                <c:pt idx="1535">
                  <c:v>92.97817943991933</c:v>
                </c:pt>
                <c:pt idx="1536">
                  <c:v>93.503379114890066</c:v>
                </c:pt>
                <c:pt idx="1537">
                  <c:v>93.78084309411993</c:v>
                </c:pt>
                <c:pt idx="1538">
                  <c:v>94.002814277503788</c:v>
                </c:pt>
                <c:pt idx="1539">
                  <c:v>94.315952196920293</c:v>
                </c:pt>
                <c:pt idx="1540">
                  <c:v>94.898626553302975</c:v>
                </c:pt>
                <c:pt idx="1541">
                  <c:v>94.728184394633203</c:v>
                </c:pt>
                <c:pt idx="1542">
                  <c:v>95.02546722952232</c:v>
                </c:pt>
                <c:pt idx="1543">
                  <c:v>95.310858751015871</c:v>
                </c:pt>
                <c:pt idx="1544">
                  <c:v>93.992904849674133</c:v>
                </c:pt>
                <c:pt idx="1545">
                  <c:v>94.851061299720698</c:v>
                </c:pt>
                <c:pt idx="1546">
                  <c:v>94.00479616306967</c:v>
                </c:pt>
                <c:pt idx="1547">
                  <c:v>93.977049765146717</c:v>
                </c:pt>
                <c:pt idx="1548">
                  <c:v>94.498285668985631</c:v>
                </c:pt>
                <c:pt idx="1549">
                  <c:v>93.967140337317076</c:v>
                </c:pt>
                <c:pt idx="1550">
                  <c:v>93.330955070654355</c:v>
                </c:pt>
                <c:pt idx="1551">
                  <c:v>94.07614404344308</c:v>
                </c:pt>
                <c:pt idx="1552">
                  <c:v>94.821333016231762</c:v>
                </c:pt>
                <c:pt idx="1553">
                  <c:v>95.542739362229355</c:v>
                </c:pt>
                <c:pt idx="1554">
                  <c:v>95.731018490992497</c:v>
                </c:pt>
                <c:pt idx="1555">
                  <c:v>95.982717957865248</c:v>
                </c:pt>
                <c:pt idx="1556">
                  <c:v>96.026319440315675</c:v>
                </c:pt>
                <c:pt idx="1557">
                  <c:v>96.103612977386831</c:v>
                </c:pt>
                <c:pt idx="1558">
                  <c:v>96.309729076243286</c:v>
                </c:pt>
                <c:pt idx="1559">
                  <c:v>96.4127871256715</c:v>
                </c:pt>
                <c:pt idx="1560">
                  <c:v>96.747725786313282</c:v>
                </c:pt>
                <c:pt idx="1561">
                  <c:v>96.676377905939844</c:v>
                </c:pt>
                <c:pt idx="1562">
                  <c:v>97.163921755158029</c:v>
                </c:pt>
                <c:pt idx="1563">
                  <c:v>96.408823354539678</c:v>
                </c:pt>
                <c:pt idx="1564">
                  <c:v>95.834076540420696</c:v>
                </c:pt>
                <c:pt idx="1565">
                  <c:v>96.065957151634237</c:v>
                </c:pt>
                <c:pt idx="1566">
                  <c:v>96.830964980082243</c:v>
                </c:pt>
                <c:pt idx="1567">
                  <c:v>96.224507996908443</c:v>
                </c:pt>
                <c:pt idx="1568">
                  <c:v>97.023207879977193</c:v>
                </c:pt>
                <c:pt idx="1569">
                  <c:v>96.549537229720542</c:v>
                </c:pt>
                <c:pt idx="1570">
                  <c:v>96.918167944983054</c:v>
                </c:pt>
                <c:pt idx="1571">
                  <c:v>97.163921755158043</c:v>
                </c:pt>
                <c:pt idx="1572">
                  <c:v>96.727906930654001</c:v>
                </c:pt>
                <c:pt idx="1573">
                  <c:v>97.205541352042516</c:v>
                </c:pt>
                <c:pt idx="1574">
                  <c:v>96.087757892859429</c:v>
                </c:pt>
                <c:pt idx="1575">
                  <c:v>95.925243276453386</c:v>
                </c:pt>
                <c:pt idx="1576">
                  <c:v>96.319638504072955</c:v>
                </c:pt>
                <c:pt idx="1577">
                  <c:v>96.319638504072955</c:v>
                </c:pt>
                <c:pt idx="1578">
                  <c:v>96.319638504072955</c:v>
                </c:pt>
                <c:pt idx="1579">
                  <c:v>96.24432685256771</c:v>
                </c:pt>
                <c:pt idx="1580">
                  <c:v>97.37598351071226</c:v>
                </c:pt>
                <c:pt idx="1581">
                  <c:v>97.651465604376213</c:v>
                </c:pt>
                <c:pt idx="1582">
                  <c:v>98.341161781318974</c:v>
                </c:pt>
                <c:pt idx="1583">
                  <c:v>97.861545474364505</c:v>
                </c:pt>
                <c:pt idx="1584">
                  <c:v>97.80010702182075</c:v>
                </c:pt>
                <c:pt idx="1585">
                  <c:v>98.028023861902426</c:v>
                </c:pt>
                <c:pt idx="1586">
                  <c:v>97.506787958063484</c:v>
                </c:pt>
                <c:pt idx="1587">
                  <c:v>97.134193471669164</c:v>
                </c:pt>
                <c:pt idx="1588">
                  <c:v>97.377965396278199</c:v>
                </c:pt>
                <c:pt idx="1589">
                  <c:v>98.166755851517308</c:v>
                </c:pt>
                <c:pt idx="1590">
                  <c:v>97.419584993162687</c:v>
                </c:pt>
                <c:pt idx="1591">
                  <c:v>97.938839011435647</c:v>
                </c:pt>
                <c:pt idx="1592">
                  <c:v>98.955546306756403</c:v>
                </c:pt>
                <c:pt idx="1593">
                  <c:v>99.048694928355019</c:v>
                </c:pt>
                <c:pt idx="1594">
                  <c:v>99.482727867293093</c:v>
                </c:pt>
                <c:pt idx="1595">
                  <c:v>99.034821729393528</c:v>
                </c:pt>
                <c:pt idx="1596">
                  <c:v>98.713756267713265</c:v>
                </c:pt>
                <c:pt idx="1597">
                  <c:v>96.692232990467289</c:v>
                </c:pt>
                <c:pt idx="1598">
                  <c:v>95.2850942386588</c:v>
                </c:pt>
                <c:pt idx="1599">
                  <c:v>95.443645083933035</c:v>
                </c:pt>
                <c:pt idx="1600">
                  <c:v>92.811701052381395</c:v>
                </c:pt>
                <c:pt idx="1601">
                  <c:v>92.423251481459616</c:v>
                </c:pt>
                <c:pt idx="1602">
                  <c:v>92.466852963910043</c:v>
                </c:pt>
                <c:pt idx="1603">
                  <c:v>89.878510414808787</c:v>
                </c:pt>
                <c:pt idx="1604">
                  <c:v>92.171552014586794</c:v>
                </c:pt>
                <c:pt idx="1605">
                  <c:v>90.895217710129558</c:v>
                </c:pt>
                <c:pt idx="1606">
                  <c:v>92.016964940444495</c:v>
                </c:pt>
                <c:pt idx="1607">
                  <c:v>93.836335889965881</c:v>
                </c:pt>
                <c:pt idx="1608">
                  <c:v>93.786788750817678</c:v>
                </c:pt>
                <c:pt idx="1609">
                  <c:v>91.741482846780556</c:v>
                </c:pt>
                <c:pt idx="1610">
                  <c:v>92.659095863804936</c:v>
                </c:pt>
                <c:pt idx="1611">
                  <c:v>93.023762807935597</c:v>
                </c:pt>
                <c:pt idx="1612">
                  <c:v>93.299244901599522</c:v>
                </c:pt>
                <c:pt idx="1613">
                  <c:v>92.714588659650929</c:v>
                </c:pt>
                <c:pt idx="1614">
                  <c:v>90.885308282299889</c:v>
                </c:pt>
                <c:pt idx="1615">
                  <c:v>91.462036981984781</c:v>
                </c:pt>
                <c:pt idx="1616">
                  <c:v>89.016390193630329</c:v>
                </c:pt>
                <c:pt idx="1617">
                  <c:v>90.520641338169241</c:v>
                </c:pt>
                <c:pt idx="1618">
                  <c:v>89.807162534435378</c:v>
                </c:pt>
                <c:pt idx="1619">
                  <c:v>87.801494341716833</c:v>
                </c:pt>
                <c:pt idx="1620">
                  <c:v>87.979864042650277</c:v>
                </c:pt>
                <c:pt idx="1621">
                  <c:v>90.122282339417808</c:v>
                </c:pt>
                <c:pt idx="1622">
                  <c:v>89.525734784073663</c:v>
                </c:pt>
                <c:pt idx="1623">
                  <c:v>90.211467189884573</c:v>
                </c:pt>
                <c:pt idx="1624">
                  <c:v>90.689101611273074</c:v>
                </c:pt>
                <c:pt idx="1625">
                  <c:v>90.712884238064177</c:v>
                </c:pt>
                <c:pt idx="1626">
                  <c:v>91.083496838892614</c:v>
                </c:pt>
                <c:pt idx="1627">
                  <c:v>91.214301286243852</c:v>
                </c:pt>
                <c:pt idx="1628">
                  <c:v>90.960619933805134</c:v>
                </c:pt>
                <c:pt idx="1629">
                  <c:v>90.348217293933573</c:v>
                </c:pt>
                <c:pt idx="1630">
                  <c:v>90.512713795905555</c:v>
                </c:pt>
                <c:pt idx="1631">
                  <c:v>92.120022989872695</c:v>
                </c:pt>
                <c:pt idx="1632">
                  <c:v>93.412212378857362</c:v>
                </c:pt>
                <c:pt idx="1633">
                  <c:v>93.879937372416194</c:v>
                </c:pt>
                <c:pt idx="1634">
                  <c:v>94.082089700140841</c:v>
                </c:pt>
                <c:pt idx="1635">
                  <c:v>92.968270012089604</c:v>
                </c:pt>
                <c:pt idx="1636">
                  <c:v>93.832372118833959</c:v>
                </c:pt>
                <c:pt idx="1637">
                  <c:v>93.659948074598304</c:v>
                </c:pt>
                <c:pt idx="1638">
                  <c:v>93.979031650712642</c:v>
                </c:pt>
                <c:pt idx="1639">
                  <c:v>93.116911429534213</c:v>
                </c:pt>
                <c:pt idx="1640">
                  <c:v>93.366629010841066</c:v>
                </c:pt>
                <c:pt idx="1641">
                  <c:v>92.007055512614826</c:v>
                </c:pt>
                <c:pt idx="1642">
                  <c:v>90.85359811324507</c:v>
                </c:pt>
                <c:pt idx="1643">
                  <c:v>90.481003626850722</c:v>
                </c:pt>
                <c:pt idx="1644">
                  <c:v>90.312543353746889</c:v>
                </c:pt>
                <c:pt idx="1645">
                  <c:v>92.349921715520281</c:v>
                </c:pt>
                <c:pt idx="1646">
                  <c:v>92.554055928810826</c:v>
                </c:pt>
                <c:pt idx="1647">
                  <c:v>91.701845135462008</c:v>
                </c:pt>
                <c:pt idx="1648">
                  <c:v>93.408248607725511</c:v>
                </c:pt>
                <c:pt idx="1649">
                  <c:v>93.515270428285632</c:v>
                </c:pt>
                <c:pt idx="1650">
                  <c:v>93.907683770339247</c:v>
                </c:pt>
                <c:pt idx="1651">
                  <c:v>94.857006956418459</c:v>
                </c:pt>
                <c:pt idx="1652">
                  <c:v>95.427789999405576</c:v>
                </c:pt>
                <c:pt idx="1653">
                  <c:v>95.057177398577139</c:v>
                </c:pt>
                <c:pt idx="1654">
                  <c:v>94.34171670927735</c:v>
                </c:pt>
                <c:pt idx="1655">
                  <c:v>95.340587034504736</c:v>
                </c:pt>
                <c:pt idx="1656">
                  <c:v>94.559724121529342</c:v>
                </c:pt>
                <c:pt idx="1657">
                  <c:v>95.655706839487181</c:v>
                </c:pt>
                <c:pt idx="1658">
                  <c:v>94.591434290584189</c:v>
                </c:pt>
                <c:pt idx="1659">
                  <c:v>94.654854628693869</c:v>
                </c:pt>
                <c:pt idx="1660">
                  <c:v>95.360405890164017</c:v>
                </c:pt>
                <c:pt idx="1661">
                  <c:v>94.609271260677531</c:v>
                </c:pt>
                <c:pt idx="1662">
                  <c:v>94.749985135858353</c:v>
                </c:pt>
                <c:pt idx="1663">
                  <c:v>95.604177814773067</c:v>
                </c:pt>
                <c:pt idx="1664">
                  <c:v>96.410805240105574</c:v>
                </c:pt>
                <c:pt idx="1665">
                  <c:v>96.878530233664392</c:v>
                </c:pt>
                <c:pt idx="1666">
                  <c:v>96.997443367620093</c:v>
                </c:pt>
                <c:pt idx="1667">
                  <c:v>96.745743900747314</c:v>
                </c:pt>
                <c:pt idx="1668">
                  <c:v>96.662504706978353</c:v>
                </c:pt>
                <c:pt idx="1669">
                  <c:v>96.963751312999293</c:v>
                </c:pt>
                <c:pt idx="1670">
                  <c:v>96.527736488495279</c:v>
                </c:pt>
                <c:pt idx="1671">
                  <c:v>96.789345383197713</c:v>
                </c:pt>
                <c:pt idx="1672">
                  <c:v>96.894385318191837</c:v>
                </c:pt>
                <c:pt idx="1673">
                  <c:v>97.296708088075135</c:v>
                </c:pt>
                <c:pt idx="1674">
                  <c:v>97.532552470420484</c:v>
                </c:pt>
                <c:pt idx="1675">
                  <c:v>98.093426085577974</c:v>
                </c:pt>
                <c:pt idx="1676">
                  <c:v>97.863527359930387</c:v>
                </c:pt>
                <c:pt idx="1677">
                  <c:v>98.362962522544066</c:v>
                </c:pt>
                <c:pt idx="1678">
                  <c:v>98.763303406861439</c:v>
                </c:pt>
                <c:pt idx="1679">
                  <c:v>98.4283647462197</c:v>
                </c:pt>
                <c:pt idx="1680">
                  <c:v>97.36805596844853</c:v>
                </c:pt>
                <c:pt idx="1681">
                  <c:v>96.458370493687823</c:v>
                </c:pt>
                <c:pt idx="1682">
                  <c:v>96.852765721307392</c:v>
                </c:pt>
                <c:pt idx="1683">
                  <c:v>96.327566046336628</c:v>
                </c:pt>
                <c:pt idx="1684">
                  <c:v>97.56624452504127</c:v>
                </c:pt>
                <c:pt idx="1685">
                  <c:v>97.875418673325896</c:v>
                </c:pt>
                <c:pt idx="1686">
                  <c:v>97.877400558891836</c:v>
                </c:pt>
                <c:pt idx="1687">
                  <c:v>98.176665279346892</c:v>
                </c:pt>
                <c:pt idx="1688">
                  <c:v>98.214321105099501</c:v>
                </c:pt>
                <c:pt idx="1689">
                  <c:v>97.677230116733142</c:v>
                </c:pt>
                <c:pt idx="1690">
                  <c:v>98.731593237806564</c:v>
                </c:pt>
                <c:pt idx="1691">
                  <c:v>99.159680520046862</c:v>
                </c:pt>
                <c:pt idx="1692">
                  <c:v>98.024060090770462</c:v>
                </c:pt>
                <c:pt idx="1693">
                  <c:v>97.970549180490409</c:v>
                </c:pt>
                <c:pt idx="1694">
                  <c:v>99.312285708623278</c:v>
                </c:pt>
                <c:pt idx="1695">
                  <c:v>99.867213667082979</c:v>
                </c:pt>
                <c:pt idx="1696">
                  <c:v>99.94054343302227</c:v>
                </c:pt>
                <c:pt idx="1697">
                  <c:v>99.881086866044427</c:v>
                </c:pt>
                <c:pt idx="1698">
                  <c:v>99.869195552648861</c:v>
                </c:pt>
                <c:pt idx="1699">
                  <c:v>99.615514200210171</c:v>
                </c:pt>
                <c:pt idx="1700">
                  <c:v>100.35277563073515</c:v>
                </c:pt>
                <c:pt idx="1701">
                  <c:v>100.93148621598597</c:v>
                </c:pt>
                <c:pt idx="1702">
                  <c:v>101.09796460352389</c:v>
                </c:pt>
                <c:pt idx="1703">
                  <c:v>101.2129139663477</c:v>
                </c:pt>
                <c:pt idx="1704">
                  <c:v>101.89666448659266</c:v>
                </c:pt>
                <c:pt idx="1705">
                  <c:v>101.99377687932308</c:v>
                </c:pt>
                <c:pt idx="1706">
                  <c:v>102.82815070257851</c:v>
                </c:pt>
                <c:pt idx="1707">
                  <c:v>103.11156033850615</c:v>
                </c:pt>
                <c:pt idx="1708">
                  <c:v>103.31767643736259</c:v>
                </c:pt>
                <c:pt idx="1709">
                  <c:v>102.19989297817951</c:v>
                </c:pt>
                <c:pt idx="1710">
                  <c:v>103.17894444774768</c:v>
                </c:pt>
                <c:pt idx="1711">
                  <c:v>103.17696256218173</c:v>
                </c:pt>
                <c:pt idx="1712">
                  <c:v>103.49406425273015</c:v>
                </c:pt>
                <c:pt idx="1713">
                  <c:v>103.85674931129483</c:v>
                </c:pt>
                <c:pt idx="1714">
                  <c:v>103.8765681669541</c:v>
                </c:pt>
                <c:pt idx="1715">
                  <c:v>104.20159739976623</c:v>
                </c:pt>
                <c:pt idx="1716">
                  <c:v>104.04106466892614</c:v>
                </c:pt>
                <c:pt idx="1717">
                  <c:v>103.77351011752587</c:v>
                </c:pt>
                <c:pt idx="1718">
                  <c:v>103.44451711358194</c:v>
                </c:pt>
                <c:pt idx="1719">
                  <c:v>103.42271637235673</c:v>
                </c:pt>
                <c:pt idx="1720">
                  <c:v>103.83296668450372</c:v>
                </c:pt>
                <c:pt idx="1721">
                  <c:v>103.42073448679081</c:v>
                </c:pt>
                <c:pt idx="1722">
                  <c:v>103.76360068969625</c:v>
                </c:pt>
                <c:pt idx="1723">
                  <c:v>104.91705808906602</c:v>
                </c:pt>
                <c:pt idx="1724">
                  <c:v>105.37685554036118</c:v>
                </c:pt>
                <c:pt idx="1725">
                  <c:v>105.33127217234482</c:v>
                </c:pt>
                <c:pt idx="1726">
                  <c:v>105.14497492914768</c:v>
                </c:pt>
                <c:pt idx="1727">
                  <c:v>105.03002556632389</c:v>
                </c:pt>
                <c:pt idx="1728">
                  <c:v>105.25001486414182</c:v>
                </c:pt>
                <c:pt idx="1729">
                  <c:v>104.96065957151644</c:v>
                </c:pt>
                <c:pt idx="1730">
                  <c:v>105.55720712686058</c:v>
                </c:pt>
                <c:pt idx="1731">
                  <c:v>105.79305150920597</c:v>
                </c:pt>
                <c:pt idx="1732">
                  <c:v>104.99633351170313</c:v>
                </c:pt>
                <c:pt idx="1733">
                  <c:v>105.3709098836634</c:v>
                </c:pt>
                <c:pt idx="1734">
                  <c:v>105.51756941554207</c:v>
                </c:pt>
                <c:pt idx="1735">
                  <c:v>105.45018530630053</c:v>
                </c:pt>
                <c:pt idx="1736">
                  <c:v>105.19650395386178</c:v>
                </c:pt>
                <c:pt idx="1737">
                  <c:v>104.4037497274908</c:v>
                </c:pt>
                <c:pt idx="1738">
                  <c:v>102.82616881701259</c:v>
                </c:pt>
                <c:pt idx="1739">
                  <c:v>102.51501278316198</c:v>
                </c:pt>
                <c:pt idx="1740">
                  <c:v>103.90233267931117</c:v>
                </c:pt>
                <c:pt idx="1741">
                  <c:v>103.18489010444543</c:v>
                </c:pt>
                <c:pt idx="1742">
                  <c:v>102.46348375844786</c:v>
                </c:pt>
                <c:pt idx="1743">
                  <c:v>103.13137919416539</c:v>
                </c:pt>
                <c:pt idx="1744">
                  <c:v>103.81116594327854</c:v>
                </c:pt>
                <c:pt idx="1745">
                  <c:v>103.85476742572891</c:v>
                </c:pt>
                <c:pt idx="1746">
                  <c:v>104.44140555324346</c:v>
                </c:pt>
                <c:pt idx="1747">
                  <c:v>104.53059040371016</c:v>
                </c:pt>
                <c:pt idx="1748">
                  <c:v>105.14497492914771</c:v>
                </c:pt>
                <c:pt idx="1749">
                  <c:v>105.51955130110798</c:v>
                </c:pt>
                <c:pt idx="1750">
                  <c:v>106.19537427908924</c:v>
                </c:pt>
                <c:pt idx="1751">
                  <c:v>106.83750520244975</c:v>
                </c:pt>
                <c:pt idx="1752">
                  <c:v>107.41819767326646</c:v>
                </c:pt>
                <c:pt idx="1753">
                  <c:v>107.35477733515675</c:v>
                </c:pt>
                <c:pt idx="1754">
                  <c:v>106.63337098915919</c:v>
                </c:pt>
                <c:pt idx="1755">
                  <c:v>106.95245456527354</c:v>
                </c:pt>
                <c:pt idx="1756">
                  <c:v>106.83750520244975</c:v>
                </c:pt>
                <c:pt idx="1757">
                  <c:v>106.33608815427007</c:v>
                </c:pt>
                <c:pt idx="1758">
                  <c:v>106.33608815427007</c:v>
                </c:pt>
                <c:pt idx="1759">
                  <c:v>106.33608815427007</c:v>
                </c:pt>
                <c:pt idx="1760">
                  <c:v>107.44198030005759</c:v>
                </c:pt>
                <c:pt idx="1761">
                  <c:v>107.48558178250798</c:v>
                </c:pt>
                <c:pt idx="1762">
                  <c:v>107.17244386309143</c:v>
                </c:pt>
                <c:pt idx="1763">
                  <c:v>107.17244386309143</c:v>
                </c:pt>
                <c:pt idx="1764">
                  <c:v>108.5320173613177</c:v>
                </c:pt>
                <c:pt idx="1765">
                  <c:v>108.53003547575175</c:v>
                </c:pt>
                <c:pt idx="1766">
                  <c:v>108.2129337852034</c:v>
                </c:pt>
                <c:pt idx="1767">
                  <c:v>107.3091939671405</c:v>
                </c:pt>
                <c:pt idx="1768">
                  <c:v>107.22199100223965</c:v>
                </c:pt>
                <c:pt idx="1769">
                  <c:v>107.46576292684875</c:v>
                </c:pt>
                <c:pt idx="1770">
                  <c:v>106.7780486354719</c:v>
                </c:pt>
                <c:pt idx="1771">
                  <c:v>108.61922032621852</c:v>
                </c:pt>
                <c:pt idx="1772">
                  <c:v>109.13451057335962</c:v>
                </c:pt>
                <c:pt idx="1773">
                  <c:v>109.81231543690681</c:v>
                </c:pt>
                <c:pt idx="1774">
                  <c:v>109.18405771250779</c:v>
                </c:pt>
                <c:pt idx="1775">
                  <c:v>109.10676417543665</c:v>
                </c:pt>
                <c:pt idx="1776">
                  <c:v>109.06514457855218</c:v>
                </c:pt>
                <c:pt idx="1777">
                  <c:v>109.8440256059617</c:v>
                </c:pt>
                <c:pt idx="1778">
                  <c:v>109.42584775155098</c:v>
                </c:pt>
                <c:pt idx="1779">
                  <c:v>109.37035495570504</c:v>
                </c:pt>
                <c:pt idx="1780">
                  <c:v>110.37517093763022</c:v>
                </c:pt>
                <c:pt idx="1781">
                  <c:v>110.03428662029076</c:v>
                </c:pt>
                <c:pt idx="1782">
                  <c:v>109.31882593099094</c:v>
                </c:pt>
                <c:pt idx="1783">
                  <c:v>109.60223556691855</c:v>
                </c:pt>
                <c:pt idx="1784">
                  <c:v>109.97284816774696</c:v>
                </c:pt>
                <c:pt idx="1785">
                  <c:v>109.42188398041918</c:v>
                </c:pt>
                <c:pt idx="1786">
                  <c:v>110.67245377251933</c:v>
                </c:pt>
                <c:pt idx="1787">
                  <c:v>111.26900132786351</c:v>
                </c:pt>
                <c:pt idx="1788">
                  <c:v>111.34233109380281</c:v>
                </c:pt>
                <c:pt idx="1789">
                  <c:v>111.72483500802682</c:v>
                </c:pt>
                <c:pt idx="1790">
                  <c:v>112.08157440989376</c:v>
                </c:pt>
                <c:pt idx="1791">
                  <c:v>111.10648671145746</c:v>
                </c:pt>
                <c:pt idx="1792">
                  <c:v>111.67528786887863</c:v>
                </c:pt>
                <c:pt idx="1793">
                  <c:v>111.03513883108405</c:v>
                </c:pt>
                <c:pt idx="1794">
                  <c:v>111.2313455021109</c:v>
                </c:pt>
                <c:pt idx="1795">
                  <c:v>112.1271577779101</c:v>
                </c:pt>
                <c:pt idx="1796">
                  <c:v>112.00428087282259</c:v>
                </c:pt>
                <c:pt idx="1797">
                  <c:v>111.86356699764175</c:v>
                </c:pt>
                <c:pt idx="1798">
                  <c:v>112.26985353865688</c:v>
                </c:pt>
                <c:pt idx="1799">
                  <c:v>111.91707790792181</c:v>
                </c:pt>
                <c:pt idx="1800">
                  <c:v>111.201617218622</c:v>
                </c:pt>
                <c:pt idx="1801">
                  <c:v>111.56628416275264</c:v>
                </c:pt>
                <c:pt idx="1802">
                  <c:v>111.80807420179578</c:v>
                </c:pt>
                <c:pt idx="1803">
                  <c:v>112.28967239431616</c:v>
                </c:pt>
                <c:pt idx="1804">
                  <c:v>108.88082922092097</c:v>
                </c:pt>
                <c:pt idx="1805">
                  <c:v>107.27153814138791</c:v>
                </c:pt>
                <c:pt idx="1806">
                  <c:v>106.31825118417682</c:v>
                </c:pt>
                <c:pt idx="1807">
                  <c:v>105.98925818023287</c:v>
                </c:pt>
                <c:pt idx="1808">
                  <c:v>104.73274273143485</c:v>
                </c:pt>
                <c:pt idx="1809">
                  <c:v>105.70188477317339</c:v>
                </c:pt>
                <c:pt idx="1810">
                  <c:v>106.43914620369837</c:v>
                </c:pt>
                <c:pt idx="1811">
                  <c:v>107.89781398022099</c:v>
                </c:pt>
                <c:pt idx="1812">
                  <c:v>108.15744098935748</c:v>
                </c:pt>
                <c:pt idx="1813">
                  <c:v>107.60845868759556</c:v>
                </c:pt>
                <c:pt idx="1814">
                  <c:v>106.45301940265988</c:v>
                </c:pt>
                <c:pt idx="1815">
                  <c:v>103.67045206809776</c:v>
                </c:pt>
                <c:pt idx="1816">
                  <c:v>105.75737756901934</c:v>
                </c:pt>
                <c:pt idx="1817">
                  <c:v>105.77917831024453</c:v>
                </c:pt>
                <c:pt idx="1818">
                  <c:v>107.35081356402497</c:v>
                </c:pt>
                <c:pt idx="1819">
                  <c:v>108.18320550171451</c:v>
                </c:pt>
                <c:pt idx="1820">
                  <c:v>108.68462254989416</c:v>
                </c:pt>
                <c:pt idx="1821">
                  <c:v>110.2919317438613</c:v>
                </c:pt>
                <c:pt idx="1822">
                  <c:v>110.81713141883206</c:v>
                </c:pt>
                <c:pt idx="1823">
                  <c:v>109.89555463067582</c:v>
                </c:pt>
                <c:pt idx="1824">
                  <c:v>109.78060526785202</c:v>
                </c:pt>
                <c:pt idx="1825">
                  <c:v>109.11072794656855</c:v>
                </c:pt>
                <c:pt idx="1826">
                  <c:v>110.35931585310284</c:v>
                </c:pt>
                <c:pt idx="1827">
                  <c:v>110.35535208197101</c:v>
                </c:pt>
                <c:pt idx="1828">
                  <c:v>110.74578353845867</c:v>
                </c:pt>
                <c:pt idx="1829">
                  <c:v>111.91509602235588</c:v>
                </c:pt>
                <c:pt idx="1830">
                  <c:v>112.08157440989379</c:v>
                </c:pt>
                <c:pt idx="1831">
                  <c:v>112.19454188715164</c:v>
                </c:pt>
                <c:pt idx="1832">
                  <c:v>112.19454188715164</c:v>
                </c:pt>
                <c:pt idx="1833">
                  <c:v>112.19454188715164</c:v>
                </c:pt>
                <c:pt idx="1834">
                  <c:v>112.88027429296253</c:v>
                </c:pt>
                <c:pt idx="1835">
                  <c:v>112.80298075589135</c:v>
                </c:pt>
                <c:pt idx="1836">
                  <c:v>112.40263987157404</c:v>
                </c:pt>
                <c:pt idx="1837">
                  <c:v>113.1597201577583</c:v>
                </c:pt>
                <c:pt idx="1838">
                  <c:v>114.46974651683635</c:v>
                </c:pt>
                <c:pt idx="1839">
                  <c:v>114.51929365598457</c:v>
                </c:pt>
                <c:pt idx="1840">
                  <c:v>113.95842004082709</c:v>
                </c:pt>
                <c:pt idx="1841">
                  <c:v>113.5719523554712</c:v>
                </c:pt>
                <c:pt idx="1842">
                  <c:v>115.02467447529602</c:v>
                </c:pt>
                <c:pt idx="1843">
                  <c:v>114.92954396813153</c:v>
                </c:pt>
                <c:pt idx="1844">
                  <c:v>113.91085478724483</c:v>
                </c:pt>
                <c:pt idx="1845">
                  <c:v>114.71946409814323</c:v>
                </c:pt>
                <c:pt idx="1846">
                  <c:v>114.93945339596118</c:v>
                </c:pt>
                <c:pt idx="1847">
                  <c:v>114.31119567156217</c:v>
                </c:pt>
                <c:pt idx="1848">
                  <c:v>114.59856907862164</c:v>
                </c:pt>
                <c:pt idx="1849">
                  <c:v>114.55298571060528</c:v>
                </c:pt>
                <c:pt idx="1850">
                  <c:v>115.15547892264721</c:v>
                </c:pt>
                <c:pt idx="1851">
                  <c:v>115.50627266781639</c:v>
                </c:pt>
                <c:pt idx="1852">
                  <c:v>116.49523356521418</c:v>
                </c:pt>
                <c:pt idx="1853">
                  <c:v>116.56063578888977</c:v>
                </c:pt>
                <c:pt idx="1854">
                  <c:v>115.64698654299723</c:v>
                </c:pt>
                <c:pt idx="1855">
                  <c:v>115.94426937788634</c:v>
                </c:pt>
                <c:pt idx="1856">
                  <c:v>115.12575063915828</c:v>
                </c:pt>
                <c:pt idx="1857">
                  <c:v>115.7480627068595</c:v>
                </c:pt>
                <c:pt idx="1858">
                  <c:v>115.51618209564602</c:v>
                </c:pt>
                <c:pt idx="1859">
                  <c:v>115.92048675109521</c:v>
                </c:pt>
                <c:pt idx="1860">
                  <c:v>115.74806270685951</c:v>
                </c:pt>
                <c:pt idx="1861">
                  <c:v>116.05525496957831</c:v>
                </c:pt>
                <c:pt idx="1862">
                  <c:v>117.13934637414059</c:v>
                </c:pt>
                <c:pt idx="1863">
                  <c:v>117.1234912896132</c:v>
                </c:pt>
                <c:pt idx="1864">
                  <c:v>117.1334007174428</c:v>
                </c:pt>
                <c:pt idx="1865">
                  <c:v>118.05101373446722</c:v>
                </c:pt>
                <c:pt idx="1866">
                  <c:v>117.24636819470068</c:v>
                </c:pt>
                <c:pt idx="1867">
                  <c:v>117.27609647818959</c:v>
                </c:pt>
                <c:pt idx="1868">
                  <c:v>117.45248429355715</c:v>
                </c:pt>
                <c:pt idx="1869">
                  <c:v>117.55554234298536</c:v>
                </c:pt>
                <c:pt idx="1870">
                  <c:v>117.35735378639265</c:v>
                </c:pt>
                <c:pt idx="1871">
                  <c:v>118.28289434568075</c:v>
                </c:pt>
                <c:pt idx="1872">
                  <c:v>119.35905820797933</c:v>
                </c:pt>
                <c:pt idx="1873">
                  <c:v>118.98249995045315</c:v>
                </c:pt>
                <c:pt idx="1874">
                  <c:v>118.27100303228518</c:v>
                </c:pt>
                <c:pt idx="1875">
                  <c:v>116.39613928691786</c:v>
                </c:pt>
                <c:pt idx="1876">
                  <c:v>115.06629407218055</c:v>
                </c:pt>
                <c:pt idx="1877">
                  <c:v>114.95729036605454</c:v>
                </c:pt>
                <c:pt idx="1878">
                  <c:v>116.09291079533097</c:v>
                </c:pt>
                <c:pt idx="1879">
                  <c:v>115.4745624987616</c:v>
                </c:pt>
                <c:pt idx="1880">
                  <c:v>115.90463166656787</c:v>
                </c:pt>
                <c:pt idx="1881">
                  <c:v>117.71607507382551</c:v>
                </c:pt>
                <c:pt idx="1882">
                  <c:v>119.20248924827109</c:v>
                </c:pt>
                <c:pt idx="1883">
                  <c:v>118.82394910517893</c:v>
                </c:pt>
                <c:pt idx="1884">
                  <c:v>118.39189805180675</c:v>
                </c:pt>
                <c:pt idx="1885">
                  <c:v>118.82394910517894</c:v>
                </c:pt>
                <c:pt idx="1886">
                  <c:v>117.59518005430395</c:v>
                </c:pt>
                <c:pt idx="1887">
                  <c:v>117.21267614007995</c:v>
                </c:pt>
                <c:pt idx="1888">
                  <c:v>117.06998037933319</c:v>
                </c:pt>
                <c:pt idx="1889">
                  <c:v>116.34857403333558</c:v>
                </c:pt>
                <c:pt idx="1890">
                  <c:v>115.82139247279886</c:v>
                </c:pt>
                <c:pt idx="1891">
                  <c:v>116.992686842262</c:v>
                </c:pt>
                <c:pt idx="1892">
                  <c:v>117.620944566661</c:v>
                </c:pt>
                <c:pt idx="1893">
                  <c:v>117.19880294111847</c:v>
                </c:pt>
                <c:pt idx="1894">
                  <c:v>118.23731097766445</c:v>
                </c:pt>
                <c:pt idx="1895">
                  <c:v>118.78431139386041</c:v>
                </c:pt>
                <c:pt idx="1896">
                  <c:v>118.02128545097838</c:v>
                </c:pt>
                <c:pt idx="1897">
                  <c:v>118.72287294131665</c:v>
                </c:pt>
                <c:pt idx="1898">
                  <c:v>119.09943119884288</c:v>
                </c:pt>
                <c:pt idx="1899">
                  <c:v>117.76165844184189</c:v>
                </c:pt>
                <c:pt idx="1900">
                  <c:v>117.38113641318378</c:v>
                </c:pt>
                <c:pt idx="1901">
                  <c:v>118.76251065263521</c:v>
                </c:pt>
                <c:pt idx="1902">
                  <c:v>119.26590958638077</c:v>
                </c:pt>
                <c:pt idx="1903">
                  <c:v>119.47400757080317</c:v>
                </c:pt>
                <c:pt idx="1904">
                  <c:v>118.89926075668419</c:v>
                </c:pt>
                <c:pt idx="1905">
                  <c:v>117.51590463166688</c:v>
                </c:pt>
                <c:pt idx="1906">
                  <c:v>118.64954317537737</c:v>
                </c:pt>
                <c:pt idx="1907">
                  <c:v>117.34942624412899</c:v>
                </c:pt>
                <c:pt idx="1908">
                  <c:v>118.06686881899469</c:v>
                </c:pt>
                <c:pt idx="1909">
                  <c:v>116.25938918286889</c:v>
                </c:pt>
                <c:pt idx="1910">
                  <c:v>115.23475434528443</c:v>
                </c:pt>
                <c:pt idx="1911">
                  <c:v>111.96067939037231</c:v>
                </c:pt>
                <c:pt idx="1912">
                  <c:v>111.40773331747855</c:v>
                </c:pt>
                <c:pt idx="1913">
                  <c:v>111.20954476088582</c:v>
                </c:pt>
                <c:pt idx="1914">
                  <c:v>113.62942703688317</c:v>
                </c:pt>
                <c:pt idx="1915">
                  <c:v>111.91509602235598</c:v>
                </c:pt>
                <c:pt idx="1916">
                  <c:v>112.74352418891365</c:v>
                </c:pt>
                <c:pt idx="1917">
                  <c:v>111.27891075569325</c:v>
                </c:pt>
                <c:pt idx="1918">
                  <c:v>110.26418534593842</c:v>
                </c:pt>
                <c:pt idx="1919">
                  <c:v>111.75456329151584</c:v>
                </c:pt>
                <c:pt idx="1920">
                  <c:v>114.0594962046894</c:v>
                </c:pt>
                <c:pt idx="1921">
                  <c:v>112.04788235527307</c:v>
                </c:pt>
                <c:pt idx="1922">
                  <c:v>108.62120221178454</c:v>
                </c:pt>
                <c:pt idx="1923">
                  <c:v>111.05693957230936</c:v>
                </c:pt>
                <c:pt idx="1924">
                  <c:v>109.68745664625354</c:v>
                </c:pt>
                <c:pt idx="1925">
                  <c:v>109.47143111956743</c:v>
                </c:pt>
                <c:pt idx="1926">
                  <c:v>105.57900786808597</c:v>
                </c:pt>
                <c:pt idx="1927">
                  <c:v>107.86015815446844</c:v>
                </c:pt>
                <c:pt idx="1928">
                  <c:v>108.56372753037267</c:v>
                </c:pt>
                <c:pt idx="1929">
                  <c:v>108.57958261490009</c:v>
                </c:pt>
                <c:pt idx="1930">
                  <c:v>110.49012030045414</c:v>
                </c:pt>
                <c:pt idx="1931">
                  <c:v>110.70416394157434</c:v>
                </c:pt>
                <c:pt idx="1932">
                  <c:v>111.06090334344123</c:v>
                </c:pt>
                <c:pt idx="1933">
                  <c:v>111.231345502111</c:v>
                </c:pt>
                <c:pt idx="1934">
                  <c:v>109.30297084646358</c:v>
                </c:pt>
                <c:pt idx="1935">
                  <c:v>109.95104742652187</c:v>
                </c:pt>
                <c:pt idx="1936">
                  <c:v>111.20558098975394</c:v>
                </c:pt>
                <c:pt idx="1937">
                  <c:v>112.69001327863359</c:v>
                </c:pt>
                <c:pt idx="1938">
                  <c:v>113.00711496918198</c:v>
                </c:pt>
                <c:pt idx="1939">
                  <c:v>113.74834017083882</c:v>
                </c:pt>
                <c:pt idx="1940">
                  <c:v>111.71690746576323</c:v>
                </c:pt>
                <c:pt idx="1941">
                  <c:v>112.0696830964983</c:v>
                </c:pt>
                <c:pt idx="1942">
                  <c:v>109.592326139089</c:v>
                </c:pt>
                <c:pt idx="1943">
                  <c:v>108.58949204272969</c:v>
                </c:pt>
                <c:pt idx="1944">
                  <c:v>110.44255504687186</c:v>
                </c:pt>
                <c:pt idx="1945">
                  <c:v>110.71407336940392</c:v>
                </c:pt>
                <c:pt idx="1946">
                  <c:v>111.60988564520312</c:v>
                </c:pt>
                <c:pt idx="1947">
                  <c:v>110.27211288820209</c:v>
                </c:pt>
                <c:pt idx="1948">
                  <c:v>108.61129278395491</c:v>
                </c:pt>
                <c:pt idx="1949">
                  <c:v>110.25823968924065</c:v>
                </c:pt>
                <c:pt idx="1950">
                  <c:v>113.23106803813177</c:v>
                </c:pt>
                <c:pt idx="1951">
                  <c:v>112.45615078185413</c:v>
                </c:pt>
                <c:pt idx="1952">
                  <c:v>112.99324177022046</c:v>
                </c:pt>
                <c:pt idx="1953">
                  <c:v>112.93576708880857</c:v>
                </c:pt>
                <c:pt idx="1954">
                  <c:v>111.6931248389721</c:v>
                </c:pt>
                <c:pt idx="1955">
                  <c:v>112.48587906534307</c:v>
                </c:pt>
                <c:pt idx="1956">
                  <c:v>113.3658362566148</c:v>
                </c:pt>
                <c:pt idx="1957">
                  <c:v>113.33412608755998</c:v>
                </c:pt>
                <c:pt idx="1958">
                  <c:v>114.23588402005694</c:v>
                </c:pt>
                <c:pt idx="1959">
                  <c:v>114.81063083417591</c:v>
                </c:pt>
                <c:pt idx="1960">
                  <c:v>115.06629407218057</c:v>
                </c:pt>
                <c:pt idx="1961">
                  <c:v>115.24466377311406</c:v>
                </c:pt>
                <c:pt idx="1962">
                  <c:v>116.07111005410574</c:v>
                </c:pt>
                <c:pt idx="1963">
                  <c:v>115.75004459242548</c:v>
                </c:pt>
                <c:pt idx="1964">
                  <c:v>116.34262837663779</c:v>
                </c:pt>
                <c:pt idx="1965">
                  <c:v>116.47937848068679</c:v>
                </c:pt>
                <c:pt idx="1966">
                  <c:v>117.14132825970655</c:v>
                </c:pt>
                <c:pt idx="1967">
                  <c:v>117.19880294111846</c:v>
                </c:pt>
                <c:pt idx="1968">
                  <c:v>116.09885645202871</c:v>
                </c:pt>
                <c:pt idx="1969">
                  <c:v>115.2248449174547</c:v>
                </c:pt>
                <c:pt idx="1970">
                  <c:v>116.00768971599608</c:v>
                </c:pt>
                <c:pt idx="1971">
                  <c:v>115.03062013199383</c:v>
                </c:pt>
                <c:pt idx="1972">
                  <c:v>114.28344927363918</c:v>
                </c:pt>
                <c:pt idx="1973">
                  <c:v>112.78514378579808</c:v>
                </c:pt>
                <c:pt idx="1974">
                  <c:v>113.97427512535451</c:v>
                </c:pt>
                <c:pt idx="1975">
                  <c:v>113.28457894841178</c:v>
                </c:pt>
                <c:pt idx="1976">
                  <c:v>114.59856907862167</c:v>
                </c:pt>
                <c:pt idx="1977">
                  <c:v>115.23673623085028</c:v>
                </c:pt>
                <c:pt idx="1978">
                  <c:v>116.03147234278718</c:v>
                </c:pt>
                <c:pt idx="1979">
                  <c:v>115.52014586677791</c:v>
                </c:pt>
                <c:pt idx="1980">
                  <c:v>116.610182928038</c:v>
                </c:pt>
                <c:pt idx="1981">
                  <c:v>114.86017797332406</c:v>
                </c:pt>
                <c:pt idx="1982">
                  <c:v>114.07336940365089</c:v>
                </c:pt>
                <c:pt idx="1983">
                  <c:v>113.29250649067549</c:v>
                </c:pt>
                <c:pt idx="1984">
                  <c:v>113.68888360386097</c:v>
                </c:pt>
                <c:pt idx="1985">
                  <c:v>112.80298075589141</c:v>
                </c:pt>
                <c:pt idx="1986">
                  <c:v>112.17274114592648</c:v>
                </c:pt>
                <c:pt idx="1987">
                  <c:v>110.39697167885554</c:v>
                </c:pt>
                <c:pt idx="1988">
                  <c:v>110.43264561904228</c:v>
                </c:pt>
                <c:pt idx="1989">
                  <c:v>110.68236320034912</c:v>
                </c:pt>
                <c:pt idx="1990">
                  <c:v>111.29080206908883</c:v>
                </c:pt>
                <c:pt idx="1991">
                  <c:v>109.89753651624184</c:v>
                </c:pt>
                <c:pt idx="1992">
                  <c:v>108.99181481261304</c:v>
                </c:pt>
                <c:pt idx="1993">
                  <c:v>106.59769704897271</c:v>
                </c:pt>
                <c:pt idx="1994">
                  <c:v>107.78484650296322</c:v>
                </c:pt>
                <c:pt idx="1995">
                  <c:v>104.99633351170334</c:v>
                </c:pt>
                <c:pt idx="1996">
                  <c:v>105.80296093703581</c:v>
                </c:pt>
                <c:pt idx="1997">
                  <c:v>107.56882097627712</c:v>
                </c:pt>
                <c:pt idx="1998">
                  <c:v>106.98020096319669</c:v>
                </c:pt>
                <c:pt idx="1999">
                  <c:v>106.52833105416522</c:v>
                </c:pt>
                <c:pt idx="2000">
                  <c:v>109.49719563192453</c:v>
                </c:pt>
                <c:pt idx="2001">
                  <c:v>109.9887032522745</c:v>
                </c:pt>
                <c:pt idx="2002">
                  <c:v>111.38791446181931</c:v>
                </c:pt>
                <c:pt idx="2003">
                  <c:v>110.92415323939231</c:v>
                </c:pt>
                <c:pt idx="2004">
                  <c:v>109.27918821967248</c:v>
                </c:pt>
                <c:pt idx="2005">
                  <c:v>111.17387082069908</c:v>
                </c:pt>
                <c:pt idx="2006">
                  <c:v>111.25512812890214</c:v>
                </c:pt>
                <c:pt idx="2007">
                  <c:v>112.15886794696505</c:v>
                </c:pt>
                <c:pt idx="2008">
                  <c:v>112.81487206928703</c:v>
                </c:pt>
                <c:pt idx="2009">
                  <c:v>112.36102027468965</c:v>
                </c:pt>
                <c:pt idx="2010">
                  <c:v>112.72568721882027</c:v>
                </c:pt>
                <c:pt idx="2011">
                  <c:v>109.97681193887894</c:v>
                </c:pt>
                <c:pt idx="2012">
                  <c:v>110.46831955922896</c:v>
                </c:pt>
                <c:pt idx="2013">
                  <c:v>108.54192678914752</c:v>
                </c:pt>
                <c:pt idx="2014">
                  <c:v>108.42103176962591</c:v>
                </c:pt>
                <c:pt idx="2015">
                  <c:v>107.91961472144631</c:v>
                </c:pt>
                <c:pt idx="2016">
                  <c:v>108.13564024813239</c:v>
                </c:pt>
                <c:pt idx="2017">
                  <c:v>109.647818934935</c:v>
                </c:pt>
                <c:pt idx="2018">
                  <c:v>109.83807994926403</c:v>
                </c:pt>
                <c:pt idx="2019">
                  <c:v>109.62998196484162</c:v>
                </c:pt>
                <c:pt idx="2020">
                  <c:v>109.70529361634689</c:v>
                </c:pt>
                <c:pt idx="2021">
                  <c:v>108.3417563469888</c:v>
                </c:pt>
                <c:pt idx="2022">
                  <c:v>108.0008720296493</c:v>
                </c:pt>
                <c:pt idx="2023">
                  <c:v>105.90998275759586</c:v>
                </c:pt>
                <c:pt idx="2024">
                  <c:v>105.69197534534386</c:v>
                </c:pt>
                <c:pt idx="2025">
                  <c:v>106.34203381096805</c:v>
                </c:pt>
                <c:pt idx="2026">
                  <c:v>104.94282260142329</c:v>
                </c:pt>
                <c:pt idx="2027">
                  <c:v>103.93007907723437</c:v>
                </c:pt>
                <c:pt idx="2028">
                  <c:v>103.42469825792288</c:v>
                </c:pt>
                <c:pt idx="2029">
                  <c:v>103.75369126186683</c:v>
                </c:pt>
                <c:pt idx="2030">
                  <c:v>101.09796460352409</c:v>
                </c:pt>
                <c:pt idx="2031">
                  <c:v>100.14665953187892</c:v>
                </c:pt>
                <c:pt idx="2032">
                  <c:v>99.643260598133352</c:v>
                </c:pt>
                <c:pt idx="2033">
                  <c:v>98.575024278098454</c:v>
                </c:pt>
                <c:pt idx="2034">
                  <c:v>92.934577957468989</c:v>
                </c:pt>
                <c:pt idx="2035">
                  <c:v>94.97592009037426</c:v>
                </c:pt>
                <c:pt idx="2036">
                  <c:v>92.114077333175018</c:v>
                </c:pt>
                <c:pt idx="2037">
                  <c:v>96.943932457340196</c:v>
                </c:pt>
                <c:pt idx="2038">
                  <c:v>97.007352795449862</c:v>
                </c:pt>
                <c:pt idx="2039">
                  <c:v>95.945062132112753</c:v>
                </c:pt>
                <c:pt idx="2040">
                  <c:v>97.635610519848854</c:v>
                </c:pt>
                <c:pt idx="2041">
                  <c:v>97.001407138752057</c:v>
                </c:pt>
                <c:pt idx="2042">
                  <c:v>96.993479596488342</c:v>
                </c:pt>
                <c:pt idx="2043">
                  <c:v>98.886180311949033</c:v>
                </c:pt>
                <c:pt idx="2044">
                  <c:v>99.100223953069204</c:v>
                </c:pt>
                <c:pt idx="2045">
                  <c:v>95.970826644469781</c:v>
                </c:pt>
                <c:pt idx="2046">
                  <c:v>96.494044433874635</c:v>
                </c:pt>
                <c:pt idx="2047">
                  <c:v>94.62116257407321</c:v>
                </c:pt>
                <c:pt idx="2048">
                  <c:v>95.033394771786107</c:v>
                </c:pt>
                <c:pt idx="2049">
                  <c:v>94.155419466080261</c:v>
                </c:pt>
                <c:pt idx="2050">
                  <c:v>97.300671859207114</c:v>
                </c:pt>
                <c:pt idx="2051">
                  <c:v>97.401748023069402</c:v>
                </c:pt>
                <c:pt idx="2052">
                  <c:v>97.508769843629466</c:v>
                </c:pt>
                <c:pt idx="2053">
                  <c:v>95.610123471471027</c:v>
                </c:pt>
                <c:pt idx="2054">
                  <c:v>97.469132132310946</c:v>
                </c:pt>
                <c:pt idx="2055">
                  <c:v>97.661375032205896</c:v>
                </c:pt>
                <c:pt idx="2056">
                  <c:v>96.547555344154702</c:v>
                </c:pt>
                <c:pt idx="2057">
                  <c:v>97.179776839685488</c:v>
                </c:pt>
                <c:pt idx="2058">
                  <c:v>96.410805240105717</c:v>
                </c:pt>
                <c:pt idx="2059">
                  <c:v>98.043878946429871</c:v>
                </c:pt>
                <c:pt idx="2060">
                  <c:v>99.46290901163394</c:v>
                </c:pt>
                <c:pt idx="2061">
                  <c:v>99.296430624096033</c:v>
                </c:pt>
                <c:pt idx="2062">
                  <c:v>97.469132132310932</c:v>
                </c:pt>
                <c:pt idx="2063">
                  <c:v>96.174960857760297</c:v>
                </c:pt>
                <c:pt idx="2064">
                  <c:v>94.821333016231861</c:v>
                </c:pt>
                <c:pt idx="2065">
                  <c:v>93.55689002517019</c:v>
                </c:pt>
                <c:pt idx="2066">
                  <c:v>95.326713835543373</c:v>
                </c:pt>
                <c:pt idx="2067">
                  <c:v>94.062270844481674</c:v>
                </c:pt>
                <c:pt idx="2068">
                  <c:v>93.047545434726842</c:v>
                </c:pt>
                <c:pt idx="2069">
                  <c:v>91.892106149791147</c:v>
                </c:pt>
                <c:pt idx="2070">
                  <c:v>92.997998295578682</c:v>
                </c:pt>
                <c:pt idx="2071">
                  <c:v>94.151455694948453</c:v>
                </c:pt>
                <c:pt idx="2072">
                  <c:v>92.877103276057099</c:v>
                </c:pt>
                <c:pt idx="2073">
                  <c:v>91.941653288939392</c:v>
                </c:pt>
                <c:pt idx="2074">
                  <c:v>87.744019660305113</c:v>
                </c:pt>
                <c:pt idx="2075">
                  <c:v>90.859543769942988</c:v>
                </c:pt>
                <c:pt idx="2076">
                  <c:v>89.981568464237142</c:v>
                </c:pt>
                <c:pt idx="2077">
                  <c:v>89.787343678776253</c:v>
                </c:pt>
                <c:pt idx="2078">
                  <c:v>92.75422637096959</c:v>
                </c:pt>
                <c:pt idx="2079">
                  <c:v>92.167588243455057</c:v>
                </c:pt>
                <c:pt idx="2080">
                  <c:v>93.311136214995187</c:v>
                </c:pt>
                <c:pt idx="2081">
                  <c:v>92.813682937947405</c:v>
                </c:pt>
                <c:pt idx="2082">
                  <c:v>92.597657411261324</c:v>
                </c:pt>
                <c:pt idx="2083">
                  <c:v>95.671561924014753</c:v>
                </c:pt>
                <c:pt idx="2084">
                  <c:v>96.769526527538574</c:v>
                </c:pt>
                <c:pt idx="2085">
                  <c:v>96.268109479358927</c:v>
                </c:pt>
                <c:pt idx="2086">
                  <c:v>96.6426858513192</c:v>
                </c:pt>
                <c:pt idx="2087">
                  <c:v>97.516697385893195</c:v>
                </c:pt>
                <c:pt idx="2088">
                  <c:v>96.543591573022809</c:v>
                </c:pt>
                <c:pt idx="2089">
                  <c:v>95.893533107398639</c:v>
                </c:pt>
                <c:pt idx="2090">
                  <c:v>95.562558217888736</c:v>
                </c:pt>
                <c:pt idx="2091">
                  <c:v>94.199020948530702</c:v>
                </c:pt>
                <c:pt idx="2092">
                  <c:v>93.447886319044187</c:v>
                </c:pt>
                <c:pt idx="2093">
                  <c:v>93.858136631191158</c:v>
                </c:pt>
                <c:pt idx="2094">
                  <c:v>95.55661256119096</c:v>
                </c:pt>
                <c:pt idx="2095">
                  <c:v>95.029431000654242</c:v>
                </c:pt>
                <c:pt idx="2096">
                  <c:v>97.358146540618989</c:v>
                </c:pt>
                <c:pt idx="2097">
                  <c:v>96.248290623699617</c:v>
                </c:pt>
                <c:pt idx="2098">
                  <c:v>95.804348256931846</c:v>
                </c:pt>
                <c:pt idx="2099">
                  <c:v>96.434587866896791</c:v>
                </c:pt>
                <c:pt idx="2100">
                  <c:v>96.573319856511688</c:v>
                </c:pt>
                <c:pt idx="2101">
                  <c:v>97.871454902194159</c:v>
                </c:pt>
                <c:pt idx="2102">
                  <c:v>98.491785084329464</c:v>
                </c:pt>
                <c:pt idx="2103">
                  <c:v>97.593990922964352</c:v>
                </c:pt>
                <c:pt idx="2104">
                  <c:v>98.372871950373806</c:v>
                </c:pt>
                <c:pt idx="2105">
                  <c:v>98.525477138950194</c:v>
                </c:pt>
                <c:pt idx="2106">
                  <c:v>100.34881185960346</c:v>
                </c:pt>
                <c:pt idx="2107">
                  <c:v>100.07332976593956</c:v>
                </c:pt>
                <c:pt idx="2108">
                  <c:v>99.601641001248836</c:v>
                </c:pt>
                <c:pt idx="2109">
                  <c:v>100.44790613789984</c:v>
                </c:pt>
                <c:pt idx="2110">
                  <c:v>100.43006916780649</c:v>
                </c:pt>
                <c:pt idx="2111">
                  <c:v>99.179499375706271</c:v>
                </c:pt>
                <c:pt idx="2112">
                  <c:v>99.526329349743591</c:v>
                </c:pt>
                <c:pt idx="2113">
                  <c:v>99.439126384842808</c:v>
                </c:pt>
                <c:pt idx="2114">
                  <c:v>99.984144915472854</c:v>
                </c:pt>
                <c:pt idx="2115">
                  <c:v>100.36664882969683</c:v>
                </c:pt>
                <c:pt idx="2116">
                  <c:v>100.89383039023355</c:v>
                </c:pt>
                <c:pt idx="2117">
                  <c:v>101.96999425253216</c:v>
                </c:pt>
                <c:pt idx="2118">
                  <c:v>99.896941950572057</c:v>
                </c:pt>
                <c:pt idx="2119">
                  <c:v>99.102205838635143</c:v>
                </c:pt>
                <c:pt idx="2120">
                  <c:v>99.542184434271036</c:v>
                </c:pt>
                <c:pt idx="2121">
                  <c:v>97.897219414551273</c:v>
                </c:pt>
                <c:pt idx="2122">
                  <c:v>97.704976514656295</c:v>
                </c:pt>
                <c:pt idx="2123">
                  <c:v>97.385892938541957</c:v>
                </c:pt>
                <c:pt idx="2124">
                  <c:v>98.315397268961931</c:v>
                </c:pt>
                <c:pt idx="2125">
                  <c:v>98.580969934796229</c:v>
                </c:pt>
                <c:pt idx="2126">
                  <c:v>98.989238361377289</c:v>
                </c:pt>
                <c:pt idx="2127">
                  <c:v>97.859563588798622</c:v>
                </c:pt>
                <c:pt idx="2128">
                  <c:v>98.670154785262937</c:v>
                </c:pt>
                <c:pt idx="2129">
                  <c:v>97.534534355986509</c:v>
                </c:pt>
                <c:pt idx="2130">
                  <c:v>97.395802366371598</c:v>
                </c:pt>
                <c:pt idx="2131">
                  <c:v>95.451572626196793</c:v>
                </c:pt>
                <c:pt idx="2132">
                  <c:v>94.966010662544591</c:v>
                </c:pt>
                <c:pt idx="2133">
                  <c:v>94.319915968052271</c:v>
                </c:pt>
                <c:pt idx="2134">
                  <c:v>92.718552430782879</c:v>
                </c:pt>
                <c:pt idx="2135">
                  <c:v>93.556890025170176</c:v>
                </c:pt>
                <c:pt idx="2136">
                  <c:v>94.05632518778387</c:v>
                </c:pt>
                <c:pt idx="2137">
                  <c:v>93.816517034306671</c:v>
                </c:pt>
                <c:pt idx="2138">
                  <c:v>94.264423172206264</c:v>
                </c:pt>
                <c:pt idx="2139">
                  <c:v>92.855302534831822</c:v>
                </c:pt>
                <c:pt idx="2140">
                  <c:v>92.39550508353669</c:v>
                </c:pt>
                <c:pt idx="2141">
                  <c:v>90.806032859662892</c:v>
                </c:pt>
                <c:pt idx="2142">
                  <c:v>90.74459440711918</c:v>
                </c:pt>
                <c:pt idx="2143">
                  <c:v>90.044988802346779</c:v>
                </c:pt>
                <c:pt idx="2144">
                  <c:v>91.154844719266151</c:v>
                </c:pt>
                <c:pt idx="2145">
                  <c:v>88.810274094774002</c:v>
                </c:pt>
                <c:pt idx="2146">
                  <c:v>88.461462235170785</c:v>
                </c:pt>
                <c:pt idx="2147">
                  <c:v>89.095665616267553</c:v>
                </c:pt>
                <c:pt idx="2148">
                  <c:v>87.145490219394929</c:v>
                </c:pt>
                <c:pt idx="2149">
                  <c:v>86.439938957924767</c:v>
                </c:pt>
                <c:pt idx="2150">
                  <c:v>87.177200388449776</c:v>
                </c:pt>
                <c:pt idx="2151">
                  <c:v>86.08121767049191</c:v>
                </c:pt>
                <c:pt idx="2152">
                  <c:v>87.208910557504609</c:v>
                </c:pt>
                <c:pt idx="2153">
                  <c:v>85.914739282954031</c:v>
                </c:pt>
                <c:pt idx="2154">
                  <c:v>87.444754939850029</c:v>
                </c:pt>
                <c:pt idx="2155">
                  <c:v>85.623402104762661</c:v>
                </c:pt>
                <c:pt idx="2156">
                  <c:v>83.288740908100181</c:v>
                </c:pt>
                <c:pt idx="2157">
                  <c:v>83.936817488158454</c:v>
                </c:pt>
                <c:pt idx="2158">
                  <c:v>82.103573339675563</c:v>
                </c:pt>
                <c:pt idx="2159">
                  <c:v>82.721921636244929</c:v>
                </c:pt>
                <c:pt idx="2160">
                  <c:v>85.114057514319313</c:v>
                </c:pt>
                <c:pt idx="2161">
                  <c:v>86.477594783677418</c:v>
                </c:pt>
                <c:pt idx="2162">
                  <c:v>86.992885030818542</c:v>
                </c:pt>
                <c:pt idx="2163">
                  <c:v>86.542997007353009</c:v>
                </c:pt>
                <c:pt idx="2164">
                  <c:v>88.354440414610679</c:v>
                </c:pt>
                <c:pt idx="2165">
                  <c:v>86.951265433934083</c:v>
                </c:pt>
                <c:pt idx="2166">
                  <c:v>86.808569673187293</c:v>
                </c:pt>
                <c:pt idx="2167">
                  <c:v>85.87708345720138</c:v>
                </c:pt>
                <c:pt idx="2168">
                  <c:v>86.160493093128991</c:v>
                </c:pt>
                <c:pt idx="2169">
                  <c:v>87.520066591355217</c:v>
                </c:pt>
                <c:pt idx="2170">
                  <c:v>87.44475493985</c:v>
                </c:pt>
                <c:pt idx="2171">
                  <c:v>86.380482390946938</c:v>
                </c:pt>
                <c:pt idx="2172">
                  <c:v>85.56196365221895</c:v>
                </c:pt>
                <c:pt idx="2173">
                  <c:v>87.849059595299195</c:v>
                </c:pt>
                <c:pt idx="2174">
                  <c:v>88.723071129873162</c:v>
                </c:pt>
                <c:pt idx="2175">
                  <c:v>88.485244861961903</c:v>
                </c:pt>
                <c:pt idx="2176">
                  <c:v>89.228451949184659</c:v>
                </c:pt>
                <c:pt idx="2177">
                  <c:v>90.393800661950024</c:v>
                </c:pt>
                <c:pt idx="2178">
                  <c:v>90.017242404423783</c:v>
                </c:pt>
                <c:pt idx="2179">
                  <c:v>87.777711714925786</c:v>
                </c:pt>
                <c:pt idx="2180">
                  <c:v>88.25336425074839</c:v>
                </c:pt>
                <c:pt idx="2181">
                  <c:v>88.665596448461272</c:v>
                </c:pt>
                <c:pt idx="2182">
                  <c:v>88.574429712428596</c:v>
                </c:pt>
                <c:pt idx="2183">
                  <c:v>86.338862794062479</c:v>
                </c:pt>
                <c:pt idx="2184">
                  <c:v>86.741185563945777</c:v>
                </c:pt>
                <c:pt idx="2185">
                  <c:v>86.025724874645945</c:v>
                </c:pt>
                <c:pt idx="2186">
                  <c:v>87.688526864459035</c:v>
                </c:pt>
                <c:pt idx="2187">
                  <c:v>87.171254731752001</c:v>
                </c:pt>
                <c:pt idx="2188">
                  <c:v>87.35358820381731</c:v>
                </c:pt>
                <c:pt idx="2189">
                  <c:v>87.514120934657456</c:v>
                </c:pt>
                <c:pt idx="2190">
                  <c:v>88.740908099966532</c:v>
                </c:pt>
                <c:pt idx="2191">
                  <c:v>89.040172820421532</c:v>
                </c:pt>
                <c:pt idx="2192">
                  <c:v>88.732980557702803</c:v>
                </c:pt>
                <c:pt idx="2193">
                  <c:v>89.630774719067929</c:v>
                </c:pt>
                <c:pt idx="2194">
                  <c:v>88.267237449709867</c:v>
                </c:pt>
                <c:pt idx="2195">
                  <c:v>85.982123392195533</c:v>
                </c:pt>
                <c:pt idx="2196">
                  <c:v>84.144915472580792</c:v>
                </c:pt>
                <c:pt idx="2197">
                  <c:v>86.959192976197755</c:v>
                </c:pt>
                <c:pt idx="2198">
                  <c:v>86.433993301226991</c:v>
                </c:pt>
                <c:pt idx="2199">
                  <c:v>85.754206552113885</c:v>
                </c:pt>
                <c:pt idx="2200">
                  <c:v>85.232970648274971</c:v>
                </c:pt>
                <c:pt idx="2201">
                  <c:v>86.699565967061275</c:v>
                </c:pt>
                <c:pt idx="2202">
                  <c:v>83.698991220247166</c:v>
                </c:pt>
                <c:pt idx="2203">
                  <c:v>81.489188814238062</c:v>
                </c:pt>
                <c:pt idx="2204">
                  <c:v>79.796658540936065</c:v>
                </c:pt>
                <c:pt idx="2205">
                  <c:v>79.402263313316496</c:v>
                </c:pt>
                <c:pt idx="2206">
                  <c:v>86.023742989080006</c:v>
                </c:pt>
                <c:pt idx="2207">
                  <c:v>84.242027865311286</c:v>
                </c:pt>
                <c:pt idx="2208">
                  <c:v>82.682283924926381</c:v>
                </c:pt>
                <c:pt idx="2209">
                  <c:v>82.184830647878599</c:v>
                </c:pt>
                <c:pt idx="2210">
                  <c:v>83.839705095427988</c:v>
                </c:pt>
                <c:pt idx="2211">
                  <c:v>82.266087956081606</c:v>
                </c:pt>
                <c:pt idx="2212">
                  <c:v>77.781080920387865</c:v>
                </c:pt>
                <c:pt idx="2213">
                  <c:v>79.212002298987471</c:v>
                </c:pt>
                <c:pt idx="2214">
                  <c:v>79.741165745090129</c:v>
                </c:pt>
                <c:pt idx="2215">
                  <c:v>78.657074340527785</c:v>
                </c:pt>
                <c:pt idx="2216">
                  <c:v>80.878768059932426</c:v>
                </c:pt>
                <c:pt idx="2217">
                  <c:v>74.715103949898179</c:v>
                </c:pt>
                <c:pt idx="2218">
                  <c:v>74.473313910854984</c:v>
                </c:pt>
                <c:pt idx="2219">
                  <c:v>70.025962700913851</c:v>
                </c:pt>
                <c:pt idx="2220">
                  <c:v>68.624769605803166</c:v>
                </c:pt>
                <c:pt idx="2221">
                  <c:v>63.479794676655558</c:v>
                </c:pt>
                <c:pt idx="2222">
                  <c:v>69.744534950552165</c:v>
                </c:pt>
                <c:pt idx="2223">
                  <c:v>71.865152506094475</c:v>
                </c:pt>
                <c:pt idx="2224">
                  <c:v>67.213667082862827</c:v>
                </c:pt>
                <c:pt idx="2225">
                  <c:v>63.880135560972882</c:v>
                </c:pt>
                <c:pt idx="2226">
                  <c:v>66.315872921497686</c:v>
                </c:pt>
                <c:pt idx="2227">
                  <c:v>68.713954456269903</c:v>
                </c:pt>
                <c:pt idx="2228">
                  <c:v>68.371088253364434</c:v>
                </c:pt>
                <c:pt idx="2229">
                  <c:v>64.871078343936574</c:v>
                </c:pt>
                <c:pt idx="2230">
                  <c:v>64.607487563668258</c:v>
                </c:pt>
                <c:pt idx="2231">
                  <c:v>61.541510593178522</c:v>
                </c:pt>
                <c:pt idx="2232">
                  <c:v>60.37417999484726</c:v>
                </c:pt>
                <c:pt idx="2233">
                  <c:v>61.735735378639419</c:v>
                </c:pt>
                <c:pt idx="2234">
                  <c:v>66.173177160750882</c:v>
                </c:pt>
                <c:pt idx="2235">
                  <c:v>66.956021959292258</c:v>
                </c:pt>
                <c:pt idx="2236">
                  <c:v>68.761519709852166</c:v>
                </c:pt>
                <c:pt idx="2237">
                  <c:v>69.177715678696885</c:v>
                </c:pt>
                <c:pt idx="2238">
                  <c:v>72.313058643994083</c:v>
                </c:pt>
                <c:pt idx="2239">
                  <c:v>70.681966823235811</c:v>
                </c:pt>
                <c:pt idx="2240">
                  <c:v>66.755851517133564</c:v>
                </c:pt>
                <c:pt idx="2241">
                  <c:v>68.038131478288619</c:v>
                </c:pt>
                <c:pt idx="2242">
                  <c:v>68.458291218265245</c:v>
                </c:pt>
                <c:pt idx="2243">
                  <c:v>65.735180450680943</c:v>
                </c:pt>
                <c:pt idx="2244">
                  <c:v>63.646273064193444</c:v>
                </c:pt>
                <c:pt idx="2245">
                  <c:v>63.29349743345837</c:v>
                </c:pt>
                <c:pt idx="2246">
                  <c:v>63.783023168242423</c:v>
                </c:pt>
                <c:pt idx="2247">
                  <c:v>62.169768317577521</c:v>
                </c:pt>
                <c:pt idx="2248">
                  <c:v>62.65136651009788</c:v>
                </c:pt>
                <c:pt idx="2249">
                  <c:v>60.179955209386378</c:v>
                </c:pt>
                <c:pt idx="2250">
                  <c:v>58.003844857998054</c:v>
                </c:pt>
                <c:pt idx="2251">
                  <c:v>56.568959708266604</c:v>
                </c:pt>
                <c:pt idx="2252">
                  <c:v>61.375032205640615</c:v>
                </c:pt>
                <c:pt idx="2253">
                  <c:v>61.767445547694244</c:v>
                </c:pt>
                <c:pt idx="2254">
                  <c:v>61.799155716749098</c:v>
                </c:pt>
                <c:pt idx="2255">
                  <c:v>63.281606120062804</c:v>
                </c:pt>
                <c:pt idx="2256">
                  <c:v>64.100124858790821</c:v>
                </c:pt>
                <c:pt idx="2257">
                  <c:v>60.265176288721271</c:v>
                </c:pt>
                <c:pt idx="2258">
                  <c:v>61.293774897437601</c:v>
                </c:pt>
                <c:pt idx="2259">
                  <c:v>61.644568642606757</c:v>
                </c:pt>
                <c:pt idx="2260">
                  <c:v>61.369086548942825</c:v>
                </c:pt>
                <c:pt idx="2261">
                  <c:v>59.016588382186981</c:v>
                </c:pt>
                <c:pt idx="2262">
                  <c:v>62.988287056305538</c:v>
                </c:pt>
                <c:pt idx="2263">
                  <c:v>63.83257030739064</c:v>
                </c:pt>
                <c:pt idx="2264">
                  <c:v>63.846443506352117</c:v>
                </c:pt>
                <c:pt idx="2265">
                  <c:v>63.356917771568057</c:v>
                </c:pt>
                <c:pt idx="2266">
                  <c:v>61.626731672513415</c:v>
                </c:pt>
                <c:pt idx="2267">
                  <c:v>61.410706145827326</c:v>
                </c:pt>
                <c:pt idx="2268">
                  <c:v>61.878431139386194</c:v>
                </c:pt>
                <c:pt idx="2269">
                  <c:v>61.414669916959177</c:v>
                </c:pt>
                <c:pt idx="2270">
                  <c:v>61.355213349981355</c:v>
                </c:pt>
                <c:pt idx="2271">
                  <c:v>61.079731256317444</c:v>
                </c:pt>
                <c:pt idx="2272">
                  <c:v>60.114552985710787</c:v>
                </c:pt>
                <c:pt idx="2273">
                  <c:v>60.02735002080999</c:v>
                </c:pt>
                <c:pt idx="2274">
                  <c:v>59.839070892046884</c:v>
                </c:pt>
                <c:pt idx="2275">
                  <c:v>60.162118239293065</c:v>
                </c:pt>
                <c:pt idx="2276">
                  <c:v>61.234318330459821</c:v>
                </c:pt>
                <c:pt idx="2277">
                  <c:v>61.688170125057184</c:v>
                </c:pt>
                <c:pt idx="2278">
                  <c:v>63.596725925045298</c:v>
                </c:pt>
                <c:pt idx="2279">
                  <c:v>64.912697940821104</c:v>
                </c:pt>
                <c:pt idx="2280">
                  <c:v>66.210832986503547</c:v>
                </c:pt>
                <c:pt idx="2281">
                  <c:v>65.416096874566648</c:v>
                </c:pt>
                <c:pt idx="2282">
                  <c:v>64.938462453178161</c:v>
                </c:pt>
                <c:pt idx="2283">
                  <c:v>64.643161503854955</c:v>
                </c:pt>
                <c:pt idx="2284">
                  <c:v>63.630417979666042</c:v>
                </c:pt>
                <c:pt idx="2285">
                  <c:v>62.738569474998712</c:v>
                </c:pt>
                <c:pt idx="2286">
                  <c:v>60.005549279584784</c:v>
                </c:pt>
                <c:pt idx="2287">
                  <c:v>59.482331490179945</c:v>
                </c:pt>
                <c:pt idx="2288">
                  <c:v>60.039241334205549</c:v>
                </c:pt>
                <c:pt idx="2289">
                  <c:v>59.032443466714405</c:v>
                </c:pt>
                <c:pt idx="2290">
                  <c:v>57.783855560180136</c:v>
                </c:pt>
                <c:pt idx="2291">
                  <c:v>57.425134272747272</c:v>
                </c:pt>
                <c:pt idx="2292">
                  <c:v>56.903898368908358</c:v>
                </c:pt>
                <c:pt idx="2293">
                  <c:v>56.790930891650504</c:v>
                </c:pt>
                <c:pt idx="2294">
                  <c:v>58.531026418534772</c:v>
                </c:pt>
                <c:pt idx="2295">
                  <c:v>58.612283726737807</c:v>
                </c:pt>
                <c:pt idx="2296">
                  <c:v>60.504984442198499</c:v>
                </c:pt>
                <c:pt idx="2297">
                  <c:v>59.407019838674721</c:v>
                </c:pt>
                <c:pt idx="2298">
                  <c:v>59.541788057157774</c:v>
                </c:pt>
                <c:pt idx="2299">
                  <c:v>58.025645599223282</c:v>
                </c:pt>
                <c:pt idx="2300">
                  <c:v>59.10577323265376</c:v>
                </c:pt>
                <c:pt idx="2301">
                  <c:v>60.673444715302324</c:v>
                </c:pt>
                <c:pt idx="2302">
                  <c:v>60.621915690588239</c:v>
                </c:pt>
                <c:pt idx="2303">
                  <c:v>61.874467368254358</c:v>
                </c:pt>
                <c:pt idx="2304">
                  <c:v>62.132112491824955</c:v>
                </c:pt>
                <c:pt idx="2305">
                  <c:v>60.407872049468075</c:v>
                </c:pt>
                <c:pt idx="2306">
                  <c:v>60.211665378441261</c:v>
                </c:pt>
                <c:pt idx="2307">
                  <c:v>59.43476623659771</c:v>
                </c:pt>
                <c:pt idx="2308">
                  <c:v>59.630972907624532</c:v>
                </c:pt>
                <c:pt idx="2309">
                  <c:v>58.820381711160209</c:v>
                </c:pt>
                <c:pt idx="2310">
                  <c:v>57.35775016350577</c:v>
                </c:pt>
                <c:pt idx="2311">
                  <c:v>57.21109063162713</c:v>
                </c:pt>
                <c:pt idx="2312">
                  <c:v>57.221000059456777</c:v>
                </c:pt>
                <c:pt idx="2313">
                  <c:v>55.207404324474503</c:v>
                </c:pt>
                <c:pt idx="2314">
                  <c:v>54.696077848465237</c:v>
                </c:pt>
                <c:pt idx="2315">
                  <c:v>53.938997562280946</c:v>
                </c:pt>
                <c:pt idx="2316">
                  <c:v>53.788374259270455</c:v>
                </c:pt>
                <c:pt idx="2317">
                  <c:v>54.981469369958774</c:v>
                </c:pt>
                <c:pt idx="2318">
                  <c:v>54.012327328220259</c:v>
                </c:pt>
                <c:pt idx="2319">
                  <c:v>51.320926729690804</c:v>
                </c:pt>
                <c:pt idx="2320">
                  <c:v>50.39736805596862</c:v>
                </c:pt>
                <c:pt idx="2321">
                  <c:v>52.369344194066421</c:v>
                </c:pt>
                <c:pt idx="2322">
                  <c:v>50.486552906435378</c:v>
                </c:pt>
                <c:pt idx="2323">
                  <c:v>49.840458211943016</c:v>
                </c:pt>
                <c:pt idx="2324">
                  <c:v>49.3548962482908</c:v>
                </c:pt>
                <c:pt idx="2325">
                  <c:v>51.859999603623066</c:v>
                </c:pt>
                <c:pt idx="2326">
                  <c:v>51.978912737578746</c:v>
                </c:pt>
                <c:pt idx="2327">
                  <c:v>52.329706482747895</c:v>
                </c:pt>
                <c:pt idx="2328">
                  <c:v>52.712210396971912</c:v>
                </c:pt>
                <c:pt idx="2329">
                  <c:v>54.180787601324099</c:v>
                </c:pt>
                <c:pt idx="2330">
                  <c:v>53.826030085023099</c:v>
                </c:pt>
                <c:pt idx="2331">
                  <c:v>53.445508056365043</c:v>
                </c:pt>
                <c:pt idx="2332">
                  <c:v>53.796301801534199</c:v>
                </c:pt>
                <c:pt idx="2333">
                  <c:v>54.020254870483988</c:v>
                </c:pt>
                <c:pt idx="2334">
                  <c:v>55.635491606714851</c:v>
                </c:pt>
                <c:pt idx="2335">
                  <c:v>55.784133024159409</c:v>
                </c:pt>
                <c:pt idx="2336">
                  <c:v>55.992231008581776</c:v>
                </c:pt>
                <c:pt idx="2337">
                  <c:v>56.089343401312192</c:v>
                </c:pt>
                <c:pt idx="2338">
                  <c:v>55.482886418138399</c:v>
                </c:pt>
                <c:pt idx="2339">
                  <c:v>53.39001526051905</c:v>
                </c:pt>
                <c:pt idx="2340">
                  <c:v>55.270824662584175</c:v>
                </c:pt>
                <c:pt idx="2341">
                  <c:v>56.158709396119669</c:v>
                </c:pt>
                <c:pt idx="2342">
                  <c:v>58.943258616247711</c:v>
                </c:pt>
                <c:pt idx="2343">
                  <c:v>58.346711060903544</c:v>
                </c:pt>
                <c:pt idx="2344">
                  <c:v>57.989971659036605</c:v>
                </c:pt>
                <c:pt idx="2345">
                  <c:v>57.516301008779962</c:v>
                </c:pt>
                <c:pt idx="2346">
                  <c:v>57.718453336504567</c:v>
                </c:pt>
                <c:pt idx="2347">
                  <c:v>59.004697068791458</c:v>
                </c:pt>
                <c:pt idx="2348">
                  <c:v>59.938165170343275</c:v>
                </c:pt>
                <c:pt idx="2349">
                  <c:v>59.795469409596492</c:v>
                </c:pt>
                <c:pt idx="2350">
                  <c:v>60.835959331708402</c:v>
                </c:pt>
                <c:pt idx="2351">
                  <c:v>61.824920229106176</c:v>
                </c:pt>
                <c:pt idx="2352">
                  <c:v>59.628991022058599</c:v>
                </c:pt>
                <c:pt idx="2353">
                  <c:v>59.728085300354969</c:v>
                </c:pt>
                <c:pt idx="2354">
                  <c:v>60.44156410408884</c:v>
                </c:pt>
                <c:pt idx="2355">
                  <c:v>60.239411776364236</c:v>
                </c:pt>
                <c:pt idx="2356">
                  <c:v>61.636641100343063</c:v>
                </c:pt>
                <c:pt idx="2357">
                  <c:v>61.868521711556575</c:v>
                </c:pt>
                <c:pt idx="2358">
                  <c:v>60.946944923400309</c:v>
                </c:pt>
                <c:pt idx="2359">
                  <c:v>62.195532829934606</c:v>
                </c:pt>
                <c:pt idx="2360">
                  <c:v>63.160711100541263</c:v>
                </c:pt>
                <c:pt idx="2361">
                  <c:v>63.239986523178352</c:v>
                </c:pt>
                <c:pt idx="2362">
                  <c:v>64.3855163802844</c:v>
                </c:pt>
                <c:pt idx="2363">
                  <c:v>64.807658005826951</c:v>
                </c:pt>
                <c:pt idx="2364">
                  <c:v>65.776800047565459</c:v>
                </c:pt>
                <c:pt idx="2365">
                  <c:v>65.277364884951751</c:v>
                </c:pt>
                <c:pt idx="2366">
                  <c:v>66.303981608102163</c:v>
                </c:pt>
                <c:pt idx="2367">
                  <c:v>65.390332362209591</c:v>
                </c:pt>
                <c:pt idx="2368">
                  <c:v>65.31502071070436</c:v>
                </c:pt>
                <c:pt idx="2369">
                  <c:v>63.648254949759412</c:v>
                </c:pt>
                <c:pt idx="2370">
                  <c:v>63.96535664030781</c:v>
                </c:pt>
                <c:pt idx="2371">
                  <c:v>64.35578809679545</c:v>
                </c:pt>
                <c:pt idx="2372">
                  <c:v>65.982916146421886</c:v>
                </c:pt>
                <c:pt idx="2373">
                  <c:v>66.950076302594454</c:v>
                </c:pt>
                <c:pt idx="2374">
                  <c:v>67.326634560120709</c:v>
                </c:pt>
                <c:pt idx="2375">
                  <c:v>66.00471688764712</c:v>
                </c:pt>
                <c:pt idx="2376">
                  <c:v>65.838238500109199</c:v>
                </c:pt>
                <c:pt idx="2377">
                  <c:v>65.95120597736711</c:v>
                </c:pt>
                <c:pt idx="2378">
                  <c:v>66.460550567810444</c:v>
                </c:pt>
                <c:pt idx="2379">
                  <c:v>66.950076302594482</c:v>
                </c:pt>
                <c:pt idx="2380">
                  <c:v>66.163267732921298</c:v>
                </c:pt>
                <c:pt idx="2381">
                  <c:v>66.260380125651736</c:v>
                </c:pt>
                <c:pt idx="2382">
                  <c:v>68.204609865826583</c:v>
                </c:pt>
                <c:pt idx="2383">
                  <c:v>68.204609865826583</c:v>
                </c:pt>
                <c:pt idx="2384">
                  <c:v>66.910438591275962</c:v>
                </c:pt>
                <c:pt idx="2385">
                  <c:v>66.761797173831397</c:v>
                </c:pt>
                <c:pt idx="2386">
                  <c:v>67.172047485978382</c:v>
                </c:pt>
                <c:pt idx="2387">
                  <c:v>66.706304377985418</c:v>
                </c:pt>
                <c:pt idx="2388">
                  <c:v>67.025387954099713</c:v>
                </c:pt>
                <c:pt idx="2389">
                  <c:v>67.824087837168463</c:v>
                </c:pt>
                <c:pt idx="2390">
                  <c:v>68.474146302792676</c:v>
                </c:pt>
                <c:pt idx="2391">
                  <c:v>68.331450542045914</c:v>
                </c:pt>
                <c:pt idx="2392">
                  <c:v>66.634956497612052</c:v>
                </c:pt>
                <c:pt idx="2393">
                  <c:v>66.561626731672732</c:v>
                </c:pt>
                <c:pt idx="2394">
                  <c:v>65.245654715896904</c:v>
                </c:pt>
                <c:pt idx="2395">
                  <c:v>65.568702063143078</c:v>
                </c:pt>
                <c:pt idx="2396">
                  <c:v>66.409021543096316</c:v>
                </c:pt>
                <c:pt idx="2397">
                  <c:v>64.587668708009005</c:v>
                </c:pt>
                <c:pt idx="2398">
                  <c:v>64.272548903026518</c:v>
                </c:pt>
                <c:pt idx="2399">
                  <c:v>65.820401530015843</c:v>
                </c:pt>
                <c:pt idx="2400">
                  <c:v>65.291238083913242</c:v>
                </c:pt>
                <c:pt idx="2401">
                  <c:v>65.229799631369474</c:v>
                </c:pt>
                <c:pt idx="2402">
                  <c:v>66.37136571734365</c:v>
                </c:pt>
                <c:pt idx="2403">
                  <c:v>65.667796341439399</c:v>
                </c:pt>
                <c:pt idx="2404">
                  <c:v>66.850982024298091</c:v>
                </c:pt>
                <c:pt idx="2405">
                  <c:v>65.150524208732392</c:v>
                </c:pt>
                <c:pt idx="2406">
                  <c:v>65.142596666468648</c:v>
                </c:pt>
                <c:pt idx="2407">
                  <c:v>64.385516380284372</c:v>
                </c:pt>
                <c:pt idx="2408">
                  <c:v>63.907881958895864</c:v>
                </c:pt>
                <c:pt idx="2409">
                  <c:v>63.216203896387206</c:v>
                </c:pt>
                <c:pt idx="2410">
                  <c:v>63.662128148720896</c:v>
                </c:pt>
                <c:pt idx="2411">
                  <c:v>62.982341399607762</c:v>
                </c:pt>
                <c:pt idx="2412">
                  <c:v>64.115979943318266</c:v>
                </c:pt>
                <c:pt idx="2413">
                  <c:v>64.978100164496666</c:v>
                </c:pt>
                <c:pt idx="2414">
                  <c:v>66.761797173831368</c:v>
                </c:pt>
                <c:pt idx="2415">
                  <c:v>67.011514755138251</c:v>
                </c:pt>
                <c:pt idx="2416">
                  <c:v>67.269159878708805</c:v>
                </c:pt>
                <c:pt idx="2417">
                  <c:v>68.083714846304957</c:v>
                </c:pt>
                <c:pt idx="2418">
                  <c:v>68.658461660423924</c:v>
                </c:pt>
                <c:pt idx="2419">
                  <c:v>68.860613988148572</c:v>
                </c:pt>
                <c:pt idx="2420">
                  <c:v>70.182531660622132</c:v>
                </c:pt>
                <c:pt idx="2421">
                  <c:v>70.142893949303613</c:v>
                </c:pt>
                <c:pt idx="2422">
                  <c:v>70.438194898626776</c:v>
                </c:pt>
                <c:pt idx="2423">
                  <c:v>69.786154547436652</c:v>
                </c:pt>
                <c:pt idx="2424">
                  <c:v>70.384683988346779</c:v>
                </c:pt>
                <c:pt idx="2425">
                  <c:v>71.944427928731656</c:v>
                </c:pt>
                <c:pt idx="2426">
                  <c:v>71.833442337039671</c:v>
                </c:pt>
                <c:pt idx="2427">
                  <c:v>72.986899736409455</c:v>
                </c:pt>
                <c:pt idx="2428">
                  <c:v>72.774837980855239</c:v>
                </c:pt>
                <c:pt idx="2429">
                  <c:v>72.519174742850609</c:v>
                </c:pt>
                <c:pt idx="2430">
                  <c:v>72.846185861228633</c:v>
                </c:pt>
                <c:pt idx="2431">
                  <c:v>73.736052480330088</c:v>
                </c:pt>
                <c:pt idx="2432">
                  <c:v>73.379313078463099</c:v>
                </c:pt>
                <c:pt idx="2433">
                  <c:v>72.354678240878641</c:v>
                </c:pt>
                <c:pt idx="2434">
                  <c:v>73.131577382722185</c:v>
                </c:pt>
                <c:pt idx="2435">
                  <c:v>73.718215510236703</c:v>
                </c:pt>
                <c:pt idx="2436">
                  <c:v>73.169233208474793</c:v>
                </c:pt>
                <c:pt idx="2437">
                  <c:v>71.718492974215934</c:v>
                </c:pt>
                <c:pt idx="2438">
                  <c:v>72.677725588124787</c:v>
                </c:pt>
                <c:pt idx="2439">
                  <c:v>72.475573260400211</c:v>
                </c:pt>
                <c:pt idx="2440">
                  <c:v>73.500208097984668</c:v>
                </c:pt>
                <c:pt idx="2441">
                  <c:v>75.166973858929637</c:v>
                </c:pt>
                <c:pt idx="2442">
                  <c:v>75.803159125592373</c:v>
                </c:pt>
                <c:pt idx="2443">
                  <c:v>76.124224587272636</c:v>
                </c:pt>
                <c:pt idx="2444">
                  <c:v>75.682264106070789</c:v>
                </c:pt>
                <c:pt idx="2445">
                  <c:v>75.29579642071495</c:v>
                </c:pt>
                <c:pt idx="2446">
                  <c:v>76.037021622371824</c:v>
                </c:pt>
                <c:pt idx="2447">
                  <c:v>75.553441544285519</c:v>
                </c:pt>
                <c:pt idx="2448">
                  <c:v>74.1641397625704</c:v>
                </c:pt>
                <c:pt idx="2449">
                  <c:v>73.839110529758301</c:v>
                </c:pt>
                <c:pt idx="2450">
                  <c:v>73.866856927681255</c:v>
                </c:pt>
                <c:pt idx="2451">
                  <c:v>74.881582337436086</c:v>
                </c:pt>
                <c:pt idx="2452">
                  <c:v>75.95378242860285</c:v>
                </c:pt>
                <c:pt idx="2453">
                  <c:v>76.173771726420739</c:v>
                </c:pt>
                <c:pt idx="2454">
                  <c:v>76.891214301286524</c:v>
                </c:pt>
                <c:pt idx="2455">
                  <c:v>77.016073091939973</c:v>
                </c:pt>
                <c:pt idx="2456">
                  <c:v>77.424341518520976</c:v>
                </c:pt>
                <c:pt idx="2457">
                  <c:v>77.16471450938451</c:v>
                </c:pt>
                <c:pt idx="2458">
                  <c:v>77.301464613433481</c:v>
                </c:pt>
                <c:pt idx="2459">
                  <c:v>78.411320530352853</c:v>
                </c:pt>
                <c:pt idx="2460">
                  <c:v>78.823552728065749</c:v>
                </c:pt>
                <c:pt idx="2461">
                  <c:v>78.446994470539565</c:v>
                </c:pt>
                <c:pt idx="2462">
                  <c:v>77.836573716233886</c:v>
                </c:pt>
                <c:pt idx="2463">
                  <c:v>78.236914600551245</c:v>
                </c:pt>
                <c:pt idx="2464">
                  <c:v>78.413302415918793</c:v>
                </c:pt>
                <c:pt idx="2465">
                  <c:v>76.889232415720571</c:v>
                </c:pt>
                <c:pt idx="2466">
                  <c:v>76.55825752621071</c:v>
                </c:pt>
                <c:pt idx="2467">
                  <c:v>77.921794795568772</c:v>
                </c:pt>
                <c:pt idx="2468">
                  <c:v>78.044671700656281</c:v>
                </c:pt>
                <c:pt idx="2469">
                  <c:v>77.68991418435526</c:v>
                </c:pt>
                <c:pt idx="2470">
                  <c:v>76.457181362348393</c:v>
                </c:pt>
                <c:pt idx="2471">
                  <c:v>75.006441128089492</c:v>
                </c:pt>
                <c:pt idx="2472">
                  <c:v>75.644608280318181</c:v>
                </c:pt>
                <c:pt idx="2473">
                  <c:v>77.271736329944588</c:v>
                </c:pt>
                <c:pt idx="2474">
                  <c:v>76.998236121846602</c:v>
                </c:pt>
                <c:pt idx="2475">
                  <c:v>78.003052103771793</c:v>
                </c:pt>
                <c:pt idx="2476">
                  <c:v>77.77513526369016</c:v>
                </c:pt>
                <c:pt idx="2477">
                  <c:v>78.296371167529074</c:v>
                </c:pt>
                <c:pt idx="2478">
                  <c:v>77.529381453515171</c:v>
                </c:pt>
                <c:pt idx="2479">
                  <c:v>79.150563846443816</c:v>
                </c:pt>
                <c:pt idx="2480">
                  <c:v>79.247676239174282</c:v>
                </c:pt>
                <c:pt idx="2481">
                  <c:v>78.714549021939817</c:v>
                </c:pt>
                <c:pt idx="2482">
                  <c:v>79.92151733158957</c:v>
                </c:pt>
                <c:pt idx="2483">
                  <c:v>79.572705471986339</c:v>
                </c:pt>
                <c:pt idx="2484">
                  <c:v>79.883861505836947</c:v>
                </c:pt>
                <c:pt idx="2485">
                  <c:v>78.934538319757706</c:v>
                </c:pt>
                <c:pt idx="2486">
                  <c:v>78.504469151951469</c:v>
                </c:pt>
                <c:pt idx="2487">
                  <c:v>77.529381453515157</c:v>
                </c:pt>
                <c:pt idx="2488">
                  <c:v>77.66414967199826</c:v>
                </c:pt>
                <c:pt idx="2489">
                  <c:v>76.086568761520013</c:v>
                </c:pt>
                <c:pt idx="2490">
                  <c:v>77.495689398894399</c:v>
                </c:pt>
                <c:pt idx="2491">
                  <c:v>75.9577461997347</c:v>
                </c:pt>
                <c:pt idx="2492">
                  <c:v>76.185663039816376</c:v>
                </c:pt>
                <c:pt idx="2493">
                  <c:v>75.305705848544576</c:v>
                </c:pt>
                <c:pt idx="2494">
                  <c:v>76.693025744693799</c:v>
                </c:pt>
                <c:pt idx="2495">
                  <c:v>77.140931882593364</c:v>
                </c:pt>
                <c:pt idx="2496">
                  <c:v>77.311374041263136</c:v>
                </c:pt>
                <c:pt idx="2497">
                  <c:v>78.813643300236137</c:v>
                </c:pt>
                <c:pt idx="2498">
                  <c:v>78.672929425055273</c:v>
                </c:pt>
                <c:pt idx="2499">
                  <c:v>79.021741284658489</c:v>
                </c:pt>
                <c:pt idx="2500">
                  <c:v>79.154527617575638</c:v>
                </c:pt>
                <c:pt idx="2501">
                  <c:v>79.564777929722609</c:v>
                </c:pt>
                <c:pt idx="2502">
                  <c:v>80.704362130130889</c:v>
                </c:pt>
                <c:pt idx="2503">
                  <c:v>80.39122421071437</c:v>
                </c:pt>
                <c:pt idx="2504">
                  <c:v>80.220782052044569</c:v>
                </c:pt>
                <c:pt idx="2505">
                  <c:v>78.892918722873219</c:v>
                </c:pt>
                <c:pt idx="2506">
                  <c:v>78.286461739699419</c:v>
                </c:pt>
                <c:pt idx="2507">
                  <c:v>79.864042650177694</c:v>
                </c:pt>
                <c:pt idx="2508">
                  <c:v>79.344788631904677</c:v>
                </c:pt>
                <c:pt idx="2509">
                  <c:v>79.697564262639773</c:v>
                </c:pt>
                <c:pt idx="2510">
                  <c:v>77.089402857879264</c:v>
                </c:pt>
                <c:pt idx="2511">
                  <c:v>77.975305705848839</c:v>
                </c:pt>
                <c:pt idx="2512">
                  <c:v>76.871395445627257</c:v>
                </c:pt>
                <c:pt idx="2513">
                  <c:v>78.93652020532366</c:v>
                </c:pt>
                <c:pt idx="2514">
                  <c:v>79.328933547377275</c:v>
                </c:pt>
                <c:pt idx="2515">
                  <c:v>79.19020155776235</c:v>
                </c:pt>
                <c:pt idx="2516">
                  <c:v>80.058267435638584</c:v>
                </c:pt>
                <c:pt idx="2517">
                  <c:v>79.687654834810147</c:v>
                </c:pt>
                <c:pt idx="2518">
                  <c:v>78.445012584973668</c:v>
                </c:pt>
                <c:pt idx="2519">
                  <c:v>77.614602532850043</c:v>
                </c:pt>
                <c:pt idx="2520">
                  <c:v>78.409338644786928</c:v>
                </c:pt>
                <c:pt idx="2521">
                  <c:v>78.807697643538347</c:v>
                </c:pt>
                <c:pt idx="2522">
                  <c:v>79.426045940107713</c:v>
                </c:pt>
                <c:pt idx="2523">
                  <c:v>79.481538735953649</c:v>
                </c:pt>
                <c:pt idx="2524">
                  <c:v>80.500227916840373</c:v>
                </c:pt>
                <c:pt idx="2525">
                  <c:v>79.489466278217378</c:v>
                </c:pt>
                <c:pt idx="2526">
                  <c:v>79.170382702103026</c:v>
                </c:pt>
                <c:pt idx="2527">
                  <c:v>80.258437877797164</c:v>
                </c:pt>
                <c:pt idx="2528">
                  <c:v>80.769764353806451</c:v>
                </c:pt>
                <c:pt idx="2529">
                  <c:v>81.01551816398144</c:v>
                </c:pt>
                <c:pt idx="2530">
                  <c:v>81.017500049547408</c:v>
                </c:pt>
                <c:pt idx="2531">
                  <c:v>81.429732247260276</c:v>
                </c:pt>
                <c:pt idx="2532">
                  <c:v>81.727015082149393</c:v>
                </c:pt>
                <c:pt idx="2533">
                  <c:v>81.435677903958052</c:v>
                </c:pt>
                <c:pt idx="2534">
                  <c:v>81.671522286303414</c:v>
                </c:pt>
                <c:pt idx="2535">
                  <c:v>82.880472481519149</c:v>
                </c:pt>
                <c:pt idx="2536">
                  <c:v>82.862635511425793</c:v>
                </c:pt>
                <c:pt idx="2537">
                  <c:v>82.981548645381466</c:v>
                </c:pt>
                <c:pt idx="2538">
                  <c:v>83.009295043304462</c:v>
                </c:pt>
                <c:pt idx="2539">
                  <c:v>83.366034445171422</c:v>
                </c:pt>
                <c:pt idx="2540">
                  <c:v>83.259012624611344</c:v>
                </c:pt>
                <c:pt idx="2541">
                  <c:v>82.480131597201847</c:v>
                </c:pt>
                <c:pt idx="2542">
                  <c:v>82.666428840399021</c:v>
                </c:pt>
                <c:pt idx="2543">
                  <c:v>83.272885823572807</c:v>
                </c:pt>
                <c:pt idx="2544">
                  <c:v>82.499950452861128</c:v>
                </c:pt>
                <c:pt idx="2545">
                  <c:v>83.068751610282277</c:v>
                </c:pt>
                <c:pt idx="2546">
                  <c:v>83.726737618170176</c:v>
                </c:pt>
                <c:pt idx="2547">
                  <c:v>82.46625839824037</c:v>
                </c:pt>
                <c:pt idx="2548">
                  <c:v>81.326674197832077</c:v>
                </c:pt>
                <c:pt idx="2549">
                  <c:v>80.411043066373637</c:v>
                </c:pt>
                <c:pt idx="2550">
                  <c:v>79.88980716253468</c:v>
                </c:pt>
                <c:pt idx="2551">
                  <c:v>80.252492221099416</c:v>
                </c:pt>
                <c:pt idx="2552">
                  <c:v>79.594506213211531</c:v>
                </c:pt>
                <c:pt idx="2553">
                  <c:v>78.726440335335312</c:v>
                </c:pt>
                <c:pt idx="2554">
                  <c:v>79.481538735953663</c:v>
                </c:pt>
                <c:pt idx="2555">
                  <c:v>79.965118814039954</c:v>
                </c:pt>
                <c:pt idx="2556">
                  <c:v>80.730126642487946</c:v>
                </c:pt>
                <c:pt idx="2557">
                  <c:v>80.311948788077274</c:v>
                </c:pt>
                <c:pt idx="2558">
                  <c:v>78.15367540678227</c:v>
                </c:pt>
                <c:pt idx="2559">
                  <c:v>76.469072675743973</c:v>
                </c:pt>
                <c:pt idx="2560">
                  <c:v>76.936797669302848</c:v>
                </c:pt>
                <c:pt idx="2561">
                  <c:v>77.025982519769542</c:v>
                </c:pt>
                <c:pt idx="2562">
                  <c:v>77.624511960679669</c:v>
                </c:pt>
                <c:pt idx="2563">
                  <c:v>77.888102740948014</c:v>
                </c:pt>
                <c:pt idx="2564">
                  <c:v>77.658204015300413</c:v>
                </c:pt>
                <c:pt idx="2565">
                  <c:v>77.947559307925843</c:v>
                </c:pt>
                <c:pt idx="2566">
                  <c:v>78.742295419862742</c:v>
                </c:pt>
                <c:pt idx="2567">
                  <c:v>79.842241908952445</c:v>
                </c:pt>
                <c:pt idx="2568">
                  <c:v>80.309966902511306</c:v>
                </c:pt>
                <c:pt idx="2569">
                  <c:v>80.684543274471608</c:v>
                </c:pt>
                <c:pt idx="2570">
                  <c:v>80.482390946747003</c:v>
                </c:pt>
                <c:pt idx="2571">
                  <c:v>79.539013417365567</c:v>
                </c:pt>
                <c:pt idx="2572">
                  <c:v>79.713419347167175</c:v>
                </c:pt>
                <c:pt idx="2573">
                  <c:v>78.445012584973625</c:v>
                </c:pt>
                <c:pt idx="2574">
                  <c:v>79.255603781437927</c:v>
                </c:pt>
                <c:pt idx="2575">
                  <c:v>80.185108111857858</c:v>
                </c:pt>
                <c:pt idx="2576">
                  <c:v>80.85894920427323</c:v>
                </c:pt>
                <c:pt idx="2577">
                  <c:v>81.510989555463354</c:v>
                </c:pt>
                <c:pt idx="2578">
                  <c:v>81.673504171869396</c:v>
                </c:pt>
                <c:pt idx="2579">
                  <c:v>82.993439958777088</c:v>
                </c:pt>
                <c:pt idx="2580">
                  <c:v>82.922092078403665</c:v>
                </c:pt>
                <c:pt idx="2581">
                  <c:v>82.878490595953267</c:v>
                </c:pt>
                <c:pt idx="2582">
                  <c:v>83.407654042055924</c:v>
                </c:pt>
                <c:pt idx="2583">
                  <c:v>83.203519828765394</c:v>
                </c:pt>
                <c:pt idx="2584">
                  <c:v>83.459183066770052</c:v>
                </c:pt>
                <c:pt idx="2585">
                  <c:v>82.898309451612562</c:v>
                </c:pt>
                <c:pt idx="2586">
                  <c:v>83.667281051192433</c:v>
                </c:pt>
                <c:pt idx="2587">
                  <c:v>84.444180193035976</c:v>
                </c:pt>
                <c:pt idx="2588">
                  <c:v>84.398596825019652</c:v>
                </c:pt>
                <c:pt idx="2589">
                  <c:v>84.077531363339389</c:v>
                </c:pt>
                <c:pt idx="2590">
                  <c:v>84.051766850982332</c:v>
                </c:pt>
                <c:pt idx="2591">
                  <c:v>84.612640466139808</c:v>
                </c:pt>
                <c:pt idx="2592">
                  <c:v>84.733535485661392</c:v>
                </c:pt>
                <c:pt idx="2593">
                  <c:v>85.579800622312376</c:v>
                </c:pt>
                <c:pt idx="2594">
                  <c:v>85.211169907049879</c:v>
                </c:pt>
                <c:pt idx="2595">
                  <c:v>85.320173613175868</c:v>
                </c:pt>
                <c:pt idx="2596">
                  <c:v>85.314227956478092</c:v>
                </c:pt>
                <c:pt idx="2597">
                  <c:v>85.223061220445416</c:v>
                </c:pt>
                <c:pt idx="2598">
                  <c:v>86.550924549616795</c:v>
                </c:pt>
                <c:pt idx="2599">
                  <c:v>87.117743821472033</c:v>
                </c:pt>
                <c:pt idx="2600">
                  <c:v>86.887845095824446</c:v>
                </c:pt>
                <c:pt idx="2601">
                  <c:v>86.13869235190387</c:v>
                </c:pt>
                <c:pt idx="2602">
                  <c:v>87.264403353350673</c:v>
                </c:pt>
                <c:pt idx="2603">
                  <c:v>87.155399647224627</c:v>
                </c:pt>
                <c:pt idx="2604">
                  <c:v>86.939374120538531</c:v>
                </c:pt>
                <c:pt idx="2605">
                  <c:v>87.533939790316765</c:v>
                </c:pt>
                <c:pt idx="2606">
                  <c:v>88.104722833303839</c:v>
                </c:pt>
                <c:pt idx="2607">
                  <c:v>86.745149335077656</c:v>
                </c:pt>
                <c:pt idx="2608">
                  <c:v>86.214004003409087</c:v>
                </c:pt>
                <c:pt idx="2609">
                  <c:v>87.397189686267808</c:v>
                </c:pt>
                <c:pt idx="2610">
                  <c:v>86.913609608181517</c:v>
                </c:pt>
                <c:pt idx="2611">
                  <c:v>85.978159621063753</c:v>
                </c:pt>
                <c:pt idx="2612">
                  <c:v>86.689656539231677</c:v>
                </c:pt>
                <c:pt idx="2613">
                  <c:v>87.563668073805673</c:v>
                </c:pt>
                <c:pt idx="2614">
                  <c:v>84.83064787839173</c:v>
                </c:pt>
                <c:pt idx="2615">
                  <c:v>83.762411558356845</c:v>
                </c:pt>
                <c:pt idx="2616">
                  <c:v>84.927760271122196</c:v>
                </c:pt>
                <c:pt idx="2617">
                  <c:v>84.376796083794346</c:v>
                </c:pt>
                <c:pt idx="2618">
                  <c:v>84.634441207364929</c:v>
                </c:pt>
                <c:pt idx="2619">
                  <c:v>82.256178528252008</c:v>
                </c:pt>
                <c:pt idx="2620">
                  <c:v>81.570446122441084</c:v>
                </c:pt>
                <c:pt idx="2621">
                  <c:v>80.428880036466879</c:v>
                </c:pt>
                <c:pt idx="2622">
                  <c:v>77.325247240224556</c:v>
                </c:pt>
                <c:pt idx="2623">
                  <c:v>82.864617396991719</c:v>
                </c:pt>
                <c:pt idx="2624">
                  <c:v>82.513823651822591</c:v>
                </c:pt>
                <c:pt idx="2625">
                  <c:v>83.744574588263546</c:v>
                </c:pt>
                <c:pt idx="2626">
                  <c:v>83.956636343817763</c:v>
                </c:pt>
                <c:pt idx="2627">
                  <c:v>81.112630556711864</c:v>
                </c:pt>
                <c:pt idx="2628">
                  <c:v>80.995699308322187</c:v>
                </c:pt>
                <c:pt idx="2629">
                  <c:v>82.046098658263716</c:v>
                </c:pt>
                <c:pt idx="2630">
                  <c:v>79.610361297738891</c:v>
                </c:pt>
                <c:pt idx="2631">
                  <c:v>77.888102740947971</c:v>
                </c:pt>
                <c:pt idx="2632">
                  <c:v>77.513526368987698</c:v>
                </c:pt>
                <c:pt idx="2633">
                  <c:v>77.870265770854616</c:v>
                </c:pt>
                <c:pt idx="2634">
                  <c:v>75.93990922964133</c:v>
                </c:pt>
                <c:pt idx="2635">
                  <c:v>77.789008462651566</c:v>
                </c:pt>
                <c:pt idx="2636">
                  <c:v>80.13357908714373</c:v>
                </c:pt>
                <c:pt idx="2637">
                  <c:v>79.891789048100591</c:v>
                </c:pt>
                <c:pt idx="2638">
                  <c:v>80.216818280912705</c:v>
                </c:pt>
                <c:pt idx="2639">
                  <c:v>80.345640842697961</c:v>
                </c:pt>
                <c:pt idx="2640">
                  <c:v>80.444735120994352</c:v>
                </c:pt>
                <c:pt idx="2641">
                  <c:v>81.596210634798197</c:v>
                </c:pt>
                <c:pt idx="2642">
                  <c:v>80.161325485066754</c:v>
                </c:pt>
                <c:pt idx="2643">
                  <c:v>79.570723586420357</c:v>
                </c:pt>
                <c:pt idx="2644">
                  <c:v>78.700675822978241</c:v>
                </c:pt>
                <c:pt idx="2645">
                  <c:v>80.204926967517181</c:v>
                </c:pt>
                <c:pt idx="2646">
                  <c:v>81.475315615276642</c:v>
                </c:pt>
                <c:pt idx="2647">
                  <c:v>81.804308619220578</c:v>
                </c:pt>
                <c:pt idx="2648">
                  <c:v>82.840834770200644</c:v>
                </c:pt>
                <c:pt idx="2649">
                  <c:v>83.41756346988555</c:v>
                </c:pt>
                <c:pt idx="2650">
                  <c:v>83.486929464692992</c:v>
                </c:pt>
                <c:pt idx="2651">
                  <c:v>83.621697683176052</c:v>
                </c:pt>
                <c:pt idx="2652">
                  <c:v>83.788176070713916</c:v>
                </c:pt>
                <c:pt idx="2653">
                  <c:v>84.683988346513104</c:v>
                </c:pt>
                <c:pt idx="2654">
                  <c:v>84.273738034366133</c:v>
                </c:pt>
                <c:pt idx="2655">
                  <c:v>83.465128723467757</c:v>
                </c:pt>
                <c:pt idx="2656">
                  <c:v>81.939076837703624</c:v>
                </c:pt>
                <c:pt idx="2657">
                  <c:v>81.463424301881062</c:v>
                </c:pt>
                <c:pt idx="2658">
                  <c:v>82.458330855976598</c:v>
                </c:pt>
                <c:pt idx="2659">
                  <c:v>79.982955784133267</c:v>
                </c:pt>
                <c:pt idx="2660">
                  <c:v>79.828368709990897</c:v>
                </c:pt>
                <c:pt idx="2661">
                  <c:v>77.86828388528869</c:v>
                </c:pt>
                <c:pt idx="2662">
                  <c:v>77.862338228590886</c:v>
                </c:pt>
                <c:pt idx="2663">
                  <c:v>77.672077214261847</c:v>
                </c:pt>
                <c:pt idx="2664">
                  <c:v>79.667835979150809</c:v>
                </c:pt>
                <c:pt idx="2665">
                  <c:v>80.755891154844932</c:v>
                </c:pt>
                <c:pt idx="2666">
                  <c:v>81.592246863666318</c:v>
                </c:pt>
                <c:pt idx="2667">
                  <c:v>82.081772598450371</c:v>
                </c:pt>
                <c:pt idx="2668">
                  <c:v>82.448421428146986</c:v>
                </c:pt>
                <c:pt idx="2669">
                  <c:v>84.024020453059279</c:v>
                </c:pt>
                <c:pt idx="2670">
                  <c:v>84.004201597400012</c:v>
                </c:pt>
                <c:pt idx="2671">
                  <c:v>83.035059555661491</c:v>
                </c:pt>
                <c:pt idx="2672">
                  <c:v>81.441623560655884</c:v>
                </c:pt>
                <c:pt idx="2673">
                  <c:v>80.80742017955906</c:v>
                </c:pt>
                <c:pt idx="2674">
                  <c:v>80.86291297540501</c:v>
                </c:pt>
                <c:pt idx="2675">
                  <c:v>81.820163703747966</c:v>
                </c:pt>
                <c:pt idx="2676">
                  <c:v>83.504766434786276</c:v>
                </c:pt>
                <c:pt idx="2677">
                  <c:v>84.027984224191144</c:v>
                </c:pt>
                <c:pt idx="2678">
                  <c:v>84.408506252849193</c:v>
                </c:pt>
                <c:pt idx="2679">
                  <c:v>84.73155360009541</c:v>
                </c:pt>
                <c:pt idx="2680">
                  <c:v>84.462017163129246</c:v>
                </c:pt>
                <c:pt idx="2681">
                  <c:v>84.156806785976428</c:v>
                </c:pt>
                <c:pt idx="2682">
                  <c:v>83.857542065521372</c:v>
                </c:pt>
                <c:pt idx="2683">
                  <c:v>86.087163327189742</c:v>
                </c:pt>
                <c:pt idx="2684">
                  <c:v>86.079235784926013</c:v>
                </c:pt>
                <c:pt idx="2685">
                  <c:v>86.166438749826796</c:v>
                </c:pt>
                <c:pt idx="2686">
                  <c:v>85.938521909745191</c:v>
                </c:pt>
                <c:pt idx="2687">
                  <c:v>85.026854549418573</c:v>
                </c:pt>
                <c:pt idx="2688">
                  <c:v>86.19418514774982</c:v>
                </c:pt>
                <c:pt idx="2689">
                  <c:v>85.429177319301829</c:v>
                </c:pt>
                <c:pt idx="2690">
                  <c:v>83.742592702697593</c:v>
                </c:pt>
                <c:pt idx="2691">
                  <c:v>83.825831896466511</c:v>
                </c:pt>
                <c:pt idx="2692">
                  <c:v>84.029966109757083</c:v>
                </c:pt>
                <c:pt idx="2693">
                  <c:v>84.047803079850425</c:v>
                </c:pt>
                <c:pt idx="2694">
                  <c:v>84.987216838100025</c:v>
                </c:pt>
                <c:pt idx="2695">
                  <c:v>84.747408684622826</c:v>
                </c:pt>
                <c:pt idx="2696">
                  <c:v>83.530530947143376</c:v>
                </c:pt>
                <c:pt idx="2697">
                  <c:v>82.95776601859032</c:v>
                </c:pt>
                <c:pt idx="2698">
                  <c:v>83.486929464692977</c:v>
                </c:pt>
                <c:pt idx="2699">
                  <c:v>82.069881285054848</c:v>
                </c:pt>
                <c:pt idx="2700">
                  <c:v>81.441623560655884</c:v>
                </c:pt>
                <c:pt idx="2701">
                  <c:v>82.137265394296392</c:v>
                </c:pt>
                <c:pt idx="2702">
                  <c:v>82.662465069267157</c:v>
                </c:pt>
                <c:pt idx="2703">
                  <c:v>82.650573755871562</c:v>
                </c:pt>
                <c:pt idx="2704">
                  <c:v>82.698139009453826</c:v>
                </c:pt>
                <c:pt idx="2705">
                  <c:v>84.969379868006683</c:v>
                </c:pt>
                <c:pt idx="2706">
                  <c:v>84.969379868006683</c:v>
                </c:pt>
                <c:pt idx="2707">
                  <c:v>85.698713756267978</c:v>
                </c:pt>
                <c:pt idx="2708">
                  <c:v>85.875101571635497</c:v>
                </c:pt>
                <c:pt idx="2709">
                  <c:v>85.488633886279686</c:v>
                </c:pt>
                <c:pt idx="2710">
                  <c:v>86.366609191985532</c:v>
                </c:pt>
                <c:pt idx="2711">
                  <c:v>87.274312781180299</c:v>
                </c:pt>
                <c:pt idx="2712">
                  <c:v>87.149453990526879</c:v>
                </c:pt>
                <c:pt idx="2713">
                  <c:v>87.728164575777697</c:v>
                </c:pt>
                <c:pt idx="2714">
                  <c:v>87.70834572011843</c:v>
                </c:pt>
                <c:pt idx="2715">
                  <c:v>87.42691796975673</c:v>
                </c:pt>
                <c:pt idx="2716">
                  <c:v>86.749113106209563</c:v>
                </c:pt>
                <c:pt idx="2717">
                  <c:v>86.546960778484959</c:v>
                </c:pt>
                <c:pt idx="2718">
                  <c:v>87.666726123233943</c:v>
                </c:pt>
                <c:pt idx="2719">
                  <c:v>87.268367124482523</c:v>
                </c:pt>
                <c:pt idx="2720">
                  <c:v>86.017797332382315</c:v>
                </c:pt>
                <c:pt idx="2721">
                  <c:v>85.978159621063796</c:v>
                </c:pt>
                <c:pt idx="2722">
                  <c:v>86.935410349406709</c:v>
                </c:pt>
                <c:pt idx="2723">
                  <c:v>86.586598489803492</c:v>
                </c:pt>
                <c:pt idx="2724">
                  <c:v>86.404265017738197</c:v>
                </c:pt>
                <c:pt idx="2725">
                  <c:v>85.970232078800052</c:v>
                </c:pt>
                <c:pt idx="2726">
                  <c:v>85.540162910993814</c:v>
                </c:pt>
                <c:pt idx="2727">
                  <c:v>85.336028697703284</c:v>
                </c:pt>
                <c:pt idx="2728">
                  <c:v>84.89010444536963</c:v>
                </c:pt>
                <c:pt idx="2729">
                  <c:v>86.023742989080091</c:v>
                </c:pt>
                <c:pt idx="2730">
                  <c:v>86.467685355847877</c:v>
                </c:pt>
                <c:pt idx="2731">
                  <c:v>86.402283132172244</c:v>
                </c:pt>
                <c:pt idx="2732">
                  <c:v>86.388409933210752</c:v>
                </c:pt>
                <c:pt idx="2733">
                  <c:v>86.701547852627286</c:v>
                </c:pt>
                <c:pt idx="2734">
                  <c:v>86.463721584716012</c:v>
                </c:pt>
                <c:pt idx="2735">
                  <c:v>87.714291376816206</c:v>
                </c:pt>
                <c:pt idx="2736">
                  <c:v>87.527994133619018</c:v>
                </c:pt>
                <c:pt idx="2737">
                  <c:v>87.591414471728726</c:v>
                </c:pt>
                <c:pt idx="2738">
                  <c:v>87.858969023128893</c:v>
                </c:pt>
                <c:pt idx="2739">
                  <c:v>87.395207800701868</c:v>
                </c:pt>
                <c:pt idx="2740">
                  <c:v>87.700418177854687</c:v>
                </c:pt>
                <c:pt idx="2741">
                  <c:v>88.193907683770647</c:v>
                </c:pt>
                <c:pt idx="2742">
                  <c:v>87.904552391145259</c:v>
                </c:pt>
                <c:pt idx="2743">
                  <c:v>88.130487345660939</c:v>
                </c:pt>
                <c:pt idx="2744">
                  <c:v>87.962027072557106</c:v>
                </c:pt>
                <c:pt idx="2745">
                  <c:v>87.323859920328502</c:v>
                </c:pt>
                <c:pt idx="2746">
                  <c:v>87.642943496442811</c:v>
                </c:pt>
                <c:pt idx="2747">
                  <c:v>87.664744237668003</c:v>
                </c:pt>
                <c:pt idx="2748">
                  <c:v>87.807439998414793</c:v>
                </c:pt>
                <c:pt idx="2749">
                  <c:v>88.174088828111337</c:v>
                </c:pt>
                <c:pt idx="2750">
                  <c:v>87.864914679826697</c:v>
                </c:pt>
                <c:pt idx="2751">
                  <c:v>89.285926630596649</c:v>
                </c:pt>
                <c:pt idx="2752">
                  <c:v>89.662484888122862</c:v>
                </c:pt>
                <c:pt idx="2753">
                  <c:v>89.678339972650249</c:v>
                </c:pt>
                <c:pt idx="2754">
                  <c:v>90.189666448659551</c:v>
                </c:pt>
                <c:pt idx="2755">
                  <c:v>89.561408724260573</c:v>
                </c:pt>
                <c:pt idx="2756">
                  <c:v>89.531680440771666</c:v>
                </c:pt>
                <c:pt idx="2757">
                  <c:v>89.167013496641005</c:v>
                </c:pt>
                <c:pt idx="2758">
                  <c:v>89.886437957072658</c:v>
                </c:pt>
                <c:pt idx="2759">
                  <c:v>87.781675486057722</c:v>
                </c:pt>
                <c:pt idx="2760">
                  <c:v>88.2731831064077</c:v>
                </c:pt>
                <c:pt idx="2761">
                  <c:v>89.543571754167203</c:v>
                </c:pt>
                <c:pt idx="2762">
                  <c:v>88.998553223537186</c:v>
                </c:pt>
                <c:pt idx="2763">
                  <c:v>88.427770180550041</c:v>
                </c:pt>
                <c:pt idx="2764">
                  <c:v>87.066214796757905</c:v>
                </c:pt>
                <c:pt idx="2765">
                  <c:v>87.956081415859316</c:v>
                </c:pt>
                <c:pt idx="2766">
                  <c:v>88.425788294984116</c:v>
                </c:pt>
                <c:pt idx="2767">
                  <c:v>88.057157579721633</c:v>
                </c:pt>
                <c:pt idx="2768">
                  <c:v>86.594526032067222</c:v>
                </c:pt>
                <c:pt idx="2769">
                  <c:v>86.483540440375307</c:v>
                </c:pt>
                <c:pt idx="2770">
                  <c:v>88.247418594050686</c:v>
                </c:pt>
                <c:pt idx="2771">
                  <c:v>89.735814654062196</c:v>
                </c:pt>
                <c:pt idx="2772">
                  <c:v>89.521771012942025</c:v>
                </c:pt>
                <c:pt idx="2773">
                  <c:v>89.666448659254726</c:v>
                </c:pt>
                <c:pt idx="2774">
                  <c:v>90.500822482510202</c:v>
                </c:pt>
                <c:pt idx="2775">
                  <c:v>90.859543769943059</c:v>
                </c:pt>
                <c:pt idx="2776">
                  <c:v>91.176645460491429</c:v>
                </c:pt>
                <c:pt idx="2777">
                  <c:v>91.259884654260404</c:v>
                </c:pt>
                <c:pt idx="2778">
                  <c:v>91.52942109122651</c:v>
                </c:pt>
                <c:pt idx="2779">
                  <c:v>91.749410389044471</c:v>
                </c:pt>
                <c:pt idx="2780">
                  <c:v>91.38276155934787</c:v>
                </c:pt>
                <c:pt idx="2781">
                  <c:v>91.737519075648905</c:v>
                </c:pt>
                <c:pt idx="2782">
                  <c:v>91.349069504727126</c:v>
                </c:pt>
                <c:pt idx="2783">
                  <c:v>91.997146084785399</c:v>
                </c:pt>
                <c:pt idx="2784">
                  <c:v>92.900885902848287</c:v>
                </c:pt>
                <c:pt idx="2785">
                  <c:v>93.013853380106156</c:v>
                </c:pt>
                <c:pt idx="2786">
                  <c:v>93.116911429534369</c:v>
                </c:pt>
                <c:pt idx="2787">
                  <c:v>93.007907723408351</c:v>
                </c:pt>
                <c:pt idx="2788">
                  <c:v>92.26470063618558</c:v>
                </c:pt>
                <c:pt idx="2789">
                  <c:v>92.464871078344245</c:v>
                </c:pt>
                <c:pt idx="2790">
                  <c:v>92.748280714271871</c:v>
                </c:pt>
                <c:pt idx="2791">
                  <c:v>91.557167489149506</c:v>
                </c:pt>
                <c:pt idx="2792">
                  <c:v>91.156826604832133</c:v>
                </c:pt>
                <c:pt idx="2793">
                  <c:v>91.890124264225307</c:v>
                </c:pt>
                <c:pt idx="2794">
                  <c:v>92.669005291634747</c:v>
                </c:pt>
                <c:pt idx="2795">
                  <c:v>92.702697346255519</c:v>
                </c:pt>
                <c:pt idx="2796">
                  <c:v>93.037636006897273</c:v>
                </c:pt>
                <c:pt idx="2797">
                  <c:v>92.883048932754875</c:v>
                </c:pt>
                <c:pt idx="2798">
                  <c:v>92.050656995065395</c:v>
                </c:pt>
                <c:pt idx="2799">
                  <c:v>93.208078165567002</c:v>
                </c:pt>
                <c:pt idx="2800">
                  <c:v>94.468557385496879</c:v>
                </c:pt>
                <c:pt idx="2801">
                  <c:v>93.895792456943823</c:v>
                </c:pt>
                <c:pt idx="2802">
                  <c:v>93.80462572091119</c:v>
                </c:pt>
                <c:pt idx="2803">
                  <c:v>93.91561131260309</c:v>
                </c:pt>
                <c:pt idx="2804">
                  <c:v>94.789622847177114</c:v>
                </c:pt>
                <c:pt idx="2805">
                  <c:v>93.485542144796838</c:v>
                </c:pt>
                <c:pt idx="2806">
                  <c:v>92.383613770141196</c:v>
                </c:pt>
                <c:pt idx="2807">
                  <c:v>93.003943952276472</c:v>
                </c:pt>
                <c:pt idx="2808">
                  <c:v>93.24771587688555</c:v>
                </c:pt>
                <c:pt idx="2809">
                  <c:v>92.621440038052469</c:v>
                </c:pt>
                <c:pt idx="2810">
                  <c:v>93.441940662346482</c:v>
                </c:pt>
                <c:pt idx="2811">
                  <c:v>93.580672651961351</c:v>
                </c:pt>
                <c:pt idx="2812">
                  <c:v>92.778008997760736</c:v>
                </c:pt>
                <c:pt idx="2813">
                  <c:v>92.64324077927769</c:v>
                </c:pt>
                <c:pt idx="2814">
                  <c:v>94.016687476465378</c:v>
                </c:pt>
                <c:pt idx="2815">
                  <c:v>94.18118397843736</c:v>
                </c:pt>
                <c:pt idx="2816">
                  <c:v>94.317934082486332</c:v>
                </c:pt>
                <c:pt idx="2817">
                  <c:v>94.615216917375463</c:v>
                </c:pt>
                <c:pt idx="2818">
                  <c:v>95.554630675625077</c:v>
                </c:pt>
                <c:pt idx="2819">
                  <c:v>95.495174108647262</c:v>
                </c:pt>
                <c:pt idx="2820">
                  <c:v>95.156271676873658</c:v>
                </c:pt>
                <c:pt idx="2821">
                  <c:v>94.967992548110587</c:v>
                </c:pt>
                <c:pt idx="2822">
                  <c:v>95.3703153179938</c:v>
                </c:pt>
                <c:pt idx="2823">
                  <c:v>95.740927918822265</c:v>
                </c:pt>
                <c:pt idx="2824">
                  <c:v>95.849931624948297</c:v>
                </c:pt>
                <c:pt idx="2825">
                  <c:v>96.274055136056745</c:v>
                </c:pt>
                <c:pt idx="2826">
                  <c:v>96.422696553501297</c:v>
                </c:pt>
                <c:pt idx="2827">
                  <c:v>96.385040727748688</c:v>
                </c:pt>
                <c:pt idx="2828">
                  <c:v>95.106724537725498</c:v>
                </c:pt>
                <c:pt idx="2829">
                  <c:v>94.512158867947292</c:v>
                </c:pt>
                <c:pt idx="2830">
                  <c:v>93.53310739837913</c:v>
                </c:pt>
                <c:pt idx="2831">
                  <c:v>92.976197554353519</c:v>
                </c:pt>
                <c:pt idx="2832">
                  <c:v>94.153437580514378</c:v>
                </c:pt>
                <c:pt idx="2833">
                  <c:v>94.932318607923861</c:v>
                </c:pt>
                <c:pt idx="2834">
                  <c:v>94.327843510316001</c:v>
                </c:pt>
                <c:pt idx="2835">
                  <c:v>93.73129595497187</c:v>
                </c:pt>
                <c:pt idx="2836">
                  <c:v>94.042451988822464</c:v>
                </c:pt>
                <c:pt idx="2837">
                  <c:v>93.487524030362806</c:v>
                </c:pt>
                <c:pt idx="2838">
                  <c:v>93.097092573875102</c:v>
                </c:pt>
                <c:pt idx="2839">
                  <c:v>93.457795746873884</c:v>
                </c:pt>
                <c:pt idx="2840">
                  <c:v>93.311136214995273</c:v>
                </c:pt>
                <c:pt idx="2841">
                  <c:v>92.219117268169256</c:v>
                </c:pt>
                <c:pt idx="2842">
                  <c:v>91.402580415007137</c:v>
                </c:pt>
                <c:pt idx="2843">
                  <c:v>90.435420258834554</c:v>
                </c:pt>
                <c:pt idx="2844">
                  <c:v>88.384168698099657</c:v>
                </c:pt>
                <c:pt idx="2845">
                  <c:v>87.038468398834908</c:v>
                </c:pt>
                <c:pt idx="2846">
                  <c:v>88.66956021959318</c:v>
                </c:pt>
                <c:pt idx="2847">
                  <c:v>88.851893691658532</c:v>
                </c:pt>
                <c:pt idx="2848">
                  <c:v>90.413619517609334</c:v>
                </c:pt>
                <c:pt idx="2849">
                  <c:v>90.2372317022418</c:v>
                </c:pt>
                <c:pt idx="2850">
                  <c:v>90.685137840141365</c:v>
                </c:pt>
                <c:pt idx="2851">
                  <c:v>91.580950115940581</c:v>
                </c:pt>
                <c:pt idx="2852">
                  <c:v>91.678062508671019</c:v>
                </c:pt>
                <c:pt idx="2853">
                  <c:v>91.759319816874068</c:v>
                </c:pt>
                <c:pt idx="2854">
                  <c:v>91.846522781774894</c:v>
                </c:pt>
                <c:pt idx="2855">
                  <c:v>92.544146500981341</c:v>
                </c:pt>
                <c:pt idx="2856">
                  <c:v>91.668153080841421</c:v>
                </c:pt>
                <c:pt idx="2857">
                  <c:v>93.055472976990586</c:v>
                </c:pt>
                <c:pt idx="2858">
                  <c:v>93.18231365320996</c:v>
                </c:pt>
                <c:pt idx="2859">
                  <c:v>93.400321065461981</c:v>
                </c:pt>
                <c:pt idx="2860">
                  <c:v>93.634183562241432</c:v>
                </c:pt>
                <c:pt idx="2861">
                  <c:v>93.382484095368653</c:v>
                </c:pt>
                <c:pt idx="2862">
                  <c:v>93.701567671482962</c:v>
                </c:pt>
                <c:pt idx="2863">
                  <c:v>93.477614602533166</c:v>
                </c:pt>
                <c:pt idx="2864">
                  <c:v>91.898051806488979</c:v>
                </c:pt>
                <c:pt idx="2865">
                  <c:v>92.58774798343174</c:v>
                </c:pt>
                <c:pt idx="2866">
                  <c:v>92.21118972590557</c:v>
                </c:pt>
                <c:pt idx="2867">
                  <c:v>92.478744277305751</c:v>
                </c:pt>
                <c:pt idx="2868">
                  <c:v>90.966565590503123</c:v>
                </c:pt>
                <c:pt idx="2869">
                  <c:v>91.438254355193862</c:v>
                </c:pt>
                <c:pt idx="2870">
                  <c:v>93.015835265672095</c:v>
                </c:pt>
                <c:pt idx="2871">
                  <c:v>93.541034940642888</c:v>
                </c:pt>
                <c:pt idx="2872">
                  <c:v>93.81651703430677</c:v>
                </c:pt>
                <c:pt idx="2873">
                  <c:v>94.157401351646271</c:v>
                </c:pt>
                <c:pt idx="2874">
                  <c:v>94.466575499930983</c:v>
                </c:pt>
                <c:pt idx="2875">
                  <c:v>94.783677190479338</c:v>
                </c:pt>
                <c:pt idx="2876">
                  <c:v>94.882771468775715</c:v>
                </c:pt>
                <c:pt idx="2877">
                  <c:v>94.424955903046495</c:v>
                </c:pt>
                <c:pt idx="2878">
                  <c:v>93.190241195473689</c:v>
                </c:pt>
                <c:pt idx="2879">
                  <c:v>93.005925837842454</c:v>
                </c:pt>
                <c:pt idx="2880">
                  <c:v>94.276314485601944</c:v>
                </c:pt>
                <c:pt idx="2881">
                  <c:v>94.012723705333613</c:v>
                </c:pt>
                <c:pt idx="2882">
                  <c:v>94.866916384248327</c:v>
                </c:pt>
                <c:pt idx="2883">
                  <c:v>95.203836930455964</c:v>
                </c:pt>
                <c:pt idx="2884">
                  <c:v>94.563687892661392</c:v>
                </c:pt>
                <c:pt idx="2885">
                  <c:v>94.171274550607777</c:v>
                </c:pt>
                <c:pt idx="2886">
                  <c:v>94.093981013536578</c:v>
                </c:pt>
                <c:pt idx="2887">
                  <c:v>93.14267594189144</c:v>
                </c:pt>
                <c:pt idx="2888">
                  <c:v>93.471668945835404</c:v>
                </c:pt>
                <c:pt idx="2889">
                  <c:v>94.091999127970695</c:v>
                </c:pt>
                <c:pt idx="2890">
                  <c:v>94.028578789860987</c:v>
                </c:pt>
                <c:pt idx="2891">
                  <c:v>92.494599361833181</c:v>
                </c:pt>
                <c:pt idx="2892">
                  <c:v>92.702697346255533</c:v>
                </c:pt>
                <c:pt idx="2893">
                  <c:v>93.380502209802742</c:v>
                </c:pt>
                <c:pt idx="2894">
                  <c:v>93.323027528390853</c:v>
                </c:pt>
                <c:pt idx="2895">
                  <c:v>93.977049765146916</c:v>
                </c:pt>
                <c:pt idx="2896">
                  <c:v>93.899756228075731</c:v>
                </c:pt>
                <c:pt idx="2897">
                  <c:v>94.680619141051139</c:v>
                </c:pt>
                <c:pt idx="2898">
                  <c:v>93.873991715718688</c:v>
                </c:pt>
                <c:pt idx="2899">
                  <c:v>92.627385694750316</c:v>
                </c:pt>
                <c:pt idx="2900">
                  <c:v>92.292447034108591</c:v>
                </c:pt>
                <c:pt idx="2901">
                  <c:v>91.796975642626748</c:v>
                </c:pt>
                <c:pt idx="2902">
                  <c:v>91.697881364330371</c:v>
                </c:pt>
                <c:pt idx="2903">
                  <c:v>90.736666864855565</c:v>
                </c:pt>
                <c:pt idx="2904">
                  <c:v>91.668153080841464</c:v>
                </c:pt>
                <c:pt idx="2905">
                  <c:v>90.461184771191668</c:v>
                </c:pt>
                <c:pt idx="2906">
                  <c:v>90.663337098916259</c:v>
                </c:pt>
                <c:pt idx="2907">
                  <c:v>91.376815902650108</c:v>
                </c:pt>
                <c:pt idx="2908">
                  <c:v>90.409655746477569</c:v>
                </c:pt>
                <c:pt idx="2909">
                  <c:v>89.999405434330598</c:v>
                </c:pt>
                <c:pt idx="2910">
                  <c:v>90.15002873734106</c:v>
                </c:pt>
                <c:pt idx="2911">
                  <c:v>89.69221317161184</c:v>
                </c:pt>
                <c:pt idx="2912">
                  <c:v>90.984402560596507</c:v>
                </c:pt>
                <c:pt idx="2913">
                  <c:v>90.482985512416874</c:v>
                </c:pt>
                <c:pt idx="2914">
                  <c:v>89.216560635789264</c:v>
                </c:pt>
                <c:pt idx="2915">
                  <c:v>89.105575044097307</c:v>
                </c:pt>
                <c:pt idx="2916">
                  <c:v>89.115484471926948</c:v>
                </c:pt>
                <c:pt idx="2917">
                  <c:v>89.533662326337634</c:v>
                </c:pt>
                <c:pt idx="2918">
                  <c:v>91.08349683889287</c:v>
                </c:pt>
                <c:pt idx="2919">
                  <c:v>92.118041104307011</c:v>
                </c:pt>
                <c:pt idx="2920">
                  <c:v>92.821610480211277</c:v>
                </c:pt>
                <c:pt idx="2921">
                  <c:v>93.033672235765479</c:v>
                </c:pt>
                <c:pt idx="2922">
                  <c:v>93.073309947083999</c:v>
                </c:pt>
                <c:pt idx="2923">
                  <c:v>92.795845967854177</c:v>
                </c:pt>
                <c:pt idx="2924">
                  <c:v>93.188259309907806</c:v>
                </c:pt>
                <c:pt idx="2925">
                  <c:v>92.462889192778363</c:v>
                </c:pt>
                <c:pt idx="2926">
                  <c:v>91.158808490398101</c:v>
                </c:pt>
                <c:pt idx="2927">
                  <c:v>90.572170362883554</c:v>
                </c:pt>
                <c:pt idx="2928">
                  <c:v>91.184573002755158</c:v>
                </c:pt>
                <c:pt idx="2929">
                  <c:v>90.42154705987312</c:v>
                </c:pt>
                <c:pt idx="2930">
                  <c:v>90.161920050736612</c:v>
                </c:pt>
                <c:pt idx="2931">
                  <c:v>88.536773886676116</c:v>
                </c:pt>
                <c:pt idx="2932">
                  <c:v>89.2720534316352</c:v>
                </c:pt>
                <c:pt idx="2933">
                  <c:v>90.447311572230163</c:v>
                </c:pt>
                <c:pt idx="2934">
                  <c:v>91.376815902650094</c:v>
                </c:pt>
                <c:pt idx="2935">
                  <c:v>91.896069920923125</c:v>
                </c:pt>
                <c:pt idx="2936">
                  <c:v>91.650316110748093</c:v>
                </c:pt>
                <c:pt idx="2937">
                  <c:v>91.244029569733016</c:v>
                </c:pt>
                <c:pt idx="2938">
                  <c:v>90.233267931110021</c:v>
                </c:pt>
                <c:pt idx="2939">
                  <c:v>90.247141130071512</c:v>
                </c:pt>
                <c:pt idx="2940">
                  <c:v>89.630774719068057</c:v>
                </c:pt>
                <c:pt idx="2941">
                  <c:v>88.552628971203546</c:v>
                </c:pt>
                <c:pt idx="2942">
                  <c:v>86.85018927007188</c:v>
                </c:pt>
                <c:pt idx="2943">
                  <c:v>85.23098876270916</c:v>
                </c:pt>
                <c:pt idx="2944">
                  <c:v>82.258160413818032</c:v>
                </c:pt>
                <c:pt idx="2945">
                  <c:v>80.81138395069101</c:v>
                </c:pt>
                <c:pt idx="2946">
                  <c:v>77.463979229839595</c:v>
                </c:pt>
                <c:pt idx="2947">
                  <c:v>78.554016291099671</c:v>
                </c:pt>
                <c:pt idx="2948">
                  <c:v>75.650553937015985</c:v>
                </c:pt>
                <c:pt idx="2949">
                  <c:v>77.551182194740392</c:v>
                </c:pt>
                <c:pt idx="2950">
                  <c:v>80.385278554016608</c:v>
                </c:pt>
                <c:pt idx="2951">
                  <c:v>80.506173573538192</c:v>
                </c:pt>
                <c:pt idx="2952">
                  <c:v>80.409061180807782</c:v>
                </c:pt>
                <c:pt idx="2953">
                  <c:v>80.625086707493821</c:v>
                </c:pt>
                <c:pt idx="2954">
                  <c:v>76.780228709594638</c:v>
                </c:pt>
                <c:pt idx="2955">
                  <c:v>75.571278514378889</c:v>
                </c:pt>
                <c:pt idx="2956">
                  <c:v>76.171789840854885</c:v>
                </c:pt>
                <c:pt idx="2957">
                  <c:v>76.760409853935371</c:v>
                </c:pt>
                <c:pt idx="2958">
                  <c:v>77.834591830668032</c:v>
                </c:pt>
                <c:pt idx="2959">
                  <c:v>76.913015042511802</c:v>
                </c:pt>
                <c:pt idx="2960">
                  <c:v>76.389797253106934</c:v>
                </c:pt>
                <c:pt idx="2961">
                  <c:v>77.323265354658758</c:v>
                </c:pt>
                <c:pt idx="2962">
                  <c:v>78.123947123293433</c:v>
                </c:pt>
                <c:pt idx="2963">
                  <c:v>80.426898150901096</c:v>
                </c:pt>
                <c:pt idx="2964">
                  <c:v>80.9362427413445</c:v>
                </c:pt>
                <c:pt idx="2965">
                  <c:v>78.96228471768076</c:v>
                </c:pt>
                <c:pt idx="2966">
                  <c:v>75.706046732861964</c:v>
                </c:pt>
                <c:pt idx="2967">
                  <c:v>75.210575341380135</c:v>
                </c:pt>
                <c:pt idx="2968">
                  <c:v>77.572982935965598</c:v>
                </c:pt>
                <c:pt idx="2969">
                  <c:v>78.123947123293433</c:v>
                </c:pt>
                <c:pt idx="2970">
                  <c:v>76.134134015102333</c:v>
                </c:pt>
                <c:pt idx="2971">
                  <c:v>74.215668787284571</c:v>
                </c:pt>
                <c:pt idx="2972">
                  <c:v>74.873654795172484</c:v>
                </c:pt>
                <c:pt idx="2973">
                  <c:v>75.997383911053333</c:v>
                </c:pt>
                <c:pt idx="2974">
                  <c:v>77.531363339081139</c:v>
                </c:pt>
                <c:pt idx="2975">
                  <c:v>78.030798501694832</c:v>
                </c:pt>
                <c:pt idx="2976">
                  <c:v>76.298630517074272</c:v>
                </c:pt>
                <c:pt idx="2977">
                  <c:v>77.703787383316822</c:v>
                </c:pt>
                <c:pt idx="2978">
                  <c:v>76.431416849991422</c:v>
                </c:pt>
                <c:pt idx="2979">
                  <c:v>72.887805458113192</c:v>
                </c:pt>
                <c:pt idx="2980">
                  <c:v>73.331747824880892</c:v>
                </c:pt>
                <c:pt idx="2981">
                  <c:v>74.719067721030129</c:v>
                </c:pt>
                <c:pt idx="2982">
                  <c:v>77.985215133678523</c:v>
                </c:pt>
                <c:pt idx="2983">
                  <c:v>77.13894999702751</c:v>
                </c:pt>
                <c:pt idx="2984">
                  <c:v>77.652258358602694</c:v>
                </c:pt>
                <c:pt idx="2985">
                  <c:v>76.738609112710179</c:v>
                </c:pt>
                <c:pt idx="2986">
                  <c:v>75.87054323483396</c:v>
                </c:pt>
                <c:pt idx="2987">
                  <c:v>73.779653962780529</c:v>
                </c:pt>
                <c:pt idx="2988">
                  <c:v>76.052876706899269</c:v>
                </c:pt>
                <c:pt idx="2989">
                  <c:v>78.129892779991238</c:v>
                </c:pt>
                <c:pt idx="2990">
                  <c:v>78.710585250807995</c:v>
                </c:pt>
                <c:pt idx="2991">
                  <c:v>80.05430366450679</c:v>
                </c:pt>
                <c:pt idx="2992">
                  <c:v>79.830350595556965</c:v>
                </c:pt>
                <c:pt idx="2993">
                  <c:v>81.164159581426162</c:v>
                </c:pt>
                <c:pt idx="2994">
                  <c:v>80.272311076758754</c:v>
                </c:pt>
                <c:pt idx="2995">
                  <c:v>80.942188398042276</c:v>
                </c:pt>
                <c:pt idx="2996">
                  <c:v>80.181144340726121</c:v>
                </c:pt>
                <c:pt idx="2997">
                  <c:v>79.877915849139242</c:v>
                </c:pt>
                <c:pt idx="2998">
                  <c:v>80.351586499395893</c:v>
                </c:pt>
                <c:pt idx="2999">
                  <c:v>79.114889906257176</c:v>
                </c:pt>
                <c:pt idx="3000">
                  <c:v>81.106684900014244</c:v>
                </c:pt>
                <c:pt idx="3001">
                  <c:v>82.161048021087623</c:v>
                </c:pt>
                <c:pt idx="3002">
                  <c:v>81.570446122441226</c:v>
                </c:pt>
                <c:pt idx="3003">
                  <c:v>81.748815823374713</c:v>
                </c:pt>
                <c:pt idx="3004">
                  <c:v>84.674078918683577</c:v>
                </c:pt>
                <c:pt idx="3005">
                  <c:v>84.533365043502769</c:v>
                </c:pt>
                <c:pt idx="3006">
                  <c:v>82.662465069267284</c:v>
                </c:pt>
                <c:pt idx="3007">
                  <c:v>79.800622312068043</c:v>
                </c:pt>
                <c:pt idx="3008">
                  <c:v>80.591394652873106</c:v>
                </c:pt>
                <c:pt idx="3009">
                  <c:v>82.281943040609221</c:v>
                </c:pt>
                <c:pt idx="3010">
                  <c:v>81.45351487405155</c:v>
                </c:pt>
                <c:pt idx="3011">
                  <c:v>81.047228333036429</c:v>
                </c:pt>
                <c:pt idx="3012">
                  <c:v>81.746833937808816</c:v>
                </c:pt>
                <c:pt idx="3013">
                  <c:v>80.347622728264056</c:v>
                </c:pt>
                <c:pt idx="3014">
                  <c:v>80.024575381017883</c:v>
                </c:pt>
                <c:pt idx="3015">
                  <c:v>81.941058723269691</c:v>
                </c:pt>
                <c:pt idx="3016">
                  <c:v>81.084884158789038</c:v>
                </c:pt>
                <c:pt idx="3017">
                  <c:v>80.595358424004971</c:v>
                </c:pt>
                <c:pt idx="3018">
                  <c:v>80.636978020889444</c:v>
                </c:pt>
                <c:pt idx="3019">
                  <c:v>79.596488098777556</c:v>
                </c:pt>
                <c:pt idx="3020">
                  <c:v>78.988049230037831</c:v>
                </c:pt>
                <c:pt idx="3021">
                  <c:v>76.477000218007774</c:v>
                </c:pt>
                <c:pt idx="3022">
                  <c:v>75.971619398696276</c:v>
                </c:pt>
                <c:pt idx="3023">
                  <c:v>74.988604157996278</c:v>
                </c:pt>
                <c:pt idx="3024">
                  <c:v>74.87563668073841</c:v>
                </c:pt>
                <c:pt idx="3025">
                  <c:v>75.404800126841039</c:v>
                </c:pt>
                <c:pt idx="3026">
                  <c:v>78.23295082941948</c:v>
                </c:pt>
                <c:pt idx="3027">
                  <c:v>78.861208553818472</c:v>
                </c:pt>
                <c:pt idx="3028">
                  <c:v>81.742870166676937</c:v>
                </c:pt>
                <c:pt idx="3029">
                  <c:v>81.199833521612831</c:v>
                </c:pt>
                <c:pt idx="3030">
                  <c:v>81.962859464494912</c:v>
                </c:pt>
                <c:pt idx="3031">
                  <c:v>82.648591870305808</c:v>
                </c:pt>
                <c:pt idx="3032">
                  <c:v>82.369146005510046</c:v>
                </c:pt>
                <c:pt idx="3033">
                  <c:v>82.210595160235869</c:v>
                </c:pt>
                <c:pt idx="3034">
                  <c:v>80.940206512476351</c:v>
                </c:pt>
                <c:pt idx="3035">
                  <c:v>81.895475355253367</c:v>
                </c:pt>
                <c:pt idx="3036">
                  <c:v>80.383296668450754</c:v>
                </c:pt>
                <c:pt idx="3037">
                  <c:v>80.809402065125155</c:v>
                </c:pt>
                <c:pt idx="3038">
                  <c:v>79.156509503141649</c:v>
                </c:pt>
                <c:pt idx="3039">
                  <c:v>79.937372416117071</c:v>
                </c:pt>
                <c:pt idx="3040">
                  <c:v>79.590542442079752</c:v>
                </c:pt>
                <c:pt idx="3041">
                  <c:v>79.622252611134599</c:v>
                </c:pt>
                <c:pt idx="3042">
                  <c:v>81.243435004063244</c:v>
                </c:pt>
                <c:pt idx="3043">
                  <c:v>80.829220920784408</c:v>
                </c:pt>
                <c:pt idx="3044">
                  <c:v>81.679449828567272</c:v>
                </c:pt>
                <c:pt idx="3045">
                  <c:v>82.386982975603388</c:v>
                </c:pt>
                <c:pt idx="3046">
                  <c:v>82.404819945696758</c:v>
                </c:pt>
                <c:pt idx="3047">
                  <c:v>81.828091246011837</c:v>
                </c:pt>
                <c:pt idx="3048">
                  <c:v>82.597062845591708</c:v>
                </c:pt>
                <c:pt idx="3049">
                  <c:v>83.308559763759646</c:v>
                </c:pt>
                <c:pt idx="3050">
                  <c:v>84.198426382861058</c:v>
                </c:pt>
                <c:pt idx="3051">
                  <c:v>85.538181025428017</c:v>
                </c:pt>
                <c:pt idx="3052">
                  <c:v>85.048655290643964</c:v>
                </c:pt>
                <c:pt idx="3053">
                  <c:v>84.287611233327823</c:v>
                </c:pt>
                <c:pt idx="3054">
                  <c:v>84.337158372475997</c:v>
                </c:pt>
                <c:pt idx="3055">
                  <c:v>83.958618229383873</c:v>
                </c:pt>
                <c:pt idx="3056">
                  <c:v>85.47476068731838</c:v>
                </c:pt>
                <c:pt idx="3057">
                  <c:v>85.169550310165519</c:v>
                </c:pt>
                <c:pt idx="3058">
                  <c:v>85.024872663852818</c:v>
                </c:pt>
                <c:pt idx="3059">
                  <c:v>84.915868957726801</c:v>
                </c:pt>
                <c:pt idx="3060">
                  <c:v>85.591691935708099</c:v>
                </c:pt>
                <c:pt idx="3061">
                  <c:v>86.324989595101229</c:v>
                </c:pt>
                <c:pt idx="3062">
                  <c:v>86.412192560002055</c:v>
                </c:pt>
                <c:pt idx="3063">
                  <c:v>87.464573795509523</c:v>
                </c:pt>
                <c:pt idx="3064">
                  <c:v>87.21881998533452</c:v>
                </c:pt>
                <c:pt idx="3065">
                  <c:v>87.617178984085911</c:v>
                </c:pt>
                <c:pt idx="3066">
                  <c:v>87.288185980141961</c:v>
                </c:pt>
                <c:pt idx="3067">
                  <c:v>86.957211090632086</c:v>
                </c:pt>
                <c:pt idx="3068">
                  <c:v>87.950135759161711</c:v>
                </c:pt>
                <c:pt idx="3069">
                  <c:v>87.113780050340338</c:v>
                </c:pt>
                <c:pt idx="3070">
                  <c:v>86.128782924074372</c:v>
                </c:pt>
                <c:pt idx="3071">
                  <c:v>86.776859504132673</c:v>
                </c:pt>
                <c:pt idx="3072">
                  <c:v>88.518936916582874</c:v>
                </c:pt>
                <c:pt idx="3073">
                  <c:v>88.723071129873418</c:v>
                </c:pt>
                <c:pt idx="3074">
                  <c:v>90.251104901203476</c:v>
                </c:pt>
                <c:pt idx="3075">
                  <c:v>90.140119309511533</c:v>
                </c:pt>
                <c:pt idx="3076">
                  <c:v>89.898329270468381</c:v>
                </c:pt>
                <c:pt idx="3077">
                  <c:v>89.715995798403057</c:v>
                </c:pt>
                <c:pt idx="3078">
                  <c:v>89.928057553957288</c:v>
                </c:pt>
                <c:pt idx="3079">
                  <c:v>89.113502586361108</c:v>
                </c:pt>
                <c:pt idx="3080">
                  <c:v>89.771488594248993</c:v>
                </c:pt>
                <c:pt idx="3081">
                  <c:v>89.563390609826612</c:v>
                </c:pt>
                <c:pt idx="3082">
                  <c:v>90.20948530431896</c:v>
                </c:pt>
                <c:pt idx="3083">
                  <c:v>90.261014329033088</c:v>
                </c:pt>
                <c:pt idx="3084">
                  <c:v>90.815942287492732</c:v>
                </c:pt>
                <c:pt idx="3085">
                  <c:v>91.580950115940738</c:v>
                </c:pt>
                <c:pt idx="3086">
                  <c:v>91.109261351250012</c:v>
                </c:pt>
                <c:pt idx="3087">
                  <c:v>90.375963691856853</c:v>
                </c:pt>
                <c:pt idx="3088">
                  <c:v>90.199575876489277</c:v>
                </c:pt>
                <c:pt idx="3089">
                  <c:v>90.435420258834682</c:v>
                </c:pt>
                <c:pt idx="3090">
                  <c:v>90.179757020830024</c:v>
                </c:pt>
                <c:pt idx="3091">
                  <c:v>90.342271637236081</c:v>
                </c:pt>
                <c:pt idx="3092">
                  <c:v>90.377945577422764</c:v>
                </c:pt>
                <c:pt idx="3093">
                  <c:v>91.317359335672407</c:v>
                </c:pt>
                <c:pt idx="3094">
                  <c:v>91.366906474820581</c:v>
                </c:pt>
                <c:pt idx="3095">
                  <c:v>90.804050974097223</c:v>
                </c:pt>
                <c:pt idx="3096">
                  <c:v>88.378223041402023</c:v>
                </c:pt>
                <c:pt idx="3097">
                  <c:v>88.998553223537314</c:v>
                </c:pt>
                <c:pt idx="3098">
                  <c:v>90.433438373268743</c:v>
                </c:pt>
                <c:pt idx="3099">
                  <c:v>90.879362625602411</c:v>
                </c:pt>
                <c:pt idx="3100">
                  <c:v>90.681174069009685</c:v>
                </c:pt>
                <c:pt idx="3101">
                  <c:v>92.290465148542765</c:v>
                </c:pt>
                <c:pt idx="3102">
                  <c:v>92.571892898904437</c:v>
                </c:pt>
                <c:pt idx="3103">
                  <c:v>92.817646709079469</c:v>
                </c:pt>
                <c:pt idx="3104">
                  <c:v>93.303208672731657</c:v>
                </c:pt>
                <c:pt idx="3105">
                  <c:v>93.204114394435294</c:v>
                </c:pt>
                <c:pt idx="3106">
                  <c:v>92.141823731098214</c:v>
                </c:pt>
                <c:pt idx="3107">
                  <c:v>92.060566422895164</c:v>
                </c:pt>
                <c:pt idx="3108">
                  <c:v>90.980438789464699</c:v>
                </c:pt>
                <c:pt idx="3109">
                  <c:v>91.04584101314029</c:v>
                </c:pt>
                <c:pt idx="3110">
                  <c:v>91.896069920923196</c:v>
                </c:pt>
                <c:pt idx="3111">
                  <c:v>91.487801494342136</c:v>
                </c:pt>
                <c:pt idx="3112">
                  <c:v>90.554333392790284</c:v>
                </c:pt>
                <c:pt idx="3113">
                  <c:v>89.412767306816079</c:v>
                </c:pt>
                <c:pt idx="3114">
                  <c:v>90.30857958261528</c:v>
                </c:pt>
                <c:pt idx="3115">
                  <c:v>91.670134966407431</c:v>
                </c:pt>
                <c:pt idx="3116">
                  <c:v>90.681174069009657</c:v>
                </c:pt>
                <c:pt idx="3117">
                  <c:v>88.804328438076368</c:v>
                </c:pt>
                <c:pt idx="3118">
                  <c:v>88.947024198823158</c:v>
                </c:pt>
                <c:pt idx="3119">
                  <c:v>86.723348593852535</c:v>
                </c:pt>
                <c:pt idx="3120">
                  <c:v>87.375388945042673</c:v>
                </c:pt>
                <c:pt idx="3121">
                  <c:v>88.390114354797532</c:v>
                </c:pt>
                <c:pt idx="3122">
                  <c:v>87.068196682323943</c:v>
                </c:pt>
                <c:pt idx="3123">
                  <c:v>87.387280258438253</c:v>
                </c:pt>
                <c:pt idx="3124">
                  <c:v>89.188814237866268</c:v>
                </c:pt>
                <c:pt idx="3125">
                  <c:v>88.620013080445133</c:v>
                </c:pt>
                <c:pt idx="3126">
                  <c:v>88.219672196127789</c:v>
                </c:pt>
                <c:pt idx="3127">
                  <c:v>88.69730661751629</c:v>
                </c:pt>
                <c:pt idx="3128">
                  <c:v>86.689656539231819</c:v>
                </c:pt>
                <c:pt idx="3129">
                  <c:v>87.603305785124348</c:v>
                </c:pt>
                <c:pt idx="3130">
                  <c:v>88.56253839903323</c:v>
                </c:pt>
                <c:pt idx="3131">
                  <c:v>88.669560219593308</c:v>
                </c:pt>
                <c:pt idx="3132">
                  <c:v>89.373129595497545</c:v>
                </c:pt>
                <c:pt idx="3133">
                  <c:v>88.818201637037873</c:v>
                </c:pt>
                <c:pt idx="3134">
                  <c:v>89.194759894564058</c:v>
                </c:pt>
                <c:pt idx="3135">
                  <c:v>88.893513288543119</c:v>
                </c:pt>
                <c:pt idx="3136">
                  <c:v>88.954951741086873</c:v>
                </c:pt>
                <c:pt idx="3137">
                  <c:v>87.484392651168704</c:v>
                </c:pt>
                <c:pt idx="3138">
                  <c:v>88.142378659056575</c:v>
                </c:pt>
                <c:pt idx="3139">
                  <c:v>86.695602195929567</c:v>
                </c:pt>
                <c:pt idx="3140">
                  <c:v>86.491467982639065</c:v>
                </c:pt>
                <c:pt idx="3141">
                  <c:v>87.054323483362467</c:v>
                </c:pt>
                <c:pt idx="3142">
                  <c:v>87.389262144004178</c:v>
                </c:pt>
                <c:pt idx="3143">
                  <c:v>85.821590661355586</c:v>
                </c:pt>
                <c:pt idx="3144">
                  <c:v>85.246843847236633</c:v>
                </c:pt>
                <c:pt idx="3145">
                  <c:v>84.828665992825918</c:v>
                </c:pt>
                <c:pt idx="3146">
                  <c:v>83.883306577878528</c:v>
                </c:pt>
                <c:pt idx="3147">
                  <c:v>82.98947618764528</c:v>
                </c:pt>
                <c:pt idx="3148">
                  <c:v>83.492875121390853</c:v>
                </c:pt>
                <c:pt idx="3149">
                  <c:v>85.102166200923918</c:v>
                </c:pt>
                <c:pt idx="3150">
                  <c:v>83.282795251402533</c:v>
                </c:pt>
                <c:pt idx="3151">
                  <c:v>84.13302415918541</c:v>
                </c:pt>
                <c:pt idx="3152">
                  <c:v>84.362922884832983</c:v>
                </c:pt>
                <c:pt idx="3153">
                  <c:v>84.360940999267086</c:v>
                </c:pt>
                <c:pt idx="3154">
                  <c:v>85.003071922627527</c:v>
                </c:pt>
                <c:pt idx="3155">
                  <c:v>83.748538359395482</c:v>
                </c:pt>
                <c:pt idx="3156">
                  <c:v>83.46116495233602</c:v>
                </c:pt>
                <c:pt idx="3157">
                  <c:v>81.861783300632553</c:v>
                </c:pt>
                <c:pt idx="3158">
                  <c:v>81.441623560655984</c:v>
                </c:pt>
                <c:pt idx="3159">
                  <c:v>81.697286798660599</c:v>
                </c:pt>
                <c:pt idx="3160">
                  <c:v>83.645480309967269</c:v>
                </c:pt>
                <c:pt idx="3161">
                  <c:v>84.58093029708499</c:v>
                </c:pt>
                <c:pt idx="3162">
                  <c:v>84.354995342569268</c:v>
                </c:pt>
                <c:pt idx="3163">
                  <c:v>84.362922884832983</c:v>
                </c:pt>
                <c:pt idx="3164">
                  <c:v>84.894068216501537</c:v>
                </c:pt>
                <c:pt idx="3165">
                  <c:v>84.586875953782766</c:v>
                </c:pt>
                <c:pt idx="3166">
                  <c:v>84.337158372475926</c:v>
                </c:pt>
                <c:pt idx="3167">
                  <c:v>85.161622767901747</c:v>
                </c:pt>
                <c:pt idx="3168">
                  <c:v>85.256753275066274</c:v>
                </c:pt>
                <c:pt idx="3169">
                  <c:v>86.622272429990247</c:v>
                </c:pt>
                <c:pt idx="3170">
                  <c:v>87.12170759260394</c:v>
                </c:pt>
                <c:pt idx="3171">
                  <c:v>86.689656539231791</c:v>
                </c:pt>
              </c:numCache>
            </c:numRef>
          </c:val>
        </c:ser>
        <c:dLbls/>
        <c:marker val="1"/>
        <c:axId val="338569472"/>
        <c:axId val="345571328"/>
      </c:lineChart>
      <c:dateAx>
        <c:axId val="338569472"/>
        <c:scaling>
          <c:orientation val="minMax"/>
        </c:scaling>
        <c:axPos val="b"/>
        <c:numFmt formatCode="yyyy" sourceLinked="0"/>
        <c:majorTickMark val="in"/>
        <c:tickLblPos val="nextTo"/>
        <c:spPr>
          <a:ln w="3156">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45571328"/>
        <c:crosses val="autoZero"/>
        <c:auto val="1"/>
        <c:lblOffset val="100"/>
        <c:baseTimeUnit val="days"/>
        <c:majorUnit val="2"/>
        <c:majorTimeUnit val="years"/>
        <c:minorUnit val="9"/>
        <c:minorTimeUnit val="months"/>
      </c:dateAx>
      <c:valAx>
        <c:axId val="345571328"/>
        <c:scaling>
          <c:orientation val="minMax"/>
        </c:scaling>
        <c:axPos val="l"/>
        <c:majorGridlines>
          <c:spPr>
            <a:ln w="12611">
              <a:solidFill>
                <a:schemeClr val="folHlink"/>
              </a:solidFill>
              <a:prstDash val="solid"/>
            </a:ln>
          </c:spPr>
        </c:majorGridlines>
        <c:numFmt formatCode="General" sourceLinked="1"/>
        <c:tickLblPos val="nextTo"/>
        <c:spPr>
          <a:ln w="9455">
            <a:noFill/>
          </a:ln>
        </c:spPr>
        <c:txPr>
          <a:bodyPr rot="0" vert="horz"/>
          <a:lstStyle/>
          <a:p>
            <a:pPr>
              <a:defRPr sz="1200" b="0" i="0" u="none" strike="noStrike" baseline="0">
                <a:solidFill>
                  <a:schemeClr val="tx1"/>
                </a:solidFill>
                <a:latin typeface="Arial"/>
                <a:ea typeface="Arial"/>
                <a:cs typeface="Arial"/>
              </a:defRPr>
            </a:pPr>
            <a:endParaRPr lang="en-US"/>
          </a:p>
        </c:txPr>
        <c:crossAx val="338569472"/>
        <c:crosses val="autoZero"/>
        <c:crossBetween val="between"/>
      </c:valAx>
      <c:spPr>
        <a:noFill/>
        <a:ln w="25398">
          <a:noFill/>
        </a:ln>
      </c:spPr>
    </c:plotArea>
    <c:plotVisOnly val="1"/>
    <c:dispBlanksAs val="gap"/>
  </c:chart>
  <c:spPr>
    <a:noFill/>
    <a:ln>
      <a:noFill/>
    </a:ln>
  </c:spPr>
  <c:txPr>
    <a:bodyPr/>
    <a:lstStyle/>
    <a:p>
      <a:pPr>
        <a:defRPr sz="1392" b="0" i="0" u="none" strike="noStrike" baseline="0">
          <a:solidFill>
            <a:schemeClr val="tx1"/>
          </a:solidFill>
          <a:latin typeface="Arial"/>
          <a:ea typeface="Arial"/>
          <a:cs typeface="Arial"/>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6.5573770491803282E-2"/>
          <c:y val="6.5462753950338626E-2"/>
          <c:w val="0.92786885245901662"/>
          <c:h val="0.79683972911963874"/>
        </c:manualLayout>
      </c:layout>
      <c:barChart>
        <c:barDir val="col"/>
        <c:grouping val="clustered"/>
        <c:ser>
          <c:idx val="0"/>
          <c:order val="0"/>
          <c:tx>
            <c:strRef>
              <c:f>Sheet1!$B$1</c:f>
              <c:strCache>
                <c:ptCount val="1"/>
                <c:pt idx="0">
                  <c:v>STOXX Europe Maximum Dividend 40</c:v>
                </c:pt>
              </c:strCache>
            </c:strRef>
          </c:tx>
          <c:spPr>
            <a:solidFill>
              <a:schemeClr val="accent1"/>
            </a:solidFill>
            <a:ln w="25217">
              <a:noFill/>
            </a:ln>
          </c:spPr>
          <c:cat>
            <c:numRef>
              <c:f>Sheet1!$A$2:$A$13</c:f>
              <c:numCache>
                <c:formatCode>m/d/yyyy</c:formatCode>
                <c:ptCount val="12"/>
                <c:pt idx="0">
                  <c:v>36889</c:v>
                </c:pt>
                <c:pt idx="1">
                  <c:v>37256</c:v>
                </c:pt>
                <c:pt idx="2">
                  <c:v>37621</c:v>
                </c:pt>
                <c:pt idx="3">
                  <c:v>37986</c:v>
                </c:pt>
                <c:pt idx="4">
                  <c:v>38352</c:v>
                </c:pt>
                <c:pt idx="5">
                  <c:v>38716</c:v>
                </c:pt>
                <c:pt idx="6">
                  <c:v>39080</c:v>
                </c:pt>
                <c:pt idx="7">
                  <c:v>39447</c:v>
                </c:pt>
                <c:pt idx="8">
                  <c:v>39813</c:v>
                </c:pt>
                <c:pt idx="9">
                  <c:v>40178</c:v>
                </c:pt>
                <c:pt idx="10">
                  <c:v>40543</c:v>
                </c:pt>
                <c:pt idx="11">
                  <c:v>40907</c:v>
                </c:pt>
              </c:numCache>
            </c:numRef>
          </c:cat>
          <c:val>
            <c:numRef>
              <c:f>Sheet1!$B$2:$B$13</c:f>
              <c:numCache>
                <c:formatCode>0.0%</c:formatCode>
                <c:ptCount val="12"/>
                <c:pt idx="0">
                  <c:v>8.2400000000000029E-2</c:v>
                </c:pt>
                <c:pt idx="1">
                  <c:v>0.10122881538817519</c:v>
                </c:pt>
                <c:pt idx="2">
                  <c:v>7.684537340357199E-2</c:v>
                </c:pt>
                <c:pt idx="3">
                  <c:v>0.13362532573963556</c:v>
                </c:pt>
                <c:pt idx="4">
                  <c:v>0.11842834823873584</c:v>
                </c:pt>
                <c:pt idx="5">
                  <c:v>0.12047536883788346</c:v>
                </c:pt>
                <c:pt idx="6">
                  <c:v>0.1253846895312494</c:v>
                </c:pt>
                <c:pt idx="7">
                  <c:v>9.2920189517545881E-2</c:v>
                </c:pt>
                <c:pt idx="8">
                  <c:v>9.3630364497578153E-2</c:v>
                </c:pt>
                <c:pt idx="9">
                  <c:v>0.1807415824872359</c:v>
                </c:pt>
                <c:pt idx="10">
                  <c:v>0.13382857941733239</c:v>
                </c:pt>
                <c:pt idx="11">
                  <c:v>0.1041963395407597</c:v>
                </c:pt>
              </c:numCache>
            </c:numRef>
          </c:val>
        </c:ser>
        <c:ser>
          <c:idx val="1"/>
          <c:order val="1"/>
          <c:tx>
            <c:strRef>
              <c:f>Sheet1!$C$1</c:f>
              <c:strCache>
                <c:ptCount val="1"/>
                <c:pt idx="0">
                  <c:v>STOXX 600 Europe</c:v>
                </c:pt>
              </c:strCache>
            </c:strRef>
          </c:tx>
          <c:spPr>
            <a:solidFill>
              <a:schemeClr val="accent2"/>
            </a:solidFill>
            <a:ln w="25217">
              <a:noFill/>
            </a:ln>
          </c:spPr>
          <c:cat>
            <c:numRef>
              <c:f>Sheet1!$A$2:$A$13</c:f>
              <c:numCache>
                <c:formatCode>m/d/yyyy</c:formatCode>
                <c:ptCount val="12"/>
                <c:pt idx="0">
                  <c:v>36889</c:v>
                </c:pt>
                <c:pt idx="1">
                  <c:v>37256</c:v>
                </c:pt>
                <c:pt idx="2">
                  <c:v>37621</c:v>
                </c:pt>
                <c:pt idx="3">
                  <c:v>37986</c:v>
                </c:pt>
                <c:pt idx="4">
                  <c:v>38352</c:v>
                </c:pt>
                <c:pt idx="5">
                  <c:v>38716</c:v>
                </c:pt>
                <c:pt idx="6">
                  <c:v>39080</c:v>
                </c:pt>
                <c:pt idx="7">
                  <c:v>39447</c:v>
                </c:pt>
                <c:pt idx="8">
                  <c:v>39813</c:v>
                </c:pt>
                <c:pt idx="9">
                  <c:v>40178</c:v>
                </c:pt>
                <c:pt idx="10">
                  <c:v>40543</c:v>
                </c:pt>
                <c:pt idx="11">
                  <c:v>40907</c:v>
                </c:pt>
              </c:numCache>
            </c:numRef>
          </c:cat>
          <c:val>
            <c:numRef>
              <c:f>Sheet1!$C$2:$C$13</c:f>
              <c:numCache>
                <c:formatCode>0.0%</c:formatCode>
                <c:ptCount val="12"/>
                <c:pt idx="0">
                  <c:v>1.0922350944906681E-2</c:v>
                </c:pt>
                <c:pt idx="1">
                  <c:v>1.484572315735444E-2</c:v>
                </c:pt>
                <c:pt idx="2">
                  <c:v>1.4637499872115267E-2</c:v>
                </c:pt>
                <c:pt idx="3">
                  <c:v>3.1197467627719591E-2</c:v>
                </c:pt>
                <c:pt idx="4">
                  <c:v>2.7307922344684824E-2</c:v>
                </c:pt>
                <c:pt idx="5">
                  <c:v>3.2156745246420433E-2</c:v>
                </c:pt>
                <c:pt idx="6">
                  <c:v>2.9826284053210417E-2</c:v>
                </c:pt>
                <c:pt idx="7">
                  <c:v>2.5330825852806334E-2</c:v>
                </c:pt>
                <c:pt idx="8">
                  <c:v>1.831946213103286E-2</c:v>
                </c:pt>
                <c:pt idx="9">
                  <c:v>4.3995845934088999E-2</c:v>
                </c:pt>
                <c:pt idx="10">
                  <c:v>2.9803075759997858E-2</c:v>
                </c:pt>
                <c:pt idx="11">
                  <c:v>2.7278834742653475E-2</c:v>
                </c:pt>
              </c:numCache>
            </c:numRef>
          </c:val>
        </c:ser>
        <c:dLbls/>
        <c:axId val="357920768"/>
        <c:axId val="357922304"/>
      </c:barChart>
      <c:dateAx>
        <c:axId val="357920768"/>
        <c:scaling>
          <c:orientation val="minMax"/>
        </c:scaling>
        <c:axPos val="b"/>
        <c:numFmt formatCode="yyyy" sourceLinked="0"/>
        <c:majorTickMark val="in"/>
        <c:tickLblPos val="low"/>
        <c:spPr>
          <a:ln w="3153">
            <a:solidFill>
              <a:schemeClr val="tx1"/>
            </a:solidFill>
            <a:prstDash val="solid"/>
          </a:ln>
        </c:spPr>
        <c:txPr>
          <a:bodyPr rot="2160000" vert="horz"/>
          <a:lstStyle/>
          <a:p>
            <a:pPr>
              <a:defRPr sz="1591" b="0" i="0" u="none" strike="noStrike" baseline="0">
                <a:solidFill>
                  <a:schemeClr val="tx1"/>
                </a:solidFill>
                <a:latin typeface="Arial"/>
                <a:ea typeface="Arial"/>
                <a:cs typeface="Arial"/>
              </a:defRPr>
            </a:pPr>
            <a:endParaRPr lang="en-US"/>
          </a:p>
        </c:txPr>
        <c:crossAx val="357922304"/>
        <c:crosses val="autoZero"/>
        <c:auto val="1"/>
        <c:lblOffset val="100"/>
        <c:baseTimeUnit val="years"/>
        <c:majorUnit val="1"/>
        <c:majorTimeUnit val="years"/>
        <c:minorUnit val="13"/>
        <c:minorTimeUnit val="days"/>
      </c:dateAx>
      <c:valAx>
        <c:axId val="357922304"/>
        <c:scaling>
          <c:orientation val="minMax"/>
        </c:scaling>
        <c:axPos val="l"/>
        <c:majorGridlines>
          <c:spPr>
            <a:ln w="12610">
              <a:solidFill>
                <a:schemeClr val="folHlink"/>
              </a:solidFill>
              <a:prstDash val="solid"/>
            </a:ln>
          </c:spPr>
        </c:majorGridlines>
        <c:numFmt formatCode="0%" sourceLinked="0"/>
        <c:tickLblPos val="nextTo"/>
        <c:spPr>
          <a:ln w="9458">
            <a:noFill/>
          </a:ln>
        </c:spPr>
        <c:txPr>
          <a:bodyPr rot="0" vert="horz"/>
          <a:lstStyle/>
          <a:p>
            <a:pPr>
              <a:defRPr sz="1591" b="0" i="0" u="none" strike="noStrike" baseline="0">
                <a:solidFill>
                  <a:schemeClr val="tx1"/>
                </a:solidFill>
                <a:latin typeface="Arial"/>
                <a:ea typeface="Arial"/>
                <a:cs typeface="Arial"/>
              </a:defRPr>
            </a:pPr>
            <a:endParaRPr lang="en-US"/>
          </a:p>
        </c:txPr>
        <c:crossAx val="357920768"/>
        <c:crosses val="autoZero"/>
        <c:crossBetween val="between"/>
      </c:valAx>
      <c:spPr>
        <a:noFill/>
        <a:ln w="25397">
          <a:noFill/>
        </a:ln>
      </c:spPr>
    </c:plotArea>
    <c:plotVisOnly val="1"/>
    <c:dispBlanksAs val="gap"/>
  </c:chart>
  <c:spPr>
    <a:noFill/>
    <a:ln>
      <a:noFill/>
    </a:ln>
  </c:spPr>
  <c:txPr>
    <a:bodyPr/>
    <a:lstStyle/>
    <a:p>
      <a:pPr>
        <a:defRPr sz="1591" b="0" i="0" u="none" strike="noStrike" baseline="0">
          <a:solidFill>
            <a:schemeClr val="tx1"/>
          </a:solidFill>
          <a:latin typeface="Arial"/>
          <a:ea typeface="Arial"/>
          <a:cs typeface="Arial"/>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7.6303885397850518E-2"/>
          <c:y val="0.12823708407999695"/>
          <c:w val="0.90669800464490224"/>
          <c:h val="0.4499310162118898"/>
        </c:manualLayout>
      </c:layout>
      <c:barChart>
        <c:barDir val="col"/>
        <c:grouping val="clustered"/>
        <c:ser>
          <c:idx val="0"/>
          <c:order val="0"/>
          <c:spPr>
            <a:solidFill>
              <a:srgbClr val="92BA14"/>
            </a:solidFill>
            <a:ln w="23323">
              <a:solidFill>
                <a:srgbClr val="FFFFFF"/>
              </a:solidFill>
              <a:prstDash val="solid"/>
            </a:ln>
          </c:spPr>
          <c:dPt>
            <c:idx val="0"/>
          </c:dPt>
          <c:dPt>
            <c:idx val="1"/>
          </c:dPt>
          <c:dPt>
            <c:idx val="2"/>
          </c:dPt>
          <c:dPt>
            <c:idx val="3"/>
          </c:dPt>
          <c:dPt>
            <c:idx val="4"/>
          </c:dPt>
          <c:dPt>
            <c:idx val="5"/>
          </c:dPt>
          <c:dPt>
            <c:idx val="6"/>
          </c:dPt>
          <c:dPt>
            <c:idx val="7"/>
          </c:dPt>
          <c:dPt>
            <c:idx val="8"/>
          </c:dPt>
          <c:dPt>
            <c:idx val="9"/>
          </c:dPt>
          <c:dPt>
            <c:idx val="10"/>
          </c:dPt>
          <c:dPt>
            <c:idx val="11"/>
          </c:dPt>
          <c:dPt>
            <c:idx val="12"/>
          </c:dPt>
          <c:dPt>
            <c:idx val="13"/>
          </c:dPt>
          <c:dPt>
            <c:idx val="14"/>
          </c:dPt>
          <c:dPt>
            <c:idx val="15"/>
          </c:dPt>
          <c:dPt>
            <c:idx val="16"/>
          </c:dPt>
          <c:dPt>
            <c:idx val="17"/>
          </c:dPt>
          <c:dPt>
            <c:idx val="18"/>
          </c:dPt>
          <c:dLbls>
            <c:numFmt formatCode="0%" sourceLinked="0"/>
            <c:showVal val="1"/>
          </c:dLbls>
          <c:cat>
            <c:strRef>
              <c:f>Sheet1!$A$2:$A$11</c:f>
              <c:strCache>
                <c:ptCount val="10"/>
                <c:pt idx="0">
                  <c:v>Utilities</c:v>
                </c:pt>
                <c:pt idx="1">
                  <c:v>Financials</c:v>
                </c:pt>
                <c:pt idx="2">
                  <c:v>Consumer Goods</c:v>
                </c:pt>
                <c:pt idx="3">
                  <c:v>Basic Materials</c:v>
                </c:pt>
                <c:pt idx="4">
                  <c:v>Industrials</c:v>
                </c:pt>
                <c:pt idx="5">
                  <c:v>Health Care</c:v>
                </c:pt>
                <c:pt idx="6">
                  <c:v>Consumer Services</c:v>
                </c:pt>
                <c:pt idx="7">
                  <c:v>Telecommunications</c:v>
                </c:pt>
                <c:pt idx="8">
                  <c:v>Oil &amp; Gas</c:v>
                </c:pt>
                <c:pt idx="9">
                  <c:v>Technology</c:v>
                </c:pt>
              </c:strCache>
            </c:strRef>
          </c:cat>
          <c:val>
            <c:numRef>
              <c:f>Sheet1!$B$2:$B$11</c:f>
              <c:numCache>
                <c:formatCode>0.00%</c:formatCode>
                <c:ptCount val="10"/>
                <c:pt idx="0">
                  <c:v>0.2365701956489433</c:v>
                </c:pt>
                <c:pt idx="1">
                  <c:v>0.23400775678009741</c:v>
                </c:pt>
                <c:pt idx="2">
                  <c:v>0.21975198611826618</c:v>
                </c:pt>
                <c:pt idx="3">
                  <c:v>0.12581511805063539</c:v>
                </c:pt>
                <c:pt idx="4">
                  <c:v>6.153913305827706E-2</c:v>
                </c:pt>
                <c:pt idx="5">
                  <c:v>6.117122898034557E-2</c:v>
                </c:pt>
                <c:pt idx="6">
                  <c:v>2.6097031491398248E-2</c:v>
                </c:pt>
                <c:pt idx="7">
                  <c:v>1.9542243393036281E-2</c:v>
                </c:pt>
                <c:pt idx="8">
                  <c:v>1.5196577980086907E-2</c:v>
                </c:pt>
                <c:pt idx="9">
                  <c:v>3.0872849891406591E-4</c:v>
                </c:pt>
              </c:numCache>
            </c:numRef>
          </c:val>
        </c:ser>
        <c:dLbls/>
        <c:gapWidth val="100"/>
        <c:axId val="357933440"/>
        <c:axId val="357934976"/>
      </c:barChart>
      <c:catAx>
        <c:axId val="357933440"/>
        <c:scaling>
          <c:orientation val="minMax"/>
        </c:scaling>
        <c:axPos val="b"/>
        <c:numFmt formatCode="General" sourceLinked="1"/>
        <c:tickLblPos val="nextTo"/>
        <c:crossAx val="357934976"/>
        <c:crosses val="autoZero"/>
        <c:auto val="1"/>
        <c:lblAlgn val="ctr"/>
        <c:lblOffset val="100"/>
      </c:catAx>
      <c:valAx>
        <c:axId val="357934976"/>
        <c:scaling>
          <c:orientation val="minMax"/>
        </c:scaling>
        <c:axPos val="l"/>
        <c:majorGridlines/>
        <c:numFmt formatCode="0%" sourceLinked="0"/>
        <c:tickLblPos val="nextTo"/>
        <c:crossAx val="357933440"/>
        <c:crosses val="autoZero"/>
        <c:crossBetween val="between"/>
      </c:valAx>
      <c:spPr>
        <a:noFill/>
        <a:ln w="25345">
          <a:noFill/>
        </a:ln>
      </c:spPr>
    </c:plotArea>
    <c:plotVisOnly val="1"/>
    <c:dispBlanksAs val="zero"/>
  </c:chart>
  <c:spPr>
    <a:noFill/>
    <a:ln>
      <a:noFill/>
    </a:ln>
  </c:spPr>
  <c:txPr>
    <a:bodyPr/>
    <a:lstStyle/>
    <a:p>
      <a:pPr>
        <a:defRPr sz="644" b="1" i="0" u="none" strike="noStrike" baseline="0">
          <a:solidFill>
            <a:schemeClr val="tx1"/>
          </a:solidFill>
          <a:latin typeface="Arial"/>
          <a:ea typeface="Arial"/>
          <a:cs typeface="Arial"/>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1758441022897616"/>
          <c:y val="4.9104583080961051E-2"/>
          <c:w val="0.77363648015335662"/>
          <c:h val="0.44884060165556239"/>
        </c:manualLayout>
      </c:layout>
      <c:barChart>
        <c:barDir val="col"/>
        <c:grouping val="clustered"/>
        <c:ser>
          <c:idx val="0"/>
          <c:order val="0"/>
          <c:spPr>
            <a:solidFill>
              <a:srgbClr val="92BA14"/>
            </a:solidFill>
            <a:ln w="23436">
              <a:solidFill>
                <a:srgbClr val="FFFFFF"/>
              </a:solidFill>
              <a:prstDash val="solid"/>
            </a:ln>
          </c:spPr>
          <c:dPt>
            <c:idx val="0"/>
          </c:dPt>
          <c:dPt>
            <c:idx val="1"/>
          </c:dPt>
          <c:dPt>
            <c:idx val="2"/>
          </c:dPt>
          <c:dPt>
            <c:idx val="3"/>
          </c:dPt>
          <c:dPt>
            <c:idx val="4"/>
          </c:dPt>
          <c:dPt>
            <c:idx val="5"/>
          </c:dPt>
          <c:dPt>
            <c:idx val="6"/>
          </c:dPt>
          <c:dPt>
            <c:idx val="7"/>
          </c:dPt>
          <c:dPt>
            <c:idx val="8"/>
          </c:dPt>
          <c:dPt>
            <c:idx val="9"/>
          </c:dPt>
          <c:dPt>
            <c:idx val="10"/>
          </c:dPt>
          <c:dPt>
            <c:idx val="11"/>
          </c:dPt>
          <c:dPt>
            <c:idx val="12"/>
          </c:dPt>
          <c:dPt>
            <c:idx val="13"/>
          </c:dPt>
          <c:dPt>
            <c:idx val="14"/>
          </c:dPt>
          <c:dPt>
            <c:idx val="15"/>
          </c:dPt>
          <c:dPt>
            <c:idx val="16"/>
          </c:dPt>
          <c:dPt>
            <c:idx val="17"/>
          </c:dPt>
          <c:dPt>
            <c:idx val="18"/>
          </c:dPt>
          <c:dLbls>
            <c:numFmt formatCode="0%" sourceLinked="0"/>
            <c:txPr>
              <a:bodyPr/>
              <a:lstStyle/>
              <a:p>
                <a:pPr algn="ctr">
                  <a:defRPr lang="en-GB" sz="647" b="1" i="0" u="none" strike="noStrike" kern="1200" baseline="0">
                    <a:solidFill>
                      <a:srgbClr val="000000"/>
                    </a:solidFill>
                    <a:latin typeface="Arial"/>
                    <a:ea typeface="Arial"/>
                    <a:cs typeface="Arial"/>
                  </a:defRPr>
                </a:pPr>
                <a:endParaRPr lang="en-US"/>
              </a:p>
            </c:txPr>
            <c:showVal val="1"/>
          </c:dLbls>
          <c:cat>
            <c:strRef>
              <c:f>Sheet1!$A$2:$A$9</c:f>
              <c:strCache>
                <c:ptCount val="8"/>
                <c:pt idx="0">
                  <c:v>Financials</c:v>
                </c:pt>
                <c:pt idx="1">
                  <c:v>Industrials</c:v>
                </c:pt>
                <c:pt idx="2">
                  <c:v>Consumer Goods</c:v>
                </c:pt>
                <c:pt idx="3">
                  <c:v>Consumer Services</c:v>
                </c:pt>
                <c:pt idx="4">
                  <c:v>Oil &amp; Gas</c:v>
                </c:pt>
                <c:pt idx="5">
                  <c:v>Health Care</c:v>
                </c:pt>
                <c:pt idx="6">
                  <c:v>Basic Materials</c:v>
                </c:pt>
                <c:pt idx="7">
                  <c:v>Technology</c:v>
                </c:pt>
              </c:strCache>
            </c:strRef>
          </c:cat>
          <c:val>
            <c:numRef>
              <c:f>Sheet1!$B$2:$B$9</c:f>
              <c:numCache>
                <c:formatCode>0.00%</c:formatCode>
                <c:ptCount val="8"/>
                <c:pt idx="0">
                  <c:v>0.36002285363748127</c:v>
                </c:pt>
                <c:pt idx="1">
                  <c:v>0.31318187354944993</c:v>
                </c:pt>
                <c:pt idx="2">
                  <c:v>0.1002739418526444</c:v>
                </c:pt>
                <c:pt idx="3">
                  <c:v>7.2805551847620026E-2</c:v>
                </c:pt>
                <c:pt idx="4">
                  <c:v>5.6437562790329542E-2</c:v>
                </c:pt>
                <c:pt idx="5">
                  <c:v>5.0299732377970058E-2</c:v>
                </c:pt>
                <c:pt idx="6">
                  <c:v>4.6650758185496966E-2</c:v>
                </c:pt>
                <c:pt idx="7">
                  <c:v>3.2772575900824694E-4</c:v>
                </c:pt>
              </c:numCache>
            </c:numRef>
          </c:val>
        </c:ser>
        <c:dLbls/>
        <c:gapWidth val="100"/>
        <c:axId val="357471360"/>
        <c:axId val="357472896"/>
      </c:barChart>
      <c:catAx>
        <c:axId val="357471360"/>
        <c:scaling>
          <c:orientation val="minMax"/>
        </c:scaling>
        <c:axPos val="b"/>
        <c:numFmt formatCode="General" sourceLinked="1"/>
        <c:tickLblPos val="nextTo"/>
        <c:txPr>
          <a:bodyPr/>
          <a:lstStyle/>
          <a:p>
            <a:pPr algn="ctr">
              <a:defRPr lang="en-GB" sz="647" b="1" i="0" u="none" strike="noStrike" kern="1200" baseline="0">
                <a:solidFill>
                  <a:srgbClr val="000000"/>
                </a:solidFill>
                <a:latin typeface="Arial"/>
                <a:ea typeface="Arial"/>
                <a:cs typeface="Arial"/>
              </a:defRPr>
            </a:pPr>
            <a:endParaRPr lang="en-US"/>
          </a:p>
        </c:txPr>
        <c:crossAx val="357472896"/>
        <c:crosses val="autoZero"/>
        <c:auto val="1"/>
        <c:lblAlgn val="ctr"/>
        <c:lblOffset val="100"/>
      </c:catAx>
      <c:valAx>
        <c:axId val="357472896"/>
        <c:scaling>
          <c:orientation val="minMax"/>
        </c:scaling>
        <c:axPos val="l"/>
        <c:majorGridlines/>
        <c:numFmt formatCode="0%" sourceLinked="0"/>
        <c:tickLblPos val="nextTo"/>
        <c:txPr>
          <a:bodyPr/>
          <a:lstStyle/>
          <a:p>
            <a:pPr algn="ctr">
              <a:defRPr lang="en-GB" sz="647" b="1" i="0" u="none" strike="noStrike" kern="1200" baseline="0">
                <a:solidFill>
                  <a:srgbClr val="000000"/>
                </a:solidFill>
                <a:latin typeface="Arial"/>
                <a:ea typeface="Arial"/>
                <a:cs typeface="Arial"/>
              </a:defRPr>
            </a:pPr>
            <a:endParaRPr lang="en-US"/>
          </a:p>
        </c:txPr>
        <c:crossAx val="357471360"/>
        <c:crosses val="autoZero"/>
        <c:crossBetween val="between"/>
      </c:valAx>
      <c:spPr>
        <a:noFill/>
        <a:ln w="25399">
          <a:noFill/>
        </a:ln>
      </c:spPr>
    </c:plotArea>
    <c:plotVisOnly val="1"/>
    <c:dispBlanksAs val="zero"/>
  </c:chart>
  <c:spPr>
    <a:noFill/>
    <a:ln>
      <a:noFill/>
    </a:ln>
  </c:spPr>
  <c:txPr>
    <a:bodyPr/>
    <a:lstStyle/>
    <a:p>
      <a:pPr>
        <a:defRPr sz="1292" b="1" i="0" u="none" strike="noStrike" baseline="0">
          <a:solidFill>
            <a:schemeClr val="tx1"/>
          </a:solidFill>
          <a:latin typeface="Arial"/>
          <a:ea typeface="Arial"/>
          <a:cs typeface="Arial"/>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US"/>
  <c:chart>
    <c:plotArea>
      <c:layout/>
      <c:barChart>
        <c:barDir val="col"/>
        <c:grouping val="clustered"/>
        <c:ser>
          <c:idx val="0"/>
          <c:order val="0"/>
          <c:spPr>
            <a:solidFill>
              <a:srgbClr val="92BA14"/>
            </a:solidFill>
            <a:ln w="23327">
              <a:solidFill>
                <a:srgbClr val="FFFFFF"/>
              </a:solidFill>
              <a:prstDash val="solid"/>
            </a:ln>
          </c:spPr>
          <c:dPt>
            <c:idx val="0"/>
          </c:dPt>
          <c:dPt>
            <c:idx val="1"/>
          </c:dPt>
          <c:dPt>
            <c:idx val="2"/>
          </c:dPt>
          <c:dPt>
            <c:idx val="3"/>
          </c:dPt>
          <c:dPt>
            <c:idx val="4"/>
          </c:dPt>
          <c:dPt>
            <c:idx val="5"/>
          </c:dPt>
          <c:dPt>
            <c:idx val="6"/>
          </c:dPt>
          <c:dPt>
            <c:idx val="7"/>
          </c:dPt>
          <c:dPt>
            <c:idx val="8"/>
          </c:dPt>
          <c:dPt>
            <c:idx val="9"/>
          </c:dPt>
          <c:dPt>
            <c:idx val="10"/>
          </c:dPt>
          <c:dPt>
            <c:idx val="11"/>
          </c:dPt>
          <c:dPt>
            <c:idx val="12"/>
          </c:dPt>
          <c:dPt>
            <c:idx val="13"/>
          </c:dPt>
          <c:dPt>
            <c:idx val="14"/>
          </c:dPt>
          <c:dPt>
            <c:idx val="15"/>
          </c:dPt>
          <c:dPt>
            <c:idx val="16"/>
          </c:dPt>
          <c:dPt>
            <c:idx val="17"/>
          </c:dPt>
          <c:dPt>
            <c:idx val="18"/>
          </c:dPt>
          <c:dLbls>
            <c:numFmt formatCode="0%" sourceLinked="0"/>
            <c:txPr>
              <a:bodyPr/>
              <a:lstStyle/>
              <a:p>
                <a:pPr algn="ctr">
                  <a:defRPr lang="en-GB" sz="644" b="1" i="0" u="none" strike="noStrike" kern="1200" baseline="0">
                    <a:solidFill>
                      <a:srgbClr val="000000"/>
                    </a:solidFill>
                    <a:latin typeface="Arial"/>
                    <a:ea typeface="Arial"/>
                    <a:cs typeface="Arial"/>
                  </a:defRPr>
                </a:pPr>
                <a:endParaRPr lang="en-US"/>
              </a:p>
            </c:txPr>
            <c:showVal val="1"/>
          </c:dLbls>
          <c:cat>
            <c:strRef>
              <c:f>Sheet1!$A$2:$A$11</c:f>
              <c:strCache>
                <c:ptCount val="10"/>
                <c:pt idx="0">
                  <c:v>Industrials</c:v>
                </c:pt>
                <c:pt idx="1">
                  <c:v>Financials</c:v>
                </c:pt>
                <c:pt idx="2">
                  <c:v>Utilities</c:v>
                </c:pt>
                <c:pt idx="3">
                  <c:v>Consumer Goods</c:v>
                </c:pt>
                <c:pt idx="4">
                  <c:v>Technology</c:v>
                </c:pt>
                <c:pt idx="5">
                  <c:v>Consumer Services</c:v>
                </c:pt>
                <c:pt idx="6">
                  <c:v>Basic Materials</c:v>
                </c:pt>
                <c:pt idx="7">
                  <c:v>Health Care</c:v>
                </c:pt>
                <c:pt idx="8">
                  <c:v>Oil &amp; Gas</c:v>
                </c:pt>
                <c:pt idx="9">
                  <c:v>Telecommunications</c:v>
                </c:pt>
              </c:strCache>
            </c:strRef>
          </c:cat>
          <c:val>
            <c:numRef>
              <c:f>Sheet1!$B$2:$B$11</c:f>
              <c:numCache>
                <c:formatCode>0.00%</c:formatCode>
                <c:ptCount val="10"/>
                <c:pt idx="0">
                  <c:v>0.24604020366708873</c:v>
                </c:pt>
                <c:pt idx="1">
                  <c:v>0.17393098762040513</c:v>
                </c:pt>
                <c:pt idx="2">
                  <c:v>0.13714564794257578</c:v>
                </c:pt>
                <c:pt idx="3">
                  <c:v>0.111607383068191</c:v>
                </c:pt>
                <c:pt idx="4">
                  <c:v>0.10825070383691079</c:v>
                </c:pt>
                <c:pt idx="5">
                  <c:v>7.8012849649564092E-2</c:v>
                </c:pt>
                <c:pt idx="6">
                  <c:v>5.9436525348570163E-2</c:v>
                </c:pt>
                <c:pt idx="7">
                  <c:v>3.5024610303342509E-2</c:v>
                </c:pt>
                <c:pt idx="8">
                  <c:v>2.6013048533379452E-2</c:v>
                </c:pt>
                <c:pt idx="9">
                  <c:v>2.4538040029972577E-2</c:v>
                </c:pt>
              </c:numCache>
            </c:numRef>
          </c:val>
        </c:ser>
        <c:dLbls/>
        <c:gapWidth val="100"/>
        <c:axId val="357902208"/>
        <c:axId val="357903744"/>
      </c:barChart>
      <c:catAx>
        <c:axId val="357902208"/>
        <c:scaling>
          <c:orientation val="minMax"/>
        </c:scaling>
        <c:axPos val="b"/>
        <c:numFmt formatCode="General" sourceLinked="1"/>
        <c:tickLblPos val="nextTo"/>
        <c:txPr>
          <a:bodyPr/>
          <a:lstStyle/>
          <a:p>
            <a:pPr algn="ctr">
              <a:defRPr lang="en-GB" sz="644" b="1" i="0" u="none" strike="noStrike" kern="1200" baseline="0">
                <a:solidFill>
                  <a:srgbClr val="000000"/>
                </a:solidFill>
                <a:latin typeface="Arial"/>
                <a:ea typeface="Arial"/>
                <a:cs typeface="Arial"/>
              </a:defRPr>
            </a:pPr>
            <a:endParaRPr lang="en-US"/>
          </a:p>
        </c:txPr>
        <c:crossAx val="357903744"/>
        <c:crosses val="autoZero"/>
        <c:auto val="1"/>
        <c:lblAlgn val="ctr"/>
        <c:lblOffset val="100"/>
      </c:catAx>
      <c:valAx>
        <c:axId val="357903744"/>
        <c:scaling>
          <c:orientation val="minMax"/>
        </c:scaling>
        <c:axPos val="l"/>
        <c:majorGridlines/>
        <c:numFmt formatCode="0%" sourceLinked="0"/>
        <c:tickLblPos val="nextTo"/>
        <c:txPr>
          <a:bodyPr/>
          <a:lstStyle/>
          <a:p>
            <a:pPr algn="ctr">
              <a:defRPr lang="en-GB" sz="644" b="1" i="0" u="none" strike="noStrike" kern="1200" baseline="0">
                <a:solidFill>
                  <a:srgbClr val="000000"/>
                </a:solidFill>
                <a:latin typeface="Arial"/>
                <a:ea typeface="Arial"/>
                <a:cs typeface="Arial"/>
              </a:defRPr>
            </a:pPr>
            <a:endParaRPr lang="en-US"/>
          </a:p>
        </c:txPr>
        <c:crossAx val="357902208"/>
        <c:crosses val="autoZero"/>
        <c:crossBetween val="between"/>
      </c:valAx>
      <c:spPr>
        <a:noFill/>
        <a:ln w="25367">
          <a:noFill/>
        </a:ln>
      </c:spPr>
    </c:plotArea>
    <c:plotVisOnly val="1"/>
    <c:dispBlanksAs val="zero"/>
  </c:chart>
  <c:spPr>
    <a:noFill/>
    <a:ln>
      <a:noFill/>
    </a:ln>
  </c:spPr>
  <c:txPr>
    <a:bodyPr/>
    <a:lstStyle/>
    <a:p>
      <a:pPr>
        <a:defRPr sz="1285" b="1" i="0" u="none" strike="noStrike" baseline="0">
          <a:solidFill>
            <a:schemeClr val="tx1"/>
          </a:solidFill>
          <a:latin typeface="Arial"/>
          <a:ea typeface="Arial"/>
          <a:cs typeface="Arial"/>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5930272128800611E-2"/>
          <c:y val="8.8828161329927074E-2"/>
          <c:w val="0.83413379959397771"/>
          <c:h val="0.4588931283599863"/>
        </c:manualLayout>
      </c:layout>
      <c:barChart>
        <c:barDir val="col"/>
        <c:grouping val="clustered"/>
        <c:ser>
          <c:idx val="0"/>
          <c:order val="0"/>
          <c:spPr>
            <a:solidFill>
              <a:srgbClr val="92BA14"/>
            </a:solidFill>
            <a:ln w="23343">
              <a:solidFill>
                <a:srgbClr val="FFFFFF"/>
              </a:solidFill>
              <a:prstDash val="solid"/>
            </a:ln>
          </c:spPr>
          <c:dPt>
            <c:idx val="0"/>
          </c:dPt>
          <c:dPt>
            <c:idx val="1"/>
          </c:dPt>
          <c:dPt>
            <c:idx val="2"/>
          </c:dPt>
          <c:dPt>
            <c:idx val="3"/>
          </c:dPt>
          <c:dPt>
            <c:idx val="4"/>
          </c:dPt>
          <c:dPt>
            <c:idx val="5"/>
          </c:dPt>
          <c:dPt>
            <c:idx val="6"/>
          </c:dPt>
          <c:dPt>
            <c:idx val="7"/>
          </c:dPt>
          <c:dPt>
            <c:idx val="8"/>
          </c:dPt>
          <c:dPt>
            <c:idx val="9"/>
          </c:dPt>
          <c:dPt>
            <c:idx val="10"/>
          </c:dPt>
          <c:dPt>
            <c:idx val="11"/>
          </c:dPt>
          <c:dPt>
            <c:idx val="12"/>
          </c:dPt>
          <c:dPt>
            <c:idx val="13"/>
          </c:dPt>
          <c:dPt>
            <c:idx val="14"/>
          </c:dPt>
          <c:dPt>
            <c:idx val="15"/>
          </c:dPt>
          <c:dPt>
            <c:idx val="16"/>
          </c:dPt>
          <c:dPt>
            <c:idx val="17"/>
          </c:dPt>
          <c:dPt>
            <c:idx val="18"/>
          </c:dPt>
          <c:dLbls>
            <c:numFmt formatCode="0%" sourceLinked="0"/>
            <c:showVal val="1"/>
          </c:dLbls>
          <c:cat>
            <c:strRef>
              <c:f>Sheet1!$A$2:$A$11</c:f>
              <c:strCache>
                <c:ptCount val="10"/>
                <c:pt idx="0">
                  <c:v>Industrials</c:v>
                </c:pt>
                <c:pt idx="1">
                  <c:v>Consumer Services</c:v>
                </c:pt>
                <c:pt idx="2">
                  <c:v>Utilities</c:v>
                </c:pt>
                <c:pt idx="3">
                  <c:v>Financials</c:v>
                </c:pt>
                <c:pt idx="4">
                  <c:v>Consumer Goods</c:v>
                </c:pt>
                <c:pt idx="5">
                  <c:v>Telecommunications</c:v>
                </c:pt>
                <c:pt idx="6">
                  <c:v>Health Care</c:v>
                </c:pt>
                <c:pt idx="7">
                  <c:v>Oil &amp; Gas</c:v>
                </c:pt>
                <c:pt idx="8">
                  <c:v>Basic Materials</c:v>
                </c:pt>
                <c:pt idx="9">
                  <c:v>Technology</c:v>
                </c:pt>
              </c:strCache>
            </c:strRef>
          </c:cat>
          <c:val>
            <c:numRef>
              <c:f>Sheet1!$B$2:$B$11</c:f>
              <c:numCache>
                <c:formatCode>0.00%</c:formatCode>
                <c:ptCount val="10"/>
                <c:pt idx="0">
                  <c:v>0.22358599863983755</c:v>
                </c:pt>
                <c:pt idx="1">
                  <c:v>0.17572208566540887</c:v>
                </c:pt>
                <c:pt idx="2">
                  <c:v>0.13797651591493762</c:v>
                </c:pt>
                <c:pt idx="3">
                  <c:v>0.1335213916870972</c:v>
                </c:pt>
                <c:pt idx="4">
                  <c:v>0.11228353285100662</c:v>
                </c:pt>
                <c:pt idx="5">
                  <c:v>5.4676772540154954E-2</c:v>
                </c:pt>
                <c:pt idx="6">
                  <c:v>4.8349953930467822E-2</c:v>
                </c:pt>
                <c:pt idx="7">
                  <c:v>3.9615587405931137E-2</c:v>
                </c:pt>
                <c:pt idx="8">
                  <c:v>3.7673266434957775E-2</c:v>
                </c:pt>
                <c:pt idx="9">
                  <c:v>3.6594894930200808E-2</c:v>
                </c:pt>
              </c:numCache>
            </c:numRef>
          </c:val>
        </c:ser>
        <c:dLbls/>
        <c:gapWidth val="100"/>
        <c:axId val="358791808"/>
        <c:axId val="358793600"/>
      </c:barChart>
      <c:catAx>
        <c:axId val="358791808"/>
        <c:scaling>
          <c:orientation val="minMax"/>
        </c:scaling>
        <c:axPos val="b"/>
        <c:numFmt formatCode="General" sourceLinked="1"/>
        <c:tickLblPos val="nextTo"/>
        <c:crossAx val="358793600"/>
        <c:crosses val="autoZero"/>
        <c:auto val="1"/>
        <c:lblAlgn val="ctr"/>
        <c:lblOffset val="100"/>
      </c:catAx>
      <c:valAx>
        <c:axId val="358793600"/>
        <c:scaling>
          <c:orientation val="minMax"/>
        </c:scaling>
        <c:axPos val="l"/>
        <c:majorGridlines/>
        <c:numFmt formatCode="0%" sourceLinked="0"/>
        <c:tickLblPos val="nextTo"/>
        <c:crossAx val="358791808"/>
        <c:crosses val="autoZero"/>
        <c:crossBetween val="between"/>
      </c:valAx>
      <c:spPr>
        <a:noFill/>
        <a:ln w="25400">
          <a:noFill/>
        </a:ln>
      </c:spPr>
    </c:plotArea>
    <c:plotVisOnly val="1"/>
    <c:dispBlanksAs val="zero"/>
  </c:chart>
  <c:spPr>
    <a:noFill/>
    <a:ln>
      <a:noFill/>
    </a:ln>
  </c:spPr>
  <c:txPr>
    <a:bodyPr/>
    <a:lstStyle/>
    <a:p>
      <a:pPr algn="ctr">
        <a:defRPr lang="en-GB" sz="645" b="1" i="0" u="none" strike="noStrike" kern="1200" baseline="0">
          <a:solidFill>
            <a:srgbClr val="000000"/>
          </a:solidFill>
          <a:latin typeface="Arial"/>
          <a:ea typeface="Arial"/>
          <a:cs typeface="Arial"/>
        </a:defRPr>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US"/>
          </a:p>
        </p:txBody>
      </p:sp>
      <p:sp>
        <p:nvSpPr>
          <p:cNvPr id="4099" name="Rectangle 3"/>
          <p:cNvSpPr>
            <a:spLocks noGrp="1" noChangeArrowheads="1"/>
          </p:cNvSpPr>
          <p:nvPr>
            <p:ph type="dt" idx="1"/>
          </p:nvPr>
        </p:nvSpPr>
        <p:spPr bwMode="auto">
          <a:xfrm>
            <a:off x="3849688"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711200" y="744538"/>
            <a:ext cx="5375275" cy="3722687"/>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101" name="Rectangle 5"/>
          <p:cNvSpPr>
            <a:spLocks noGrp="1" noChangeArrowheads="1"/>
          </p:cNvSpPr>
          <p:nvPr>
            <p:ph type="body" sz="quarter" idx="3"/>
          </p:nvPr>
        </p:nvSpPr>
        <p:spPr bwMode="auto">
          <a:xfrm>
            <a:off x="679450" y="4714875"/>
            <a:ext cx="5438775" cy="4467225"/>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US"/>
          </a:p>
        </p:txBody>
      </p:sp>
      <p:sp>
        <p:nvSpPr>
          <p:cNvPr id="4103" name="Rectangle 7"/>
          <p:cNvSpPr>
            <a:spLocks noGrp="1" noChangeArrowheads="1"/>
          </p:cNvSpPr>
          <p:nvPr>
            <p:ph type="sldNum" sz="quarter" idx="5"/>
          </p:nvPr>
        </p:nvSpPr>
        <p:spPr bwMode="auto">
          <a:xfrm>
            <a:off x="3849688"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CB088AE8-52EF-4A5A-A9C5-544F2FECD4A3}" type="slidenum">
              <a:rPr lang="en-US"/>
              <a:pPr>
                <a:defRPr/>
              </a:pPr>
              <a:t>‹#›</a:t>
            </a:fld>
            <a:endParaRPr lang="en-US"/>
          </a:p>
        </p:txBody>
      </p:sp>
    </p:spTree>
    <p:extLst>
      <p:ext uri="{BB962C8B-B14F-4D97-AF65-F5344CB8AC3E}">
        <p14:creationId xmlns:p14="http://schemas.microsoft.com/office/powerpoint/2010/main" xmlns="" val="6294546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CD859CF-4F93-40FC-BBC0-AE604672C5AA}" type="slidenum">
              <a:rPr lang="de-DE" smtClean="0"/>
              <a:pPr eaLnBrk="1" hangingPunct="1"/>
              <a:t>2</a:t>
            </a:fld>
            <a:endParaRPr lang="de-DE" smtClean="0"/>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
        <p:nvSpPr>
          <p:cNvPr id="22532" name="Slide Number Placeholder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6E73224F-5F04-453C-8B7A-E1D521B4B4B3}" type="slidenum">
              <a:rPr lang="en-US" smtClean="0"/>
              <a:pPr eaLnBrk="1" hangingPunct="1"/>
              <a:t>6</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txBox="1">
            <a:spLocks noGrp="1" noChangeArrowheads="1"/>
          </p:cNvSpPr>
          <p:nvPr/>
        </p:nvSpPr>
        <p:spPr bwMode="auto">
          <a:xfrm>
            <a:off x="3851275" y="9429750"/>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559" tIns="45779" rIns="91559" bIns="45779" anchor="b"/>
          <a:lstStyle>
            <a:lvl1pPr defTabSz="915988" eaLnBrk="0" hangingPunct="0">
              <a:defRPr>
                <a:solidFill>
                  <a:schemeClr val="tx1"/>
                </a:solidFill>
                <a:latin typeface="Arial" charset="0"/>
              </a:defRPr>
            </a:lvl1pPr>
            <a:lvl2pPr marL="742950" indent="-285750" defTabSz="915988" eaLnBrk="0" hangingPunct="0">
              <a:defRPr>
                <a:solidFill>
                  <a:schemeClr val="tx1"/>
                </a:solidFill>
                <a:latin typeface="Arial" charset="0"/>
              </a:defRPr>
            </a:lvl2pPr>
            <a:lvl3pPr marL="1143000" indent="-228600" defTabSz="915988" eaLnBrk="0" hangingPunct="0">
              <a:defRPr>
                <a:solidFill>
                  <a:schemeClr val="tx1"/>
                </a:solidFill>
                <a:latin typeface="Arial" charset="0"/>
              </a:defRPr>
            </a:lvl3pPr>
            <a:lvl4pPr marL="1600200" indent="-228600" defTabSz="915988" eaLnBrk="0" hangingPunct="0">
              <a:defRPr>
                <a:solidFill>
                  <a:schemeClr val="tx1"/>
                </a:solidFill>
                <a:latin typeface="Arial" charset="0"/>
              </a:defRPr>
            </a:lvl4pPr>
            <a:lvl5pPr marL="2057400" indent="-228600" defTabSz="915988" eaLnBrk="0" hangingPunct="0">
              <a:defRPr>
                <a:solidFill>
                  <a:schemeClr val="tx1"/>
                </a:solidFill>
                <a:latin typeface="Arial" charset="0"/>
              </a:defRPr>
            </a:lvl5pPr>
            <a:lvl6pPr marL="2514600" indent="-228600" defTabSz="915988" eaLnBrk="0" fontAlgn="base" hangingPunct="0">
              <a:spcBef>
                <a:spcPct val="0"/>
              </a:spcBef>
              <a:spcAft>
                <a:spcPct val="0"/>
              </a:spcAft>
              <a:defRPr>
                <a:solidFill>
                  <a:schemeClr val="tx1"/>
                </a:solidFill>
                <a:latin typeface="Arial" charset="0"/>
              </a:defRPr>
            </a:lvl6pPr>
            <a:lvl7pPr marL="2971800" indent="-228600" defTabSz="915988" eaLnBrk="0" fontAlgn="base" hangingPunct="0">
              <a:spcBef>
                <a:spcPct val="0"/>
              </a:spcBef>
              <a:spcAft>
                <a:spcPct val="0"/>
              </a:spcAft>
              <a:defRPr>
                <a:solidFill>
                  <a:schemeClr val="tx1"/>
                </a:solidFill>
                <a:latin typeface="Arial" charset="0"/>
              </a:defRPr>
            </a:lvl7pPr>
            <a:lvl8pPr marL="3429000" indent="-228600" defTabSz="915988" eaLnBrk="0" fontAlgn="base" hangingPunct="0">
              <a:spcBef>
                <a:spcPct val="0"/>
              </a:spcBef>
              <a:spcAft>
                <a:spcPct val="0"/>
              </a:spcAft>
              <a:defRPr>
                <a:solidFill>
                  <a:schemeClr val="tx1"/>
                </a:solidFill>
                <a:latin typeface="Arial" charset="0"/>
              </a:defRPr>
            </a:lvl8pPr>
            <a:lvl9pPr marL="3886200" indent="-228600" defTabSz="915988" eaLnBrk="0" fontAlgn="base" hangingPunct="0">
              <a:spcBef>
                <a:spcPct val="0"/>
              </a:spcBef>
              <a:spcAft>
                <a:spcPct val="0"/>
              </a:spcAft>
              <a:defRPr>
                <a:solidFill>
                  <a:schemeClr val="tx1"/>
                </a:solidFill>
                <a:latin typeface="Arial" charset="0"/>
              </a:defRPr>
            </a:lvl9pPr>
          </a:lstStyle>
          <a:p>
            <a:pPr algn="r" eaLnBrk="1" hangingPunct="1"/>
            <a:fld id="{912DB2F0-E06E-4C5B-A07C-7B9FA1980264}" type="slidenum">
              <a:rPr lang="de-DE" sz="1200"/>
              <a:pPr algn="r" eaLnBrk="1" hangingPunct="1"/>
              <a:t>7</a:t>
            </a:fld>
            <a:endParaRPr lang="de-DE" sz="1200"/>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8CAD8A84-A5B7-4DE7-95CA-0FAD438CB1FE}" type="slidenum">
              <a:rPr lang="en-US" smtClean="0"/>
              <a:pPr eaLnBrk="1" hangingPunct="1"/>
              <a:t>9</a:t>
            </a:fld>
            <a:endParaRPr lang="en-US" smtClean="0"/>
          </a:p>
        </p:txBody>
      </p:sp>
      <p:sp>
        <p:nvSpPr>
          <p:cNvPr id="24579"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03A2140D-E017-454D-B3F7-E69406C1D4A1}" type="slidenum">
              <a:rPr lang="de-DE" sz="1200"/>
              <a:pPr algn="r" eaLnBrk="1" hangingPunct="1"/>
              <a:t>9</a:t>
            </a:fld>
            <a:endParaRPr lang="de-DE" sz="1200"/>
          </a:p>
        </p:txBody>
      </p:sp>
      <p:sp>
        <p:nvSpPr>
          <p:cNvPr id="24580" name="Rectangle 2"/>
          <p:cNvSpPr>
            <a:spLocks noGrp="1" noRot="1" noChangeAspect="1" noChangeArrowheads="1" noTextEdit="1"/>
          </p:cNvSpPr>
          <p:nvPr>
            <p:ph type="sldImg"/>
          </p:nvPr>
        </p:nvSpPr>
        <p:spPr>
          <a:ln/>
        </p:spPr>
      </p:sp>
      <p:sp>
        <p:nvSpPr>
          <p:cNvPr id="24581"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2655A3EE-31A6-4A8D-A172-767E8968CB92}" type="slidenum">
              <a:rPr lang="en-US" smtClean="0"/>
              <a:pPr eaLnBrk="1" hangingPunct="1"/>
              <a:t>11</a:t>
            </a:fld>
            <a:endParaRPr lang="en-US" smtClean="0"/>
          </a:p>
        </p:txBody>
      </p:sp>
      <p:sp>
        <p:nvSpPr>
          <p:cNvPr id="25603"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1EA3FEEC-DA64-4031-A3C2-B66255AD06F9}" type="slidenum">
              <a:rPr lang="de-DE" sz="1200"/>
              <a:pPr algn="r" eaLnBrk="1" hangingPunct="1"/>
              <a:t>11</a:t>
            </a:fld>
            <a:endParaRPr lang="de-DE" sz="1200"/>
          </a:p>
        </p:txBody>
      </p:sp>
      <p:sp>
        <p:nvSpPr>
          <p:cNvPr id="25604" name="Rectangle 2"/>
          <p:cNvSpPr>
            <a:spLocks noGrp="1" noRot="1" noChangeAspect="1" noChangeArrowheads="1" noTextEdit="1"/>
          </p:cNvSpPr>
          <p:nvPr>
            <p:ph type="sldImg"/>
          </p:nvPr>
        </p:nvSpPr>
        <p:spPr>
          <a:ln/>
        </p:spPr>
      </p:sp>
      <p:sp>
        <p:nvSpPr>
          <p:cNvPr id="25605"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
        <p:nvSpPr>
          <p:cNvPr id="26628" name="Slide Number Placeholder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574B3068-408C-4842-BB2F-E74C5E9F54CA}" type="slidenum">
              <a:rPr lang="en-US" smtClean="0"/>
              <a:pPr eaLnBrk="1" hangingPunct="1"/>
              <a:t>13</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16</a:t>
            </a:fld>
            <a:endParaRPr lang="de-DE">
              <a:solidFill>
                <a:srgbClr val="000000"/>
              </a:solidFill>
            </a:endParaRPr>
          </a:p>
        </p:txBody>
      </p:sp>
      <p:sp>
        <p:nvSpPr>
          <p:cNvPr id="29699" name="Rectangle 7"/>
          <p:cNvSpPr txBox="1">
            <a:spLocks noGrp="1" noChangeArrowheads="1"/>
          </p:cNvSpPr>
          <p:nvPr/>
        </p:nvSpPr>
        <p:spPr bwMode="auto">
          <a:xfrm>
            <a:off x="3851276" y="9429750"/>
            <a:ext cx="2946400" cy="496888"/>
          </a:xfrm>
          <a:prstGeom prst="rect">
            <a:avLst/>
          </a:prstGeom>
          <a:noFill/>
          <a:ln w="9525">
            <a:noFill/>
            <a:miter lim="800000"/>
            <a:headEnd/>
            <a:tailEnd/>
          </a:ln>
        </p:spPr>
        <p:txBody>
          <a:bodyPr anchor="b"/>
          <a:lstStyle/>
          <a:p>
            <a:pPr algn="r" eaLnBrk="0" hangingPunct="0"/>
            <a:fld id="{13689EED-5508-406E-9B63-92BBE18CB967}" type="slidenum">
              <a:rPr lang="en-US" sz="1200">
                <a:solidFill>
                  <a:srgbClr val="000000"/>
                </a:solidFill>
                <a:ea typeface="ＭＳ Ｐゴシック" pitchFamily="34" charset="-128"/>
              </a:rPr>
              <a:pPr algn="r" eaLnBrk="0" hangingPunct="0"/>
              <a:t>16</a:t>
            </a:fld>
            <a:endParaRPr lang="en-US" sz="120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1046" y="496332"/>
            <a:ext cx="5872436" cy="4454924"/>
          </a:xfrm>
          <a:ln/>
        </p:spPr>
      </p:sp>
      <p:sp>
        <p:nvSpPr>
          <p:cNvPr id="29701" name="Rectangle 3"/>
          <p:cNvSpPr>
            <a:spLocks noGrp="1" noChangeArrowheads="1"/>
          </p:cNvSpPr>
          <p:nvPr>
            <p:ph type="body" idx="1"/>
          </p:nvPr>
        </p:nvSpPr>
        <p:spPr>
          <a:xfrm>
            <a:off x="679451" y="4951414"/>
            <a:ext cx="5438775" cy="4468812"/>
          </a:xfrm>
          <a:noFill/>
          <a:ln/>
        </p:spPr>
        <p:txBody>
          <a:bodyPr/>
          <a:lstStyle/>
          <a:p>
            <a:pPr eaLnBrk="1" hangingPunct="1"/>
            <a:endParaRPr lang="de-CH"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txBox="1">
            <a:spLocks noGrp="1" noChangeArrowheads="1"/>
          </p:cNvSpPr>
          <p:nvPr/>
        </p:nvSpPr>
        <p:spPr bwMode="auto">
          <a:xfrm>
            <a:off x="3851275" y="9429750"/>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66" tIns="45633" rIns="91266" bIns="45633" anchor="b"/>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hangingPunct="1"/>
            <a:fld id="{4380247B-529D-48D2-A049-47A4E0044E72}" type="slidenum">
              <a:rPr lang="de-DE" sz="1200">
                <a:solidFill>
                  <a:srgbClr val="000000"/>
                </a:solidFill>
              </a:rPr>
              <a:pPr algn="r" eaLnBrk="1" hangingPunct="1"/>
              <a:t>17</a:t>
            </a:fld>
            <a:endParaRPr lang="de-DE" sz="1200">
              <a:solidFill>
                <a:srgbClr val="000000"/>
              </a:solidFill>
            </a:endParaRPr>
          </a:p>
        </p:txBody>
      </p:sp>
      <p:sp>
        <p:nvSpPr>
          <p:cNvPr id="28675" name="Slide Image Placeholder 1"/>
          <p:cNvSpPr>
            <a:spLocks noGrp="1" noRot="1" noChangeAspect="1" noTextEdit="1"/>
          </p:cNvSpPr>
          <p:nvPr>
            <p:ph type="sldImg"/>
          </p:nvPr>
        </p:nvSpPr>
        <p:spPr>
          <a:xfrm>
            <a:off x="712788" y="744538"/>
            <a:ext cx="5376862" cy="3722687"/>
          </a:xfrm>
          <a:ln/>
        </p:spPr>
      </p:sp>
      <p:sp>
        <p:nvSpPr>
          <p:cNvPr id="28676" name="Notes Placeholder 2"/>
          <p:cNvSpPr>
            <a:spLocks noGrp="1"/>
          </p:cNvSpPr>
          <p:nvPr>
            <p:ph type="body" idx="1"/>
          </p:nvPr>
        </p:nvSpPr>
        <p:spPr>
          <a:xfrm>
            <a:off x="906463" y="4714875"/>
            <a:ext cx="4984750" cy="44672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66" tIns="45633" rIns="91266" bIns="45633"/>
          <a:lstStyle/>
          <a:p>
            <a:pPr eaLnBrk="1" hangingPunct="1"/>
            <a:endParaRPr lang="en-US" smtClean="0"/>
          </a:p>
        </p:txBody>
      </p:sp>
      <p:sp>
        <p:nvSpPr>
          <p:cNvPr id="28677" name="Slide Number Placeholder 3"/>
          <p:cNvSpPr txBox="1">
            <a:spLocks noGrp="1"/>
          </p:cNvSpPr>
          <p:nvPr/>
        </p:nvSpPr>
        <p:spPr bwMode="auto">
          <a:xfrm>
            <a:off x="3852863" y="9429750"/>
            <a:ext cx="2944812" cy="49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66" tIns="45633" rIns="91266" bIns="45633" anchor="b"/>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a:fld id="{3C00D019-667D-44CD-8BE2-A91E486AA431}" type="slidenum">
              <a:rPr lang="de-DE" sz="1200">
                <a:solidFill>
                  <a:srgbClr val="000000"/>
                </a:solidFill>
                <a:ea typeface="ＭＳ Ｐゴシック" pitchFamily="34" charset="-128"/>
              </a:rPr>
              <a:pPr algn="r"/>
              <a:t>17</a:t>
            </a:fld>
            <a:endParaRPr lang="de-DE" sz="1200">
              <a:solidFill>
                <a:srgbClr val="000000"/>
              </a:solidFill>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A119F61D-1FDF-4504-AB68-033682D00CDB}" type="slidenum">
              <a:rPr lang="de-DE"/>
              <a:pPr>
                <a:defRPr/>
              </a:pPr>
              <a:t>‹#›</a:t>
            </a:fld>
            <a:endParaRPr lang="de-DE"/>
          </a:p>
        </p:txBody>
      </p:sp>
    </p:spTree>
    <p:extLst>
      <p:ext uri="{BB962C8B-B14F-4D97-AF65-F5344CB8AC3E}">
        <p14:creationId xmlns:p14="http://schemas.microsoft.com/office/powerpoint/2010/main" xmlns="" val="144893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725FF70F-FE85-49E4-A4DE-D6BE552F69B8}" type="slidenum">
              <a:rPr lang="de-DE"/>
              <a:pPr>
                <a:defRPr/>
              </a:pPr>
              <a:t>‹#›</a:t>
            </a:fld>
            <a:endParaRPr lang="de-DE"/>
          </a:p>
        </p:txBody>
      </p:sp>
    </p:spTree>
    <p:extLst>
      <p:ext uri="{BB962C8B-B14F-4D97-AF65-F5344CB8AC3E}">
        <p14:creationId xmlns:p14="http://schemas.microsoft.com/office/powerpoint/2010/main" xmlns="" val="2056780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36884" y="390526"/>
            <a:ext cx="2289043" cy="569277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68036" y="390526"/>
            <a:ext cx="6703748" cy="56927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309C30B8-A965-4C1E-94FE-1FD16D545B87}" type="slidenum">
              <a:rPr lang="de-DE"/>
              <a:pPr>
                <a:defRPr/>
              </a:pPr>
              <a:t>‹#›</a:t>
            </a:fld>
            <a:endParaRPr lang="de-DE"/>
          </a:p>
        </p:txBody>
      </p:sp>
    </p:spTree>
    <p:extLst>
      <p:ext uri="{BB962C8B-B14F-4D97-AF65-F5344CB8AC3E}">
        <p14:creationId xmlns:p14="http://schemas.microsoft.com/office/powerpoint/2010/main" xmlns="" val="2893787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p>
            <a:pPr lvl="0"/>
            <a:r>
              <a:rPr lang="en-US" dirty="0" smtClean="0"/>
              <a:t>Click to edit Master text styles</a:t>
            </a:r>
          </a:p>
        </p:txBody>
      </p:sp>
      <p:sp>
        <p:nvSpPr>
          <p:cNvPr id="6" name="Content Placeholder 5"/>
          <p:cNvSpPr>
            <a:spLocks noGrp="1"/>
          </p:cNvSpPr>
          <p:nvPr>
            <p:ph sz="quarter" idx="13"/>
          </p:nvPr>
        </p:nvSpPr>
        <p:spPr>
          <a:xfrm>
            <a:off x="368300" y="1849440"/>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4"/>
          </p:nvPr>
        </p:nvSpPr>
        <p:spPr>
          <a:ln/>
        </p:spPr>
        <p:txBody>
          <a:bodyPr/>
          <a:lstStyle>
            <a:lvl1pPr>
              <a:defRPr/>
            </a:lvl1pPr>
          </a:lstStyle>
          <a:p>
            <a:pPr>
              <a:defRPr/>
            </a:pPr>
            <a:fld id="{5635FF2B-760C-450A-912C-EAF0602F87BC}" type="slidenum">
              <a:rPr lang="de-DE"/>
              <a:pPr>
                <a:defRPr/>
              </a:pPr>
              <a:t>‹#›</a:t>
            </a:fld>
            <a:endParaRPr lang="de-DE"/>
          </a:p>
        </p:txBody>
      </p:sp>
    </p:spTree>
    <p:extLst>
      <p:ext uri="{BB962C8B-B14F-4D97-AF65-F5344CB8AC3E}">
        <p14:creationId xmlns:p14="http://schemas.microsoft.com/office/powerpoint/2010/main" xmlns="" val="1191210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3" name="Line 24"/>
          <p:cNvSpPr>
            <a:spLocks noChangeShapeType="1"/>
          </p:cNvSpPr>
          <p:nvPr/>
        </p:nvSpPr>
        <p:spPr bwMode="auto">
          <a:xfrm flipH="1">
            <a:off x="368300" y="6286500"/>
            <a:ext cx="9158288"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GB"/>
          </a:p>
        </p:txBody>
      </p:sp>
      <p:pic>
        <p:nvPicPr>
          <p:cNvPr id="4" name="Picture 28" descr="STOXX_Logo_schwarz"/>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68300" y="6443663"/>
            <a:ext cx="1169988"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66" name="Rectangle 2"/>
          <p:cNvSpPr>
            <a:spLocks noGrp="1" noChangeArrowheads="1"/>
          </p:cNvSpPr>
          <p:nvPr>
            <p:ph type="ctrTitle"/>
          </p:nvPr>
        </p:nvSpPr>
        <p:spPr>
          <a:xfrm>
            <a:off x="368037" y="298453"/>
            <a:ext cx="9157891" cy="701731"/>
          </a:xfrm>
        </p:spPr>
        <p:txBody>
          <a:bodyPr>
            <a:spAutoFit/>
          </a:bodyPr>
          <a:lstStyle>
            <a:lvl1pPr>
              <a:lnSpc>
                <a:spcPct val="95000"/>
              </a:lnSpc>
              <a:defRPr sz="4800" b="0">
                <a:solidFill>
                  <a:srgbClr val="009EE0"/>
                </a:solidFill>
              </a:defRPr>
            </a:lvl1pPr>
          </a:lstStyle>
          <a:p>
            <a:r>
              <a:rPr lang="en-US" smtClean="0"/>
              <a:t>Click to edit Master title style</a:t>
            </a:r>
            <a:endParaRPr lang="de-DE"/>
          </a:p>
        </p:txBody>
      </p:sp>
      <p:sp>
        <p:nvSpPr>
          <p:cNvPr id="5" name="Rectangle 29"/>
          <p:cNvSpPr>
            <a:spLocks noGrp="1" noChangeArrowheads="1"/>
          </p:cNvSpPr>
          <p:nvPr>
            <p:ph type="sldNum" sz="quarter" idx="10"/>
          </p:nvPr>
        </p:nvSpPr>
        <p:spPr/>
        <p:txBody>
          <a:bodyPr/>
          <a:lstStyle>
            <a:lvl1pPr>
              <a:defRPr/>
            </a:lvl1pPr>
          </a:lstStyle>
          <a:p>
            <a:pPr>
              <a:defRPr/>
            </a:pPr>
            <a:fld id="{CB4AB0B1-2A98-4B26-BAB2-2ABD35911AD5}" type="slidenum">
              <a:rPr lang="de-DE"/>
              <a:pPr>
                <a:defRPr/>
              </a:pPr>
              <a:t>‹#›</a:t>
            </a:fld>
            <a:endParaRPr lang="de-DE"/>
          </a:p>
        </p:txBody>
      </p:sp>
    </p:spTree>
    <p:extLst>
      <p:ext uri="{BB962C8B-B14F-4D97-AF65-F5344CB8AC3E}">
        <p14:creationId xmlns:p14="http://schemas.microsoft.com/office/powerpoint/2010/main" xmlns="" val="2243029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4"/>
          <p:cNvSpPr>
            <a:spLocks noChangeShapeType="1"/>
          </p:cNvSpPr>
          <p:nvPr userDrawn="1"/>
        </p:nvSpPr>
        <p:spPr bwMode="auto">
          <a:xfrm flipH="1">
            <a:off x="368300" y="6286500"/>
            <a:ext cx="9158288" cy="0"/>
          </a:xfrm>
          <a:prstGeom prst="line">
            <a:avLst/>
          </a:prstGeom>
          <a:noFill/>
          <a:ln w="12700">
            <a:solidFill>
              <a:schemeClr val="tx1"/>
            </a:solidFill>
            <a:round/>
            <a:headEnd/>
            <a:tailEnd/>
          </a:ln>
        </p:spPr>
        <p:txBody>
          <a:bodyPr/>
          <a:lstStyle/>
          <a:p>
            <a:pPr algn="ctr">
              <a:spcBef>
                <a:spcPct val="50000"/>
              </a:spcBef>
              <a:defRPr/>
            </a:pPr>
            <a:endParaRPr lang="en-US" sz="1600" b="1">
              <a:solidFill>
                <a:srgbClr val="000000"/>
              </a:solidFill>
              <a:latin typeface="Arial"/>
            </a:endParaRPr>
          </a:p>
        </p:txBody>
      </p:sp>
      <p:pic>
        <p:nvPicPr>
          <p:cNvPr id="4" name="Picture 28" descr="STOXX_Logo_schwarz"/>
          <p:cNvPicPr>
            <a:picLocks noChangeAspect="1" noChangeArrowheads="1"/>
          </p:cNvPicPr>
          <p:nvPr userDrawn="1"/>
        </p:nvPicPr>
        <p:blipFill>
          <a:blip r:embed="rId2" cstate="print"/>
          <a:srcRect/>
          <a:stretch>
            <a:fillRect/>
          </a:stretch>
        </p:blipFill>
        <p:spPr bwMode="auto">
          <a:xfrm>
            <a:off x="368300" y="6443663"/>
            <a:ext cx="1169988" cy="247650"/>
          </a:xfrm>
          <a:prstGeom prst="rect">
            <a:avLst/>
          </a:prstGeom>
          <a:noFill/>
          <a:ln w="9525">
            <a:noFill/>
            <a:miter lim="800000"/>
            <a:headEnd/>
            <a:tailEnd/>
          </a:ln>
        </p:spPr>
      </p:pic>
      <p:sp>
        <p:nvSpPr>
          <p:cNvPr id="11266" name="Rectangle 2"/>
          <p:cNvSpPr>
            <a:spLocks noGrp="1" noChangeArrowheads="1"/>
          </p:cNvSpPr>
          <p:nvPr>
            <p:ph type="ctrTitle"/>
          </p:nvPr>
        </p:nvSpPr>
        <p:spPr>
          <a:xfrm>
            <a:off x="339724" y="298451"/>
            <a:ext cx="8453439" cy="2085975"/>
          </a:xfrm>
        </p:spPr>
        <p:txBody>
          <a:bodyPr>
            <a:spAutoFit/>
          </a:bodyPr>
          <a:lstStyle>
            <a:lvl1pPr>
              <a:lnSpc>
                <a:spcPct val="95000"/>
              </a:lnSpc>
              <a:defRPr sz="4800" b="0">
                <a:solidFill>
                  <a:srgbClr val="009EE0"/>
                </a:solidFill>
              </a:defRPr>
            </a:lvl1pPr>
          </a:lstStyle>
          <a:p>
            <a:r>
              <a:rPr lang="de-DE"/>
              <a:t>TITELMASTERFORMAT DURCH KLICKEN BEARBEITEN</a:t>
            </a:r>
          </a:p>
        </p:txBody>
      </p:sp>
      <p:sp>
        <p:nvSpPr>
          <p:cNvPr id="5" name="Rectangle 23"/>
          <p:cNvSpPr>
            <a:spLocks noGrp="1" noChangeArrowheads="1"/>
          </p:cNvSpPr>
          <p:nvPr>
            <p:ph type="sldNum" sz="quarter" idx="10"/>
          </p:nvPr>
        </p:nvSpPr>
        <p:spPr bwMode="auto">
          <a:xfrm>
            <a:off x="8642350" y="6443663"/>
            <a:ext cx="900114" cy="184666"/>
          </a:xfrm>
          <a:prstGeom prst="rect">
            <a:avLst/>
          </a:prstGeom>
          <a:ln>
            <a:miter lim="800000"/>
            <a:headEnd/>
            <a:tailEnd/>
          </a:ln>
        </p:spPr>
        <p:txBody>
          <a:bodyPr vert="horz" wrap="square" lIns="0" tIns="0" rIns="0" bIns="0" numCol="1" anchor="t" anchorCtr="0" compatLnSpc="1">
            <a:prstTxWarp prst="textNoShape">
              <a:avLst/>
            </a:prstTxWarp>
            <a:spAutoFit/>
          </a:bodyPr>
          <a:lstStyle>
            <a:lvl1pPr algn="r" eaLnBrk="1" hangingPunct="1">
              <a:spcBef>
                <a:spcPct val="0"/>
              </a:spcBef>
              <a:defRPr sz="1200" b="0">
                <a:solidFill>
                  <a:srgbClr val="000000"/>
                </a:solidFill>
                <a:latin typeface="Arial" charset="0"/>
                <a:ea typeface="+mn-ea"/>
              </a:defRPr>
            </a:lvl1pPr>
          </a:lstStyle>
          <a:p>
            <a:pPr>
              <a:defRPr/>
            </a:pPr>
            <a:fld id="{E0881A0E-760E-40DC-A8EC-272A6ABDFF49}" type="slidenum">
              <a:rPr lang="de-DE"/>
              <a:pPr>
                <a:defRPr/>
              </a:pPr>
              <a:t>‹#›</a:t>
            </a:fld>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39726" y="1820865"/>
            <a:ext cx="4149725" cy="4262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1851" y="1820865"/>
            <a:ext cx="4151313" cy="4262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FCEECC29-5642-406A-B316-D0A9CBE22974}" type="slidenum">
              <a:rPr lang="de-DE"/>
              <a:pPr>
                <a:defRPr/>
              </a:pPr>
              <a:t>‹#›</a:t>
            </a:fld>
            <a:endParaRPr lang="de-DE"/>
          </a:p>
        </p:txBody>
      </p:sp>
    </p:spTree>
    <p:extLst>
      <p:ext uri="{BB962C8B-B14F-4D97-AF65-F5344CB8AC3E}">
        <p14:creationId xmlns:p14="http://schemas.microsoft.com/office/powerpoint/2010/main" xmlns="" val="23525938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9"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9"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0201" y="390527"/>
            <a:ext cx="2112963" cy="56927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39726" y="390527"/>
            <a:ext cx="6188075" cy="56927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17C2D248-CF35-4F2C-BBDC-836CDA9B5469}" type="slidenum">
              <a:rPr lang="de-DE"/>
              <a:pPr>
                <a:defRPr/>
              </a:pPr>
              <a:t>‹#›</a:t>
            </a:fld>
            <a:endParaRPr lang="de-DE"/>
          </a:p>
        </p:txBody>
      </p:sp>
    </p:spTree>
    <p:extLst>
      <p:ext uri="{BB962C8B-B14F-4D97-AF65-F5344CB8AC3E}">
        <p14:creationId xmlns:p14="http://schemas.microsoft.com/office/powerpoint/2010/main" xmlns="" val="501996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68036" y="1820864"/>
            <a:ext cx="4495535" cy="4262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028671" y="1820864"/>
            <a:ext cx="4497256" cy="4262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82ABC3EB-59B0-4108-9970-A96D5552264F}" type="slidenum">
              <a:rPr lang="de-DE"/>
              <a:pPr>
                <a:defRPr/>
              </a:pPr>
              <a:t>‹#›</a:t>
            </a:fld>
            <a:endParaRPr lang="de-DE"/>
          </a:p>
        </p:txBody>
      </p:sp>
    </p:spTree>
    <p:extLst>
      <p:ext uri="{BB962C8B-B14F-4D97-AF65-F5344CB8AC3E}">
        <p14:creationId xmlns:p14="http://schemas.microsoft.com/office/powerpoint/2010/main" xmlns="" val="41744754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7D868840-494B-4F59-9D23-7BA011643324}" type="slidenum">
              <a:rPr lang="de-DE"/>
              <a:pPr>
                <a:defRPr/>
              </a:pPr>
              <a:t>‹#›</a:t>
            </a:fld>
            <a:endParaRPr lang="de-DE"/>
          </a:p>
        </p:txBody>
      </p:sp>
    </p:spTree>
    <p:extLst>
      <p:ext uri="{BB962C8B-B14F-4D97-AF65-F5344CB8AC3E}">
        <p14:creationId xmlns:p14="http://schemas.microsoft.com/office/powerpoint/2010/main" xmlns="" val="3035714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78C902C0-6D3D-493E-936E-F3D62FF6D7B7}" type="slidenum">
              <a:rPr lang="de-DE"/>
              <a:pPr>
                <a:defRPr/>
              </a:pPr>
              <a:t>‹#›</a:t>
            </a:fld>
            <a:endParaRPr lang="de-DE"/>
          </a:p>
        </p:txBody>
      </p:sp>
    </p:spTree>
    <p:extLst>
      <p:ext uri="{BB962C8B-B14F-4D97-AF65-F5344CB8AC3E}">
        <p14:creationId xmlns:p14="http://schemas.microsoft.com/office/powerpoint/2010/main" xmlns="" val="3854348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3961B291-91D2-4E2C-B0B8-CDB42D0E99E2}" type="slidenum">
              <a:rPr lang="de-DE"/>
              <a:pPr>
                <a:defRPr/>
              </a:pPr>
              <a:t>‹#›</a:t>
            </a:fld>
            <a:endParaRPr lang="de-DE"/>
          </a:p>
        </p:txBody>
      </p:sp>
    </p:spTree>
    <p:extLst>
      <p:ext uri="{BB962C8B-B14F-4D97-AF65-F5344CB8AC3E}">
        <p14:creationId xmlns:p14="http://schemas.microsoft.com/office/powerpoint/2010/main" xmlns="" val="2130073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A7076078-3F03-4018-918D-AD3EF2489C3C}" type="slidenum">
              <a:rPr lang="de-DE"/>
              <a:pPr>
                <a:defRPr/>
              </a:pPr>
              <a:t>‹#›</a:t>
            </a:fld>
            <a:endParaRPr lang="de-DE"/>
          </a:p>
        </p:txBody>
      </p:sp>
    </p:spTree>
    <p:extLst>
      <p:ext uri="{BB962C8B-B14F-4D97-AF65-F5344CB8AC3E}">
        <p14:creationId xmlns:p14="http://schemas.microsoft.com/office/powerpoint/2010/main" xmlns="" val="3312730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0EA13A55-FCC8-4108-97C3-F5DC9E23141C}" type="slidenum">
              <a:rPr lang="de-DE"/>
              <a:pPr>
                <a:defRPr/>
              </a:pPr>
              <a:t>‹#›</a:t>
            </a:fld>
            <a:endParaRPr lang="de-DE"/>
          </a:p>
        </p:txBody>
      </p:sp>
    </p:spTree>
    <p:extLst>
      <p:ext uri="{BB962C8B-B14F-4D97-AF65-F5344CB8AC3E}">
        <p14:creationId xmlns:p14="http://schemas.microsoft.com/office/powerpoint/2010/main" xmlns="" val="415633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5" descr="STOXX_Logo_schwarz"/>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368300" y="6443663"/>
            <a:ext cx="1169988"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68300" y="390525"/>
            <a:ext cx="9158288" cy="773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Titelmasterformat durch Klicken bearbeiten</a:t>
            </a:r>
          </a:p>
        </p:txBody>
      </p:sp>
      <p:sp>
        <p:nvSpPr>
          <p:cNvPr id="1028" name="Rectangle 3"/>
          <p:cNvSpPr>
            <a:spLocks noGrp="1" noChangeArrowheads="1"/>
          </p:cNvSpPr>
          <p:nvPr>
            <p:ph type="body" idx="1"/>
          </p:nvPr>
        </p:nvSpPr>
        <p:spPr bwMode="auto">
          <a:xfrm>
            <a:off x="368300" y="1820863"/>
            <a:ext cx="9158288" cy="4262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0" name="Rectangle 6"/>
          <p:cNvSpPr>
            <a:spLocks noGrp="1" noChangeArrowheads="1"/>
          </p:cNvSpPr>
          <p:nvPr>
            <p:ph type="sldNum" sz="quarter" idx="4"/>
          </p:nvPr>
        </p:nvSpPr>
        <p:spPr bwMode="auto">
          <a:xfrm>
            <a:off x="8642350" y="6508750"/>
            <a:ext cx="900113"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b="0">
                <a:latin typeface="+mn-lt"/>
              </a:defRPr>
            </a:lvl1pPr>
          </a:lstStyle>
          <a:p>
            <a:pPr>
              <a:defRPr/>
            </a:pPr>
            <a:fld id="{F371644F-C7B4-4388-AF7A-AB327B609266}" type="slidenum">
              <a:rPr lang="de-DE"/>
              <a:pPr>
                <a:defRPr/>
              </a:pPr>
              <a:t>‹#›</a:t>
            </a:fld>
            <a:endParaRPr lang="de-DE"/>
          </a:p>
        </p:txBody>
      </p:sp>
      <p:sp>
        <p:nvSpPr>
          <p:cNvPr id="2" name="Line 8"/>
          <p:cNvSpPr>
            <a:spLocks noChangeShapeType="1"/>
          </p:cNvSpPr>
          <p:nvPr/>
        </p:nvSpPr>
        <p:spPr bwMode="auto">
          <a:xfrm flipH="1">
            <a:off x="368300" y="6286500"/>
            <a:ext cx="9158288"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GB"/>
          </a:p>
        </p:txBody>
      </p:sp>
    </p:spTree>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lnSpc>
          <a:spcPct val="95000"/>
        </a:lnSpc>
        <a:spcBef>
          <a:spcPct val="0"/>
        </a:spcBef>
        <a:spcAft>
          <a:spcPct val="0"/>
        </a:spcAft>
        <a:buClr>
          <a:schemeClr val="accent1"/>
        </a:buClr>
        <a:buFont typeface="Arial" charset="0"/>
        <a:defRPr sz="1600" b="1">
          <a:solidFill>
            <a:schemeClr val="tx1"/>
          </a:solidFill>
          <a:latin typeface="+mn-lt"/>
          <a:ea typeface="+mn-ea"/>
          <a:cs typeface="+mn-cs"/>
        </a:defRPr>
      </a:lvl1pPr>
      <a:lvl2pPr marL="190500" indent="-188913"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2pPr>
      <a:lvl3pPr marL="361950" indent="-169863"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3pPr>
      <a:lvl4pPr marL="542925" indent="-179388"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4pPr>
      <a:lvl5pPr marL="715963" indent="-171450"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5pPr>
      <a:lvl6pPr marL="11731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6pPr>
      <a:lvl7pPr marL="16303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7pPr>
      <a:lvl8pPr marL="20875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8pPr>
      <a:lvl9pPr marL="25447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25" descr="STOXX_Logo_schwarz"/>
          <p:cNvPicPr>
            <a:picLocks noChangeAspect="1" noChangeArrowheads="1"/>
          </p:cNvPicPr>
          <p:nvPr userDrawn="1"/>
        </p:nvPicPr>
        <p:blipFill>
          <a:blip r:embed="rId13" cstate="print"/>
          <a:srcRect/>
          <a:stretch>
            <a:fillRect/>
          </a:stretch>
        </p:blipFill>
        <p:spPr bwMode="auto">
          <a:xfrm>
            <a:off x="368300" y="6443663"/>
            <a:ext cx="1169988" cy="247650"/>
          </a:xfrm>
          <a:prstGeom prst="rect">
            <a:avLst/>
          </a:prstGeom>
          <a:noFill/>
          <a:ln w="9525">
            <a:noFill/>
            <a:miter lim="800000"/>
            <a:headEnd/>
            <a:tailEnd/>
          </a:ln>
        </p:spPr>
      </p:pic>
      <p:sp>
        <p:nvSpPr>
          <p:cNvPr id="3075" name="Rectangle 2"/>
          <p:cNvSpPr>
            <a:spLocks noGrp="1" noChangeArrowheads="1"/>
          </p:cNvSpPr>
          <p:nvPr>
            <p:ph type="title"/>
          </p:nvPr>
        </p:nvSpPr>
        <p:spPr bwMode="auto">
          <a:xfrm>
            <a:off x="368300" y="390527"/>
            <a:ext cx="9158288" cy="7731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itelmasterformat durch Klicken bearbeiten</a:t>
            </a:r>
          </a:p>
        </p:txBody>
      </p:sp>
      <p:sp>
        <p:nvSpPr>
          <p:cNvPr id="3076" name="Rectangle 3"/>
          <p:cNvSpPr>
            <a:spLocks noGrp="1" noChangeArrowheads="1"/>
          </p:cNvSpPr>
          <p:nvPr>
            <p:ph type="body" idx="1"/>
          </p:nvPr>
        </p:nvSpPr>
        <p:spPr bwMode="auto">
          <a:xfrm>
            <a:off x="368300" y="1820865"/>
            <a:ext cx="9158288" cy="4262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3077" name="Line 8"/>
          <p:cNvSpPr>
            <a:spLocks noChangeShapeType="1"/>
          </p:cNvSpPr>
          <p:nvPr userDrawn="1"/>
        </p:nvSpPr>
        <p:spPr bwMode="auto">
          <a:xfrm flipH="1">
            <a:off x="368300" y="6286500"/>
            <a:ext cx="9158288" cy="0"/>
          </a:xfrm>
          <a:prstGeom prst="line">
            <a:avLst/>
          </a:prstGeom>
          <a:noFill/>
          <a:ln w="12700">
            <a:solidFill>
              <a:schemeClr val="tx1"/>
            </a:solidFill>
            <a:round/>
            <a:headEnd/>
            <a:tailEnd/>
          </a:ln>
        </p:spPr>
        <p:txBody>
          <a:bodyPr/>
          <a:lstStyle/>
          <a:p>
            <a:pPr algn="ctr">
              <a:spcBef>
                <a:spcPct val="50000"/>
              </a:spcBef>
              <a:defRPr/>
            </a:pPr>
            <a:endParaRPr lang="en-US" sz="1600" b="1">
              <a:solidFill>
                <a:srgbClr val="000000"/>
              </a:solidFill>
              <a:latin typeface="Arial"/>
            </a:endParaRPr>
          </a:p>
        </p:txBody>
      </p:sp>
      <p:sp>
        <p:nvSpPr>
          <p:cNvPr id="3078" name="Text Box 7"/>
          <p:cNvSpPr txBox="1">
            <a:spLocks noChangeArrowheads="1"/>
          </p:cNvSpPr>
          <p:nvPr userDrawn="1"/>
        </p:nvSpPr>
        <p:spPr bwMode="auto">
          <a:xfrm>
            <a:off x="8483599" y="6477001"/>
            <a:ext cx="996951" cy="184666"/>
          </a:xfrm>
          <a:prstGeom prst="rect">
            <a:avLst/>
          </a:prstGeom>
          <a:noFill/>
          <a:ln w="9525" algn="ctr">
            <a:noFill/>
            <a:miter lim="800000"/>
            <a:headEnd/>
            <a:tailEnd/>
          </a:ln>
        </p:spPr>
        <p:txBody>
          <a:bodyPr lIns="0" tIns="0" rIns="0" bIns="0">
            <a:spAutoFit/>
          </a:bodyPr>
          <a:lstStyle/>
          <a:p>
            <a:pPr algn="r">
              <a:spcBef>
                <a:spcPct val="50000"/>
              </a:spcBef>
              <a:defRPr/>
            </a:pPr>
            <a:fld id="{8E4054AE-8937-4B7E-92D3-8900740012DC}" type="slidenum">
              <a:rPr lang="en-US" sz="1200">
                <a:solidFill>
                  <a:srgbClr val="000000"/>
                </a:solidFill>
                <a:latin typeface="Arial"/>
                <a:ea typeface="ＭＳ Ｐゴシック" pitchFamily="34" charset="-128"/>
              </a:rPr>
              <a:pPr algn="r">
                <a:spcBef>
                  <a:spcPct val="50000"/>
                </a:spcBef>
                <a:defRPr/>
              </a:pPr>
              <a:t>‹#›</a:t>
            </a:fld>
            <a:endParaRPr lang="en-US" sz="1200">
              <a:solidFill>
                <a:srgbClr val="000000"/>
              </a:solidFill>
              <a:latin typeface="Arial"/>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lnSpc>
          <a:spcPct val="95000"/>
        </a:lnSpc>
        <a:spcBef>
          <a:spcPct val="0"/>
        </a:spcBef>
        <a:spcAft>
          <a:spcPct val="0"/>
        </a:spcAft>
        <a:buClr>
          <a:schemeClr val="accent1"/>
        </a:buClr>
        <a:buFont typeface="Arial" charset="0"/>
        <a:defRPr sz="1600" b="1">
          <a:solidFill>
            <a:schemeClr val="tx1"/>
          </a:solidFill>
          <a:latin typeface="+mn-lt"/>
          <a:ea typeface="+mn-ea"/>
          <a:cs typeface="+mn-cs"/>
        </a:defRPr>
      </a:lvl1pPr>
      <a:lvl2pPr marL="190500" indent="-188913"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2pPr>
      <a:lvl3pPr marL="361950" indent="-169863"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3pPr>
      <a:lvl4pPr marL="542925" indent="-179388"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4pPr>
      <a:lvl5pPr marL="715963" indent="-171450" algn="l" rtl="0" eaLnBrk="0" fontAlgn="base" hangingPunct="0">
        <a:lnSpc>
          <a:spcPct val="95000"/>
        </a:lnSpc>
        <a:spcBef>
          <a:spcPct val="0"/>
        </a:spcBef>
        <a:spcAft>
          <a:spcPct val="0"/>
        </a:spcAft>
        <a:buClr>
          <a:schemeClr val="accent1"/>
        </a:buClr>
        <a:buFont typeface="Arial" charset="0"/>
        <a:buChar char="»"/>
        <a:defRPr sz="1600">
          <a:solidFill>
            <a:schemeClr val="tx1"/>
          </a:solidFill>
          <a:latin typeface="+mn-lt"/>
        </a:defRPr>
      </a:lvl5pPr>
      <a:lvl6pPr marL="11731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6pPr>
      <a:lvl7pPr marL="16303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7pPr>
      <a:lvl8pPr marL="20875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8pPr>
      <a:lvl9pPr marL="2544763" indent="-171450" algn="l" rtl="0" fontAlgn="base">
        <a:lnSpc>
          <a:spcPct val="95000"/>
        </a:lnSpc>
        <a:spcBef>
          <a:spcPct val="0"/>
        </a:spcBef>
        <a:spcAft>
          <a:spcPct val="0"/>
        </a:spcAft>
        <a:buClr>
          <a:schemeClr val="accent1"/>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 Id="rId5" Type="http://schemas.openxmlformats.org/officeDocument/2006/relationships/chart" Target="../charts/chart9.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19.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1"/>
          <p:cNvSpPr>
            <a:spLocks noChangeArrowheads="1"/>
          </p:cNvSpPr>
          <p:nvPr/>
        </p:nvSpPr>
        <p:spPr bwMode="auto">
          <a:xfrm>
            <a:off x="368300" y="6210300"/>
            <a:ext cx="9158288" cy="512763"/>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0" tIns="0" rIns="0" bIns="0" anchor="ctr"/>
          <a:lstStyle/>
          <a:p>
            <a:pPr algn="ctr"/>
            <a:endParaRPr lang="en-US" sz="1600" b="1"/>
          </a:p>
        </p:txBody>
      </p:sp>
      <p:sp>
        <p:nvSpPr>
          <p:cNvPr id="3075" name="Rectangle 15"/>
          <p:cNvSpPr>
            <a:spLocks noGrp="1" noChangeArrowheads="1"/>
          </p:cNvSpPr>
          <p:nvPr>
            <p:ph type="title" idx="4294967295"/>
          </p:nvPr>
        </p:nvSpPr>
        <p:spPr/>
        <p:txBody>
          <a:bodyPr/>
          <a:lstStyle/>
          <a:p>
            <a:pPr eaLnBrk="1" hangingPunct="1"/>
            <a:r>
              <a:rPr lang="de-DE" smtClean="0"/>
              <a:t>STOXX</a:t>
            </a:r>
            <a:r>
              <a:rPr lang="de-DE" baseline="30000" smtClean="0"/>
              <a:t>®</a:t>
            </a:r>
            <a:r>
              <a:rPr lang="de-DE" smtClean="0"/>
              <a:t> Europe Maximum Dividend 40 Index</a:t>
            </a:r>
          </a:p>
        </p:txBody>
      </p:sp>
      <p:sp>
        <p:nvSpPr>
          <p:cNvPr id="3076" name="Rectangle 17"/>
          <p:cNvSpPr>
            <a:spLocks noGrp="1" noChangeArrowheads="1"/>
          </p:cNvSpPr>
          <p:nvPr>
            <p:ph type="subTitle" idx="4294967295"/>
          </p:nvPr>
        </p:nvSpPr>
        <p:spPr>
          <a:xfrm>
            <a:off x="368300" y="1309688"/>
            <a:ext cx="2070100" cy="231775"/>
          </a:xfrm>
          <a:noFill/>
        </p:spPr>
        <p:txBody>
          <a:bodyPr>
            <a:spAutoFit/>
          </a:bodyPr>
          <a:lstStyle/>
          <a:p>
            <a:pPr eaLnBrk="1" hangingPunct="1"/>
            <a:r>
              <a:rPr lang="de-DE" dirty="0" smtClean="0"/>
              <a:t>June 2012</a:t>
            </a:r>
          </a:p>
        </p:txBody>
      </p:sp>
      <p:sp>
        <p:nvSpPr>
          <p:cNvPr id="3077" name="Line 19"/>
          <p:cNvSpPr>
            <a:spLocks noChangeShapeType="1"/>
          </p:cNvSpPr>
          <p:nvPr/>
        </p:nvSpPr>
        <p:spPr bwMode="auto">
          <a:xfrm flipH="1">
            <a:off x="368300" y="5965825"/>
            <a:ext cx="9158288"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GB"/>
          </a:p>
        </p:txBody>
      </p:sp>
      <p:pic>
        <p:nvPicPr>
          <p:cNvPr id="3078" name="Picture 7" descr="STOXX_Logo_schwarz"/>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68300" y="6210300"/>
            <a:ext cx="1709738" cy="361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9" name="Picture 12" descr="110225_STOXX_PPT_Product_OM_4.jpg"/>
          <p:cNvPicPr>
            <a:picLocks noChangeAspect="1"/>
          </p:cNvPicPr>
          <p:nvPr/>
        </p:nvPicPr>
        <p:blipFill>
          <a:blip r:embed="rId3" cstate="print">
            <a:extLst>
              <a:ext uri="{28A0092B-C50C-407E-A947-70E740481C1C}">
                <a14:useLocalDpi xmlns:a14="http://schemas.microsoft.com/office/drawing/2010/main" xmlns="" val="0"/>
              </a:ext>
            </a:extLst>
          </a:blip>
          <a:srcRect l="6693" t="23622" r="9055" b="20473"/>
          <a:stretch>
            <a:fillRect/>
          </a:stretch>
        </p:blipFill>
        <p:spPr bwMode="auto">
          <a:xfrm>
            <a:off x="960438" y="1620838"/>
            <a:ext cx="7702550" cy="3833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80" name="Picture 9" descr="STOXX_Claim_schwarz"/>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85013" y="6481763"/>
            <a:ext cx="2441575" cy="11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extLst>
              <p:ext uri="{D42A27DB-BD31-4B8C-83A1-F6EECF244321}">
                <p14:modId xmlns:p14="http://schemas.microsoft.com/office/powerpoint/2010/main" xmlns="" val="629113620"/>
              </p:ext>
            </p:extLst>
          </p:nvPr>
        </p:nvGraphicFramePr>
        <p:xfrm>
          <a:off x="5070475" y="2247900"/>
          <a:ext cx="4065588" cy="2643188"/>
        </p:xfrm>
        <a:graphic>
          <a:graphicData uri="http://schemas.openxmlformats.org/drawingml/2006/chart">
            <c:chart xmlns:c="http://schemas.openxmlformats.org/drawingml/2006/chart" xmlns:r="http://schemas.openxmlformats.org/officeDocument/2006/relationships" r:id="rId2"/>
          </a:graphicData>
        </a:graphic>
      </p:graphicFrame>
      <p:sp>
        <p:nvSpPr>
          <p:cNvPr id="12291" name="Rectangle 6"/>
          <p:cNvSpPr>
            <a:spLocks noGrp="1" noChangeArrowheads="1"/>
          </p:cNvSpPr>
          <p:nvPr>
            <p:ph type="sldNum" sz="quarter" idx="10"/>
          </p:nvPr>
        </p:nvSpPr>
        <p:spPr/>
        <p:txBody>
          <a:bodyPr/>
          <a:lstStyle/>
          <a:p>
            <a:pPr>
              <a:defRPr/>
            </a:pPr>
            <a:fld id="{2638CFBD-49C5-4E79-B90C-15A242ACD3E1}" type="slidenum">
              <a:rPr lang="de-DE" smtClean="0"/>
              <a:pPr>
                <a:defRPr/>
              </a:pPr>
              <a:t>10</a:t>
            </a:fld>
            <a:endParaRPr lang="de-DE" smtClean="0"/>
          </a:p>
        </p:txBody>
      </p:sp>
      <p:sp>
        <p:nvSpPr>
          <p:cNvPr id="12292" name="Rectangle 2"/>
          <p:cNvSpPr>
            <a:spLocks noGrp="1" noChangeArrowheads="1"/>
          </p:cNvSpPr>
          <p:nvPr>
            <p:ph type="title" idx="4294967295"/>
          </p:nvPr>
        </p:nvSpPr>
        <p:spPr/>
        <p:txBody>
          <a:bodyPr/>
          <a:lstStyle/>
          <a:p>
            <a:pPr eaLnBrk="1" hangingPunct="1"/>
            <a:r>
              <a:rPr lang="en-US" smtClean="0">
                <a:solidFill>
                  <a:schemeClr val="tx1"/>
                </a:solidFill>
              </a:rPr>
              <a:t>STOXX Europe Maximum Dividend 40 index</a:t>
            </a:r>
          </a:p>
        </p:txBody>
      </p:sp>
      <p:sp>
        <p:nvSpPr>
          <p:cNvPr id="12293" name="Rectangle 3"/>
          <p:cNvSpPr>
            <a:spLocks noChangeArrowheads="1"/>
          </p:cNvSpPr>
          <p:nvPr/>
        </p:nvSpPr>
        <p:spPr bwMode="auto">
          <a:xfrm>
            <a:off x="368300" y="2211388"/>
            <a:ext cx="4427538" cy="30162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spcBef>
                <a:spcPct val="20000"/>
              </a:spcBef>
              <a:buClr>
                <a:schemeClr val="accent1"/>
              </a:buClr>
              <a:buFont typeface="Arial" charset="0"/>
              <a:buChar char="»"/>
            </a:pPr>
            <a:r>
              <a:rPr lang="en-US" sz="1400" dirty="0"/>
              <a:t>All constituents of STOXX Europe 600 Index are eligible for index inclusion if fulfilling the following</a:t>
            </a:r>
          </a:p>
          <a:p>
            <a:pPr marL="358775" lvl="2" indent="-188913">
              <a:spcBef>
                <a:spcPct val="20000"/>
              </a:spcBef>
              <a:buClr>
                <a:schemeClr val="accent1"/>
              </a:buClr>
              <a:buFont typeface="Arial" charset="0"/>
              <a:buChar char="»"/>
            </a:pPr>
            <a:r>
              <a:rPr lang="en-US" sz="1400" dirty="0"/>
              <a:t>ADTV</a:t>
            </a:r>
            <a:r>
              <a:rPr lang="en-US" sz="1400" baseline="30000" dirty="0"/>
              <a:t>1)</a:t>
            </a:r>
            <a:r>
              <a:rPr lang="en-US" sz="1400" dirty="0"/>
              <a:t> (3-month) &gt; 4mn EUR</a:t>
            </a:r>
          </a:p>
          <a:p>
            <a:pPr marL="358775" lvl="2" indent="-188913">
              <a:spcBef>
                <a:spcPct val="20000"/>
              </a:spcBef>
              <a:buClr>
                <a:schemeClr val="accent1"/>
              </a:buClr>
              <a:buFont typeface="Arial" charset="0"/>
              <a:buChar char="»"/>
            </a:pPr>
            <a:r>
              <a:rPr lang="en-US" sz="1400" dirty="0"/>
              <a:t>Market Capitalization &gt; 1bn EUR</a:t>
            </a:r>
          </a:p>
          <a:p>
            <a:pPr marL="190500" lvl="1" indent="-188913">
              <a:spcBef>
                <a:spcPct val="20000"/>
              </a:spcBef>
              <a:buClr>
                <a:schemeClr val="accent1"/>
              </a:buClr>
              <a:buFont typeface="Arial" charset="0"/>
              <a:buChar char="»"/>
            </a:pPr>
            <a:r>
              <a:rPr lang="en-US" sz="1400" dirty="0"/>
              <a:t>Companies are ranked according to their </a:t>
            </a:r>
            <a:r>
              <a:rPr lang="en-US" sz="1400" dirty="0" smtClean="0"/>
              <a:t>gross dividend </a:t>
            </a:r>
            <a:r>
              <a:rPr lang="en-US" sz="1400" dirty="0"/>
              <a:t>yield calculated based on 3-month dividend forecasts</a:t>
            </a:r>
          </a:p>
          <a:p>
            <a:pPr marL="190500" lvl="1" indent="-188913">
              <a:spcBef>
                <a:spcPct val="20000"/>
              </a:spcBef>
              <a:buClr>
                <a:schemeClr val="accent1"/>
              </a:buClr>
              <a:buFont typeface="Arial" charset="0"/>
              <a:buChar char="»"/>
            </a:pPr>
            <a:r>
              <a:rPr lang="en-US" sz="1400" dirty="0"/>
              <a:t>The top 40 dividend yielding companies are selected and weighted by their </a:t>
            </a:r>
            <a:r>
              <a:rPr lang="en-US" sz="1400" dirty="0" smtClean="0"/>
              <a:t>gross dividend </a:t>
            </a:r>
            <a:r>
              <a:rPr lang="en-US" sz="1400" dirty="0"/>
              <a:t>yield with a cap of 10% per constituent</a:t>
            </a:r>
          </a:p>
          <a:p>
            <a:pPr marL="190500" lvl="1" indent="-188913">
              <a:spcBef>
                <a:spcPct val="20000"/>
              </a:spcBef>
              <a:buClr>
                <a:schemeClr val="accent1"/>
              </a:buClr>
              <a:buFont typeface="Arial" charset="0"/>
              <a:buChar char="»"/>
            </a:pPr>
            <a:r>
              <a:rPr lang="en-US" sz="1400" dirty="0"/>
              <a:t>The Index is reviewed in March, June, September and December where cut-of dates are January, April, July and October</a:t>
            </a:r>
          </a:p>
        </p:txBody>
      </p:sp>
      <p:sp>
        <p:nvSpPr>
          <p:cNvPr id="12294" name="Text Box 46"/>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Concept Overview</a:t>
            </a:r>
          </a:p>
        </p:txBody>
      </p:sp>
      <p:sp>
        <p:nvSpPr>
          <p:cNvPr id="12295" name="Rectangle 2"/>
          <p:cNvSpPr>
            <a:spLocks noChangeArrowheads="1"/>
          </p:cNvSpPr>
          <p:nvPr/>
        </p:nvSpPr>
        <p:spPr bwMode="auto">
          <a:xfrm>
            <a:off x="368300" y="1846263"/>
            <a:ext cx="4357688" cy="284162"/>
          </a:xfrm>
          <a:prstGeom prst="rect">
            <a:avLst/>
          </a:prstGeom>
          <a:solidFill>
            <a:schemeClr val="accent1"/>
          </a:solidFill>
          <a:ln w="12700" algn="ctr">
            <a:solidFill>
              <a:schemeClr val="accent1"/>
            </a:solidFill>
            <a:miter lim="800000"/>
            <a:headEnd/>
            <a:tailEnd/>
          </a:ln>
        </p:spPr>
        <p:txBody>
          <a:bodyPr wrap="none" lIns="90487" tIns="0" rIns="0" bIns="0" anchor="ctr"/>
          <a:lstStyle/>
          <a:p>
            <a:r>
              <a:rPr lang="en-US" sz="1400" b="1">
                <a:solidFill>
                  <a:schemeClr val="bg1"/>
                </a:solidFill>
              </a:rPr>
              <a:t>STOXX Europe Maximum Dividend 40</a:t>
            </a:r>
          </a:p>
        </p:txBody>
      </p:sp>
      <p:sp>
        <p:nvSpPr>
          <p:cNvPr id="12296" name="Rectangle 2"/>
          <p:cNvSpPr>
            <a:spLocks noChangeArrowheads="1"/>
          </p:cNvSpPr>
          <p:nvPr/>
        </p:nvSpPr>
        <p:spPr bwMode="auto">
          <a:xfrm>
            <a:off x="4953000" y="1846263"/>
            <a:ext cx="4573588" cy="284162"/>
          </a:xfrm>
          <a:prstGeom prst="rect">
            <a:avLst/>
          </a:prstGeom>
          <a:solidFill>
            <a:schemeClr val="accent1"/>
          </a:solidFill>
          <a:ln w="12700" algn="ctr">
            <a:solidFill>
              <a:schemeClr val="accent1"/>
            </a:solidFill>
            <a:miter lim="800000"/>
            <a:headEnd/>
            <a:tailEnd/>
          </a:ln>
        </p:spPr>
        <p:txBody>
          <a:bodyPr wrap="none" lIns="90487" tIns="0" rIns="0" bIns="0" anchor="ctr"/>
          <a:lstStyle/>
          <a:p>
            <a:r>
              <a:rPr lang="en-US" sz="1400" b="1">
                <a:solidFill>
                  <a:schemeClr val="bg1"/>
                </a:solidFill>
              </a:rPr>
              <a:t>Performance Chart</a:t>
            </a:r>
          </a:p>
        </p:txBody>
      </p:sp>
      <p:grpSp>
        <p:nvGrpSpPr>
          <p:cNvPr id="12297" name="Group 5"/>
          <p:cNvGrpSpPr>
            <a:grpSpLocks/>
          </p:cNvGrpSpPr>
          <p:nvPr/>
        </p:nvGrpSpPr>
        <p:grpSpPr bwMode="auto">
          <a:xfrm>
            <a:off x="5498232" y="2551113"/>
            <a:ext cx="2551112" cy="153987"/>
            <a:chOff x="176" y="3893"/>
            <a:chExt cx="1375" cy="97"/>
          </a:xfrm>
        </p:grpSpPr>
        <p:sp>
          <p:nvSpPr>
            <p:cNvPr id="12318" name="Rectangle 6"/>
            <p:cNvSpPr>
              <a:spLocks noChangeArrowheads="1"/>
            </p:cNvSpPr>
            <p:nvPr/>
          </p:nvSpPr>
          <p:spPr bwMode="auto">
            <a:xfrm>
              <a:off x="176" y="3896"/>
              <a:ext cx="136" cy="91"/>
            </a:xfrm>
            <a:prstGeom prst="rect">
              <a:avLst/>
            </a:prstGeom>
            <a:solidFill>
              <a:schemeClr val="accent1"/>
            </a:solidFill>
            <a:ln w="9525" algn="ctr">
              <a:solidFill>
                <a:schemeClr val="accent1"/>
              </a:solidFill>
              <a:miter lim="800000"/>
              <a:headEnd/>
              <a:tailEnd/>
            </a:ln>
          </p:spPr>
          <p:txBody>
            <a:bodyPr wrap="none" lIns="0" tIns="0" rIns="0" bIns="0" anchor="ctr"/>
            <a:lstStyle/>
            <a:p>
              <a:pPr algn="ctr"/>
              <a:endParaRPr lang="en-US"/>
            </a:p>
          </p:txBody>
        </p:sp>
        <p:sp>
          <p:nvSpPr>
            <p:cNvPr id="12319" name="Legend"/>
            <p:cNvSpPr txBox="1">
              <a:spLocks noChangeArrowheads="1"/>
            </p:cNvSpPr>
            <p:nvPr/>
          </p:nvSpPr>
          <p:spPr bwMode="auto">
            <a:xfrm>
              <a:off x="377" y="3893"/>
              <a:ext cx="117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sz="1000"/>
                <a:t>STOXX Europe Maximum Dividend 40</a:t>
              </a:r>
            </a:p>
          </p:txBody>
        </p:sp>
      </p:grpSp>
      <p:grpSp>
        <p:nvGrpSpPr>
          <p:cNvPr id="12298" name="Group 8"/>
          <p:cNvGrpSpPr>
            <a:grpSpLocks/>
          </p:cNvGrpSpPr>
          <p:nvPr/>
        </p:nvGrpSpPr>
        <p:grpSpPr bwMode="auto">
          <a:xfrm>
            <a:off x="5498232" y="2751138"/>
            <a:ext cx="1500187" cy="153987"/>
            <a:chOff x="176" y="3893"/>
            <a:chExt cx="807" cy="97"/>
          </a:xfrm>
        </p:grpSpPr>
        <p:sp>
          <p:nvSpPr>
            <p:cNvPr id="12316" name="Rectangle 9"/>
            <p:cNvSpPr>
              <a:spLocks noChangeArrowheads="1"/>
            </p:cNvSpPr>
            <p:nvPr/>
          </p:nvSpPr>
          <p:spPr bwMode="auto">
            <a:xfrm>
              <a:off x="17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pPr algn="ctr"/>
              <a:endParaRPr lang="en-US"/>
            </a:p>
          </p:txBody>
        </p:sp>
        <p:sp>
          <p:nvSpPr>
            <p:cNvPr id="12317" name="Legend"/>
            <p:cNvSpPr txBox="1">
              <a:spLocks noChangeArrowheads="1"/>
            </p:cNvSpPr>
            <p:nvPr/>
          </p:nvSpPr>
          <p:spPr bwMode="auto">
            <a:xfrm>
              <a:off x="377" y="3893"/>
              <a:ext cx="60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GB" sz="1000" dirty="0"/>
                <a:t>STOXX Europe 600</a:t>
              </a:r>
              <a:endParaRPr lang="de-DE" sz="1000" dirty="0"/>
            </a:p>
          </p:txBody>
        </p:sp>
      </p:grpSp>
      <p:sp>
        <p:nvSpPr>
          <p:cNvPr id="12299" name="Text Box 150"/>
          <p:cNvSpPr txBox="1">
            <a:spLocks noChangeArrowheads="1"/>
          </p:cNvSpPr>
          <p:nvPr/>
        </p:nvSpPr>
        <p:spPr bwMode="auto">
          <a:xfrm>
            <a:off x="2022475" y="6535738"/>
            <a:ext cx="6540500" cy="15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aseline="30000" dirty="0">
                <a:solidFill>
                  <a:srgbClr val="AFAFAF"/>
                </a:solidFill>
              </a:rPr>
              <a:t>1) </a:t>
            </a:r>
            <a:r>
              <a:rPr lang="en-US" sz="1000" dirty="0">
                <a:solidFill>
                  <a:srgbClr val="AFAFAF"/>
                </a:solidFill>
              </a:rPr>
              <a:t>ADTV (3-month): Average Daily Value traded over 3 month measured 3-month back  starting at cut-off date</a:t>
            </a:r>
          </a:p>
        </p:txBody>
      </p:sp>
      <p:graphicFrame>
        <p:nvGraphicFramePr>
          <p:cNvPr id="19" name="Group 49"/>
          <p:cNvGraphicFramePr>
            <a:graphicFrameLocks noGrp="1"/>
          </p:cNvGraphicFramePr>
          <p:nvPr>
            <p:extLst>
              <p:ext uri="{D42A27DB-BD31-4B8C-83A1-F6EECF244321}">
                <p14:modId xmlns:p14="http://schemas.microsoft.com/office/powerpoint/2010/main" xmlns="" val="1711317624"/>
              </p:ext>
            </p:extLst>
          </p:nvPr>
        </p:nvGraphicFramePr>
        <p:xfrm>
          <a:off x="5180013" y="5084763"/>
          <a:ext cx="4021137" cy="1127126"/>
        </p:xfrm>
        <a:graphic>
          <a:graphicData uri="http://schemas.openxmlformats.org/drawingml/2006/table">
            <a:tbl>
              <a:tblPr/>
              <a:tblGrid>
                <a:gridCol w="1854357"/>
                <a:gridCol w="1296183"/>
                <a:gridCol w="870597"/>
              </a:tblGrid>
              <a:tr h="31777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GB" sz="1200" b="1" i="0" u="none" strike="noStrike" cap="none" normalizeH="0" baseline="0" dirty="0" smtClean="0">
                          <a:ln>
                            <a:noFill/>
                          </a:ln>
                          <a:solidFill>
                            <a:schemeClr val="tx1"/>
                          </a:solidFill>
                          <a:effectLst/>
                          <a:latin typeface="Arial" charset="0"/>
                        </a:rPr>
                        <a:t>Name</a:t>
                      </a:r>
                    </a:p>
                  </a:txBody>
                  <a:tcPr marL="72002" marR="0" marT="71995" marB="71995" anchor="ctr" horzOverflow="overflow">
                    <a:lnL>
                      <a:noFill/>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200" b="1" i="0" u="none" strike="noStrike" cap="none" normalizeH="0" baseline="0" dirty="0" smtClean="0">
                          <a:ln>
                            <a:noFill/>
                          </a:ln>
                          <a:solidFill>
                            <a:schemeClr val="tx1"/>
                          </a:solidFill>
                          <a:effectLst/>
                          <a:latin typeface="Arial" charset="0"/>
                        </a:rPr>
                        <a:t>Performance</a:t>
                      </a:r>
                    </a:p>
                  </a:txBody>
                  <a:tcPr marL="72002" marR="0" marT="71995" marB="7199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200" b="1" i="0" u="none" strike="noStrike" cap="none" normalizeH="0" baseline="0" dirty="0" smtClean="0">
                          <a:ln>
                            <a:noFill/>
                          </a:ln>
                          <a:solidFill>
                            <a:schemeClr val="tx1"/>
                          </a:solidFill>
                          <a:effectLst/>
                          <a:latin typeface="Arial" charset="0"/>
                        </a:rPr>
                        <a:t>Volatility</a:t>
                      </a:r>
                    </a:p>
                  </a:txBody>
                  <a:tcPr marL="72002" marR="0" marT="71995" marB="71995" anchor="ctr" horzOverflow="overflow">
                    <a:lnL w="12700" cap="flat" cmpd="sng" algn="ctr">
                      <a:solidFill>
                        <a:schemeClr val="tx1"/>
                      </a:solidFill>
                      <a:prstDash val="solid"/>
                      <a:round/>
                      <a:headEnd type="none" w="med" len="med"/>
                      <a:tailEnd type="none" w="med" len="med"/>
                    </a:lnL>
                    <a:lnR>
                      <a:noFill/>
                    </a:lnR>
                    <a:lnT>
                      <a:noFill/>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r>
              <a:tr h="49156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200" b="0" i="0" u="none" strike="noStrike" kern="1200" cap="none" normalizeH="0" baseline="0" dirty="0" smtClean="0">
                          <a:ln>
                            <a:noFill/>
                          </a:ln>
                          <a:solidFill>
                            <a:schemeClr val="tx1"/>
                          </a:solidFill>
                          <a:effectLst/>
                          <a:latin typeface="Arial" charset="0"/>
                          <a:ea typeface="+mn-ea"/>
                          <a:cs typeface="+mn-cs"/>
                        </a:rPr>
                        <a:t>STOXX Europe Maximum Dividend 40 NR</a:t>
                      </a:r>
                    </a:p>
                  </a:txBody>
                  <a:tcPr marL="72002" marR="0" marT="71995" marB="71995" anchor="ctr" horzOverflow="overflow">
                    <a:lnL>
                      <a:noFill/>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de-CH" sz="1200" b="0" i="0" u="none" strike="noStrike" kern="1200" cap="none" normalizeH="0" baseline="0" dirty="0" smtClean="0">
                          <a:ln>
                            <a:noFill/>
                          </a:ln>
                          <a:solidFill>
                            <a:schemeClr val="tx1"/>
                          </a:solidFill>
                          <a:effectLst/>
                          <a:latin typeface="Arial" charset="0"/>
                          <a:ea typeface="+mn-ea"/>
                          <a:cs typeface="+mn-cs"/>
                        </a:rPr>
                        <a:t>8.59%</a:t>
                      </a:r>
                      <a:endParaRPr kumimoji="0" lang="en-GB" sz="1200" b="0" i="0" u="none" strike="noStrike" kern="1200" cap="none" normalizeH="0" baseline="0" dirty="0">
                        <a:ln>
                          <a:noFill/>
                        </a:ln>
                        <a:solidFill>
                          <a:schemeClr val="tx1"/>
                        </a:solidFill>
                        <a:effectLst/>
                        <a:latin typeface="Arial" charset="0"/>
                        <a:ea typeface="+mn-ea"/>
                        <a:cs typeface="+mn-cs"/>
                      </a:endParaRPr>
                    </a:p>
                  </a:txBody>
                  <a:tcPr marL="9525" marR="9525" marT="9522"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de-CH" sz="1200" b="0" i="0" u="none" strike="noStrike" kern="1200" cap="none" normalizeH="0" baseline="0" dirty="0" smtClean="0">
                          <a:ln>
                            <a:noFill/>
                          </a:ln>
                          <a:solidFill>
                            <a:schemeClr val="tx1"/>
                          </a:solidFill>
                          <a:effectLst/>
                          <a:latin typeface="Arial" charset="0"/>
                          <a:ea typeface="+mn-ea"/>
                          <a:cs typeface="+mn-cs"/>
                        </a:rPr>
                        <a:t>19.71%</a:t>
                      </a:r>
                      <a:endParaRPr kumimoji="0" lang="en-GB" sz="1200" b="0" i="0" u="none" strike="noStrike" kern="1200" cap="none" normalizeH="0" baseline="0" dirty="0">
                        <a:ln>
                          <a:noFill/>
                        </a:ln>
                        <a:solidFill>
                          <a:schemeClr val="tx1"/>
                        </a:solidFill>
                        <a:effectLst/>
                        <a:latin typeface="Arial" charset="0"/>
                        <a:ea typeface="+mn-ea"/>
                        <a:cs typeface="+mn-cs"/>
                      </a:endParaRPr>
                    </a:p>
                  </a:txBody>
                  <a:tcPr marL="9525" marR="9525" marT="9522" marB="0" anchor="b">
                    <a:lnL w="9525" cap="flat" cmpd="sng" algn="ctr">
                      <a:solidFill>
                        <a:schemeClr val="tx2"/>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777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200" b="0" i="0" u="none" strike="noStrike" cap="none" normalizeH="0" baseline="0" dirty="0" smtClean="0">
                          <a:ln>
                            <a:noFill/>
                          </a:ln>
                          <a:solidFill>
                            <a:schemeClr val="tx1"/>
                          </a:solidFill>
                          <a:effectLst/>
                          <a:latin typeface="Arial" charset="0"/>
                        </a:rPr>
                        <a:t>STOXX Europe 600 NR</a:t>
                      </a:r>
                    </a:p>
                  </a:txBody>
                  <a:tcPr marL="72002" marR="0" marT="71995" marB="71995"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de-CH" sz="1200" b="0" i="0" u="none" strike="noStrike" kern="1200" cap="none" normalizeH="0" baseline="0" dirty="0" smtClean="0">
                          <a:ln>
                            <a:noFill/>
                          </a:ln>
                          <a:solidFill>
                            <a:schemeClr val="tx1"/>
                          </a:solidFill>
                          <a:effectLst/>
                          <a:latin typeface="Arial" charset="0"/>
                          <a:ea typeface="+mn-ea"/>
                          <a:cs typeface="+mn-cs"/>
                        </a:rPr>
                        <a:t>-1.16%</a:t>
                      </a:r>
                      <a:endParaRPr kumimoji="0" lang="en-GB" sz="1200" b="0" i="0" u="none" strike="noStrike" kern="1200" cap="none" normalizeH="0" baseline="0" dirty="0">
                        <a:ln>
                          <a:noFill/>
                        </a:ln>
                        <a:solidFill>
                          <a:schemeClr val="tx1"/>
                        </a:solidFill>
                        <a:effectLst/>
                        <a:latin typeface="Arial" charset="0"/>
                        <a:ea typeface="+mn-ea"/>
                        <a:cs typeface="+mn-cs"/>
                      </a:endParaRPr>
                    </a:p>
                  </a:txBody>
                  <a:tcPr marL="9525" marR="9525" marT="9522"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de-CH" sz="1200" b="0" i="0" u="none" strike="noStrike" kern="1200" cap="none" normalizeH="0" baseline="0" dirty="0" smtClean="0">
                          <a:ln>
                            <a:noFill/>
                          </a:ln>
                          <a:solidFill>
                            <a:schemeClr val="tx1"/>
                          </a:solidFill>
                          <a:effectLst/>
                          <a:latin typeface="Arial" charset="0"/>
                          <a:ea typeface="+mn-ea"/>
                          <a:cs typeface="+mn-cs"/>
                        </a:rPr>
                        <a:t>20.98%</a:t>
                      </a:r>
                      <a:endParaRPr kumimoji="0" lang="en-GB" sz="1200" b="0" i="0" u="none" strike="noStrike" kern="1200" cap="none" normalizeH="0" baseline="0" dirty="0">
                        <a:ln>
                          <a:noFill/>
                        </a:ln>
                        <a:solidFill>
                          <a:schemeClr val="tx1"/>
                        </a:solidFill>
                        <a:effectLst/>
                        <a:latin typeface="Arial" charset="0"/>
                        <a:ea typeface="+mn-ea"/>
                        <a:cs typeface="+mn-cs"/>
                      </a:endParaRPr>
                    </a:p>
                  </a:txBody>
                  <a:tcPr marL="9525" marR="9525" marT="9522"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txBox="1">
            <a:spLocks noGrp="1"/>
          </p:cNvSpPr>
          <p:nvPr/>
        </p:nvSpPr>
        <p:spPr bwMode="auto">
          <a:xfrm>
            <a:off x="8642350" y="6508750"/>
            <a:ext cx="900113"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0D1F5D4A-F83F-47DE-A8B4-6D538A4E0A51}" type="slidenum">
              <a:rPr lang="de-DE" sz="1200"/>
              <a:pPr algn="r" eaLnBrk="1" hangingPunct="1"/>
              <a:t>11</a:t>
            </a:fld>
            <a:endParaRPr lang="de-DE" sz="1200"/>
          </a:p>
        </p:txBody>
      </p:sp>
      <p:sp>
        <p:nvSpPr>
          <p:cNvPr id="13315" name="Rectangle 2"/>
          <p:cNvSpPr>
            <a:spLocks noGrp="1" noChangeArrowheads="1"/>
          </p:cNvSpPr>
          <p:nvPr>
            <p:ph type="title" idx="4294967295"/>
          </p:nvPr>
        </p:nvSpPr>
        <p:spPr/>
        <p:txBody>
          <a:bodyPr/>
          <a:lstStyle/>
          <a:p>
            <a:pPr eaLnBrk="1" hangingPunct="1"/>
            <a:r>
              <a:rPr lang="en-US" smtClean="0"/>
              <a:t>STOXX Dividend Indices: Comparative Overview of the Select Dividend and the Maximum Dividend concepts</a:t>
            </a:r>
          </a:p>
        </p:txBody>
      </p:sp>
      <p:sp>
        <p:nvSpPr>
          <p:cNvPr id="13316" name="Rectangle 3"/>
          <p:cNvSpPr>
            <a:spLocks noChangeArrowheads="1"/>
          </p:cNvSpPr>
          <p:nvPr/>
        </p:nvSpPr>
        <p:spPr bwMode="auto">
          <a:xfrm>
            <a:off x="368300" y="2217738"/>
            <a:ext cx="4357688" cy="2832100"/>
          </a:xfrm>
          <a:prstGeom prst="rect">
            <a:avLst/>
          </a:prstGeom>
          <a:noFill/>
          <a:ln>
            <a:noFill/>
          </a:ln>
          <a:extLst/>
        </p:spPr>
        <p:txBody>
          <a:bodyPr lIns="0" tIns="0" rIns="0" bIns="0">
            <a:spAutoFit/>
          </a:bodyPr>
          <a:lstStyle/>
          <a:p>
            <a:pPr marL="1587" lvl="1">
              <a:lnSpc>
                <a:spcPct val="95000"/>
              </a:lnSpc>
              <a:buClr>
                <a:schemeClr val="accent1"/>
              </a:buClr>
              <a:defRPr/>
            </a:pPr>
            <a:r>
              <a:rPr lang="en-US" sz="1600" b="1" dirty="0"/>
              <a:t>Description</a:t>
            </a:r>
          </a:p>
          <a:p>
            <a:pPr marL="190500" lvl="1" indent="-188913">
              <a:lnSpc>
                <a:spcPct val="95000"/>
              </a:lnSpc>
              <a:buClr>
                <a:schemeClr val="accent1"/>
              </a:buClr>
              <a:buFont typeface="Arial" charset="0"/>
              <a:buChar char="»"/>
              <a:defRPr/>
            </a:pPr>
            <a:r>
              <a:rPr lang="en-US" sz="1600" dirty="0"/>
              <a:t>Eligibility, Selection and Ranking are based on 3-month dividend forecasts and liquidity criteria</a:t>
            </a:r>
          </a:p>
          <a:p>
            <a:pPr marL="190500" lvl="1" indent="-188913">
              <a:lnSpc>
                <a:spcPct val="95000"/>
              </a:lnSpc>
              <a:buClr>
                <a:schemeClr val="accent1"/>
              </a:buClr>
              <a:buFont typeface="Arial" charset="0"/>
              <a:buChar char="»"/>
              <a:defRPr/>
            </a:pPr>
            <a:r>
              <a:rPr lang="en-US" sz="1600" dirty="0"/>
              <a:t>Weighting is based on gross dividend yields</a:t>
            </a:r>
          </a:p>
          <a:p>
            <a:pPr marL="190500" lvl="1" indent="-188913">
              <a:lnSpc>
                <a:spcPct val="95000"/>
              </a:lnSpc>
              <a:buClr>
                <a:schemeClr val="accent1"/>
              </a:buClr>
              <a:buFont typeface="Arial" charset="0"/>
              <a:buChar char="»"/>
              <a:defRPr/>
            </a:pPr>
            <a:r>
              <a:rPr lang="en-US" sz="1600" dirty="0"/>
              <a:t>quarterly index review in March, June, September and December</a:t>
            </a:r>
          </a:p>
          <a:p>
            <a:pPr marL="190500" lvl="1" indent="-188913">
              <a:lnSpc>
                <a:spcPct val="95000"/>
              </a:lnSpc>
              <a:buClr>
                <a:schemeClr val="accent1"/>
              </a:buClr>
              <a:buFont typeface="Arial" charset="0"/>
              <a:buChar char="»"/>
              <a:defRPr/>
            </a:pPr>
            <a:endParaRPr lang="en-US" sz="1600" dirty="0"/>
          </a:p>
          <a:p>
            <a:pPr marL="263525" lvl="1" indent="-261938" eaLnBrk="0" hangingPunct="0">
              <a:lnSpc>
                <a:spcPct val="95000"/>
              </a:lnSpc>
              <a:spcAft>
                <a:spcPct val="10000"/>
              </a:spcAft>
              <a:buClr>
                <a:schemeClr val="accent1"/>
              </a:buClr>
              <a:buFont typeface="Arial" charset="0"/>
              <a:buNone/>
              <a:defRPr/>
            </a:pPr>
            <a:r>
              <a:rPr lang="en-US" sz="1600" b="1" dirty="0"/>
              <a:t>Target group / Rationale</a:t>
            </a:r>
          </a:p>
          <a:p>
            <a:pPr marL="263525" lvl="1" indent="-261938" eaLnBrk="0" hangingPunct="0">
              <a:lnSpc>
                <a:spcPct val="95000"/>
              </a:lnSpc>
              <a:spcAft>
                <a:spcPct val="10000"/>
              </a:spcAft>
              <a:buClr>
                <a:schemeClr val="accent1"/>
              </a:buClr>
              <a:buFont typeface="Arial" charset="0"/>
              <a:buChar char="»"/>
              <a:defRPr/>
            </a:pPr>
            <a:r>
              <a:rPr lang="en-US" sz="1600" dirty="0"/>
              <a:t>Short-term oriented investors aiming generate outperformance from dividend yield and willing to take high turnover ratios</a:t>
            </a:r>
          </a:p>
        </p:txBody>
      </p:sp>
      <p:sp>
        <p:nvSpPr>
          <p:cNvPr id="13317" name="Rectangle 2"/>
          <p:cNvSpPr>
            <a:spLocks noChangeArrowheads="1"/>
          </p:cNvSpPr>
          <p:nvPr/>
        </p:nvSpPr>
        <p:spPr bwMode="auto">
          <a:xfrm>
            <a:off x="368300" y="1836738"/>
            <a:ext cx="4357688" cy="284162"/>
          </a:xfrm>
          <a:prstGeom prst="rect">
            <a:avLst/>
          </a:prstGeom>
          <a:solidFill>
            <a:schemeClr val="accent1"/>
          </a:solidFill>
          <a:ln w="12700" algn="ctr">
            <a:solidFill>
              <a:schemeClr val="accent1"/>
            </a:solidFill>
            <a:miter lim="800000"/>
            <a:headEnd/>
            <a:tailEnd/>
          </a:ln>
        </p:spPr>
        <p:txBody>
          <a:bodyPr lIns="414000" tIns="0" rIns="0" bIns="0" anchor="ctr"/>
          <a:lstStyle/>
          <a:p>
            <a:r>
              <a:rPr lang="en-US" sz="1600" b="1">
                <a:solidFill>
                  <a:schemeClr val="bg1"/>
                </a:solidFill>
              </a:rPr>
              <a:t>Maximum dividend</a:t>
            </a:r>
          </a:p>
        </p:txBody>
      </p:sp>
      <p:sp>
        <p:nvSpPr>
          <p:cNvPr id="13318" name="Rectangle 5"/>
          <p:cNvSpPr>
            <a:spLocks noChangeArrowheads="1"/>
          </p:cNvSpPr>
          <p:nvPr/>
        </p:nvSpPr>
        <p:spPr bwMode="auto">
          <a:xfrm>
            <a:off x="5167313" y="2217738"/>
            <a:ext cx="4467225" cy="3767185"/>
          </a:xfrm>
          <a:prstGeom prst="rect">
            <a:avLst/>
          </a:prstGeom>
          <a:noFill/>
          <a:ln>
            <a:noFill/>
          </a:ln>
          <a:extLst/>
        </p:spPr>
        <p:txBody>
          <a:bodyPr lIns="0" tIns="0" rIns="0" bIns="0">
            <a:spAutoFit/>
          </a:bodyPr>
          <a:lstStyle/>
          <a:p>
            <a:pPr marL="1587" lvl="1">
              <a:lnSpc>
                <a:spcPct val="95000"/>
              </a:lnSpc>
              <a:buClr>
                <a:schemeClr val="accent1"/>
              </a:buClr>
              <a:defRPr/>
            </a:pPr>
            <a:r>
              <a:rPr lang="en-US" sz="1600" b="1" dirty="0"/>
              <a:t>Description</a:t>
            </a:r>
          </a:p>
          <a:p>
            <a:pPr marL="190500" lvl="1" indent="-188913">
              <a:lnSpc>
                <a:spcPct val="95000"/>
              </a:lnSpc>
              <a:buClr>
                <a:schemeClr val="accent1"/>
              </a:buClr>
              <a:buFont typeface="Arial" charset="0"/>
              <a:buChar char="»"/>
              <a:defRPr/>
            </a:pPr>
            <a:r>
              <a:rPr lang="en-US" sz="1600" dirty="0"/>
              <a:t>Selection is based on the following:</a:t>
            </a:r>
          </a:p>
          <a:p>
            <a:pPr marL="647700" lvl="2" indent="-188913">
              <a:lnSpc>
                <a:spcPct val="95000"/>
              </a:lnSpc>
              <a:buClr>
                <a:schemeClr val="accent1"/>
              </a:buClr>
              <a:buFont typeface="Arial" charset="0"/>
              <a:buChar char="»"/>
              <a:defRPr/>
            </a:pPr>
            <a:r>
              <a:rPr lang="en-US" sz="1600" dirty="0"/>
              <a:t>Non-negative dividend growth rate over the past five years</a:t>
            </a:r>
          </a:p>
          <a:p>
            <a:pPr marL="647700" lvl="2" indent="-188913">
              <a:lnSpc>
                <a:spcPct val="95000"/>
              </a:lnSpc>
              <a:buClr>
                <a:schemeClr val="accent1"/>
              </a:buClr>
              <a:buFont typeface="Arial" charset="0"/>
              <a:buChar char="»"/>
              <a:defRPr/>
            </a:pPr>
            <a:r>
              <a:rPr lang="en-US" sz="1600" dirty="0"/>
              <a:t>Dividend payments in 4 out of 5 years</a:t>
            </a:r>
          </a:p>
          <a:p>
            <a:pPr marL="647700" lvl="2" indent="-188913">
              <a:lnSpc>
                <a:spcPct val="95000"/>
              </a:lnSpc>
              <a:buClr>
                <a:schemeClr val="accent1"/>
              </a:buClr>
              <a:buFont typeface="Arial" charset="0"/>
              <a:buChar char="»"/>
              <a:defRPr/>
            </a:pPr>
            <a:r>
              <a:rPr lang="en-US" sz="1600" dirty="0"/>
              <a:t>Non-negative payout ratio</a:t>
            </a:r>
          </a:p>
          <a:p>
            <a:pPr marL="647700" lvl="2" indent="-188913">
              <a:lnSpc>
                <a:spcPct val="95000"/>
              </a:lnSpc>
              <a:buClr>
                <a:schemeClr val="accent1"/>
              </a:buClr>
              <a:buFont typeface="Arial" charset="0"/>
              <a:buChar char="»"/>
              <a:defRPr/>
            </a:pPr>
            <a:r>
              <a:rPr lang="en-US" sz="1600" dirty="0"/>
              <a:t>A minimum level of liquidity</a:t>
            </a:r>
          </a:p>
          <a:p>
            <a:pPr marL="190500" lvl="1" indent="-188913">
              <a:lnSpc>
                <a:spcPct val="95000"/>
              </a:lnSpc>
              <a:buClr>
                <a:schemeClr val="accent1"/>
              </a:buClr>
              <a:buFont typeface="Arial" charset="0"/>
              <a:buChar char="»"/>
              <a:defRPr/>
            </a:pPr>
            <a:r>
              <a:rPr lang="en-US" sz="1600" dirty="0"/>
              <a:t>Weighting based on annual </a:t>
            </a:r>
            <a:r>
              <a:rPr lang="en-US" sz="1600" dirty="0" smtClean="0"/>
              <a:t>gross dividend </a:t>
            </a:r>
            <a:r>
              <a:rPr lang="en-US" sz="1600" dirty="0"/>
              <a:t>yields </a:t>
            </a:r>
          </a:p>
          <a:p>
            <a:pPr marL="190500" lvl="1" indent="-188913">
              <a:lnSpc>
                <a:spcPct val="95000"/>
              </a:lnSpc>
              <a:buClr>
                <a:schemeClr val="accent1"/>
              </a:buClr>
              <a:buFont typeface="Arial" charset="0"/>
              <a:buChar char="»"/>
              <a:defRPr/>
            </a:pPr>
            <a:r>
              <a:rPr lang="en-US" sz="1600" dirty="0"/>
              <a:t>Annual Index review in March</a:t>
            </a:r>
          </a:p>
          <a:p>
            <a:pPr marL="1587" lvl="1">
              <a:lnSpc>
                <a:spcPct val="95000"/>
              </a:lnSpc>
              <a:buClr>
                <a:schemeClr val="accent1"/>
              </a:buClr>
              <a:defRPr/>
            </a:pPr>
            <a:endParaRPr lang="en-US" sz="1600" dirty="0"/>
          </a:p>
          <a:p>
            <a:pPr marL="263525" lvl="1" indent="-261938" eaLnBrk="0" hangingPunct="0">
              <a:lnSpc>
                <a:spcPct val="95000"/>
              </a:lnSpc>
              <a:spcAft>
                <a:spcPct val="10000"/>
              </a:spcAft>
              <a:buClr>
                <a:schemeClr val="accent1"/>
              </a:buClr>
              <a:buFont typeface="Arial" charset="0"/>
              <a:buNone/>
              <a:tabLst>
                <a:tab pos="2514600" algn="l"/>
              </a:tabLst>
              <a:defRPr/>
            </a:pPr>
            <a:r>
              <a:rPr lang="en-US" sz="1600" b="1" dirty="0"/>
              <a:t>Target group / Rationale</a:t>
            </a:r>
          </a:p>
          <a:p>
            <a:pPr marL="263525" lvl="1" indent="-261938" eaLnBrk="0" hangingPunct="0">
              <a:lnSpc>
                <a:spcPct val="95000"/>
              </a:lnSpc>
              <a:spcAft>
                <a:spcPct val="10000"/>
              </a:spcAft>
              <a:buClr>
                <a:schemeClr val="accent1"/>
              </a:buClr>
              <a:buFont typeface="Arial" charset="0"/>
              <a:buChar char="»"/>
              <a:tabLst>
                <a:tab pos="2514600" algn="l"/>
              </a:tabLst>
              <a:defRPr/>
            </a:pPr>
            <a:r>
              <a:rPr lang="en-US" sz="1600" dirty="0"/>
              <a:t>Long-term oriented Investors who aim to select companies with a good dividend history and continuous payments, willing to take smooth turnover ratio</a:t>
            </a:r>
          </a:p>
        </p:txBody>
      </p:sp>
      <p:sp>
        <p:nvSpPr>
          <p:cNvPr id="13319" name="Rectangle 24"/>
          <p:cNvSpPr>
            <a:spLocks noChangeArrowheads="1"/>
          </p:cNvSpPr>
          <p:nvPr/>
        </p:nvSpPr>
        <p:spPr bwMode="auto">
          <a:xfrm>
            <a:off x="446088" y="1778000"/>
            <a:ext cx="293687" cy="271463"/>
          </a:xfrm>
          <a:prstGeom prst="rect">
            <a:avLst/>
          </a:prstGeom>
          <a:solidFill>
            <a:srgbClr val="92B60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lgn="ctr" eaLnBrk="0" hangingPunct="0"/>
            <a:r>
              <a:rPr kumimoji="1" lang="en-US" sz="1600" b="1">
                <a:solidFill>
                  <a:schemeClr val="bg1"/>
                </a:solidFill>
              </a:rPr>
              <a:t>1</a:t>
            </a:r>
          </a:p>
        </p:txBody>
      </p:sp>
      <p:sp>
        <p:nvSpPr>
          <p:cNvPr id="13320" name="Rectangle 2"/>
          <p:cNvSpPr>
            <a:spLocks noChangeArrowheads="1"/>
          </p:cNvSpPr>
          <p:nvPr/>
        </p:nvSpPr>
        <p:spPr bwMode="auto">
          <a:xfrm>
            <a:off x="5167313" y="1836738"/>
            <a:ext cx="4467225" cy="284162"/>
          </a:xfrm>
          <a:prstGeom prst="rect">
            <a:avLst/>
          </a:prstGeom>
          <a:solidFill>
            <a:schemeClr val="accent1"/>
          </a:solidFill>
          <a:ln w="12700" algn="ctr">
            <a:solidFill>
              <a:schemeClr val="accent1"/>
            </a:solidFill>
            <a:miter lim="800000"/>
            <a:headEnd/>
            <a:tailEnd/>
          </a:ln>
        </p:spPr>
        <p:txBody>
          <a:bodyPr lIns="414000" tIns="0" rIns="0" bIns="0" anchor="ctr"/>
          <a:lstStyle/>
          <a:p>
            <a:r>
              <a:rPr lang="en-US" sz="1600" b="1">
                <a:solidFill>
                  <a:schemeClr val="bg1"/>
                </a:solidFill>
              </a:rPr>
              <a:t>Select dividend</a:t>
            </a:r>
          </a:p>
        </p:txBody>
      </p:sp>
      <p:sp>
        <p:nvSpPr>
          <p:cNvPr id="13321" name="Rectangle 24"/>
          <p:cNvSpPr>
            <a:spLocks noChangeArrowheads="1"/>
          </p:cNvSpPr>
          <p:nvPr/>
        </p:nvSpPr>
        <p:spPr bwMode="auto">
          <a:xfrm>
            <a:off x="5245100" y="1778000"/>
            <a:ext cx="293688" cy="271463"/>
          </a:xfrm>
          <a:prstGeom prst="rect">
            <a:avLst/>
          </a:prstGeom>
          <a:solidFill>
            <a:srgbClr val="92B60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lgn="ctr" eaLnBrk="0" hangingPunct="0"/>
            <a:r>
              <a:rPr kumimoji="1" lang="en-US" sz="1600" b="1">
                <a:solidFill>
                  <a:schemeClr val="bg1"/>
                </a:solidFill>
              </a:rPr>
              <a:t>2</a:t>
            </a:r>
          </a:p>
        </p:txBody>
      </p:sp>
      <p:sp>
        <p:nvSpPr>
          <p:cNvPr id="13322" name="Text Box 9"/>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Comparative Overview</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9"/>
          <p:cNvSpPr>
            <a:spLocks noGrp="1" noChangeArrowheads="1"/>
          </p:cNvSpPr>
          <p:nvPr>
            <p:ph type="sldNum" sz="quarter" idx="10"/>
          </p:nvPr>
        </p:nvSpPr>
        <p:spPr/>
        <p:txBody>
          <a:bodyPr/>
          <a:lstStyle/>
          <a:p>
            <a:pPr>
              <a:defRPr/>
            </a:pPr>
            <a:fld id="{98DBC8E9-60BA-4780-91C4-43221FDDFB44}" type="slidenum">
              <a:rPr lang="de-DE" smtClean="0"/>
              <a:pPr>
                <a:defRPr/>
              </a:pPr>
              <a:t>12</a:t>
            </a:fld>
            <a:endParaRPr lang="de-DE" smtClean="0"/>
          </a:p>
        </p:txBody>
      </p:sp>
      <p:sp>
        <p:nvSpPr>
          <p:cNvPr id="14339" name="Rectangle 6"/>
          <p:cNvSpPr>
            <a:spLocks noGrp="1" noChangeArrowheads="1"/>
          </p:cNvSpPr>
          <p:nvPr>
            <p:ph type="ctrTitle"/>
          </p:nvPr>
        </p:nvSpPr>
        <p:spPr>
          <a:xfrm>
            <a:off x="368300" y="298450"/>
            <a:ext cx="9158288" cy="1052513"/>
          </a:xfrm>
        </p:spPr>
        <p:txBody>
          <a:bodyPr/>
          <a:lstStyle/>
          <a:p>
            <a:pPr eaLnBrk="1" hangingPunct="1"/>
            <a:r>
              <a:rPr lang="de-DE" sz="2400" b="1" smtClean="0"/>
              <a:t>STOXX Europe Maximum Dividend 40 Index</a:t>
            </a:r>
            <a:r>
              <a:rPr lang="de-DE" smtClean="0"/>
              <a:t/>
            </a:r>
            <a:br>
              <a:rPr lang="de-DE" smtClean="0"/>
            </a:br>
            <a:r>
              <a:rPr lang="de-DE" smtClean="0">
                <a:solidFill>
                  <a:srgbClr val="B8D266"/>
                </a:solidFill>
              </a:rPr>
              <a:t>3. Profile &amp; Performance Figur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1"/>
          <p:cNvGraphicFramePr>
            <a:graphicFrameLocks noChangeAspect="1"/>
          </p:cNvGraphicFramePr>
          <p:nvPr>
            <p:extLst>
              <p:ext uri="{D42A27DB-BD31-4B8C-83A1-F6EECF244321}">
                <p14:modId xmlns:p14="http://schemas.microsoft.com/office/powerpoint/2010/main" xmlns="" val="2483770445"/>
              </p:ext>
            </p:extLst>
          </p:nvPr>
        </p:nvGraphicFramePr>
        <p:xfrm>
          <a:off x="233363" y="2157413"/>
          <a:ext cx="5768975" cy="2805112"/>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bwMode="auto">
          <a:xfrm>
            <a:off x="6745288" y="1844675"/>
            <a:ext cx="2889250" cy="4276725"/>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0" tIns="0" rIns="0" bIns="0" anchor="ctr"/>
          <a:lstStyle/>
          <a:p>
            <a:pPr algn="ctr">
              <a:defRPr/>
            </a:pPr>
            <a:endParaRPr lang="en-US" sz="1600" b="1"/>
          </a:p>
        </p:txBody>
      </p:sp>
      <p:sp>
        <p:nvSpPr>
          <p:cNvPr id="15364" name="Slide Number Placeholder 2"/>
          <p:cNvSpPr txBox="1">
            <a:spLocks noGrp="1"/>
          </p:cNvSpPr>
          <p:nvPr/>
        </p:nvSpPr>
        <p:spPr bwMode="auto">
          <a:xfrm>
            <a:off x="8642350" y="6508750"/>
            <a:ext cx="900113"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A15D7EDC-FB2B-44E6-9F10-E1A2D3D0DED0}" type="slidenum">
              <a:rPr lang="de-DE" sz="1200"/>
              <a:pPr algn="r" eaLnBrk="1" hangingPunct="1"/>
              <a:t>13</a:t>
            </a:fld>
            <a:endParaRPr lang="de-DE" sz="1200"/>
          </a:p>
        </p:txBody>
      </p:sp>
      <p:sp>
        <p:nvSpPr>
          <p:cNvPr id="15365" name="Rectangle 2"/>
          <p:cNvSpPr>
            <a:spLocks noGrp="1" noChangeArrowheads="1"/>
          </p:cNvSpPr>
          <p:nvPr>
            <p:ph type="title" idx="4294967295"/>
          </p:nvPr>
        </p:nvSpPr>
        <p:spPr/>
        <p:txBody>
          <a:bodyPr/>
          <a:lstStyle/>
          <a:p>
            <a:pPr eaLnBrk="1" hangingPunct="1"/>
            <a:r>
              <a:rPr lang="en-US" smtClean="0"/>
              <a:t>STOXX Europe Maximum Dividend Index shows strong outperformance of STOXX Europe 600</a:t>
            </a:r>
          </a:p>
        </p:txBody>
      </p:sp>
      <p:sp>
        <p:nvSpPr>
          <p:cNvPr id="15366" name="Text Box 3"/>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Concept Evaluation: Quarterly Review</a:t>
            </a:r>
          </a:p>
        </p:txBody>
      </p:sp>
      <p:sp>
        <p:nvSpPr>
          <p:cNvPr id="15367" name="Rectangle 2"/>
          <p:cNvSpPr>
            <a:spLocks noChangeArrowheads="1"/>
          </p:cNvSpPr>
          <p:nvPr/>
        </p:nvSpPr>
        <p:spPr bwMode="auto">
          <a:xfrm>
            <a:off x="368300" y="1824038"/>
            <a:ext cx="601821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600" b="1">
                <a:solidFill>
                  <a:schemeClr val="bg1"/>
                </a:solidFill>
              </a:rPr>
              <a:t>Performance chart</a:t>
            </a:r>
            <a:r>
              <a:rPr lang="en-US" sz="1600" b="1" baseline="30000">
                <a:solidFill>
                  <a:schemeClr val="bg1"/>
                </a:solidFill>
              </a:rPr>
              <a:t>1)</a:t>
            </a:r>
          </a:p>
        </p:txBody>
      </p:sp>
      <p:grpSp>
        <p:nvGrpSpPr>
          <p:cNvPr id="15368" name="Group 5"/>
          <p:cNvGrpSpPr>
            <a:grpSpLocks/>
          </p:cNvGrpSpPr>
          <p:nvPr/>
        </p:nvGrpSpPr>
        <p:grpSpPr bwMode="auto">
          <a:xfrm>
            <a:off x="835080" y="2497460"/>
            <a:ext cx="2821776" cy="153987"/>
            <a:chOff x="182" y="3893"/>
            <a:chExt cx="1640" cy="97"/>
          </a:xfrm>
        </p:grpSpPr>
        <p:sp>
          <p:nvSpPr>
            <p:cNvPr id="15428" name="Rectangle 6"/>
            <p:cNvSpPr>
              <a:spLocks noChangeArrowheads="1"/>
            </p:cNvSpPr>
            <p:nvPr/>
          </p:nvSpPr>
          <p:spPr bwMode="auto">
            <a:xfrm>
              <a:off x="182" y="3899"/>
              <a:ext cx="136" cy="91"/>
            </a:xfrm>
            <a:prstGeom prst="rect">
              <a:avLst/>
            </a:prstGeom>
            <a:solidFill>
              <a:schemeClr val="accent1"/>
            </a:solidFill>
            <a:ln w="9525" algn="ctr">
              <a:solidFill>
                <a:schemeClr val="accent1"/>
              </a:solidFill>
              <a:miter lim="800000"/>
              <a:headEnd/>
              <a:tailEnd/>
            </a:ln>
          </p:spPr>
          <p:txBody>
            <a:bodyPr wrap="none" lIns="0" tIns="0" rIns="0" bIns="0" anchor="ctr"/>
            <a:lstStyle/>
            <a:p>
              <a:pPr algn="ctr"/>
              <a:endParaRPr lang="en-US" sz="1600" b="1"/>
            </a:p>
          </p:txBody>
        </p:sp>
        <p:sp>
          <p:nvSpPr>
            <p:cNvPr id="15429" name="Legend"/>
            <p:cNvSpPr txBox="1">
              <a:spLocks noChangeArrowheads="1"/>
            </p:cNvSpPr>
            <p:nvPr/>
          </p:nvSpPr>
          <p:spPr bwMode="auto">
            <a:xfrm>
              <a:off x="376" y="3893"/>
              <a:ext cx="1446"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dirty="0"/>
                <a:t>STOXX Europe Maximum Dividend 40 (NR)</a:t>
              </a:r>
            </a:p>
          </p:txBody>
        </p:sp>
      </p:grpSp>
      <p:grpSp>
        <p:nvGrpSpPr>
          <p:cNvPr id="15369" name="Group 13"/>
          <p:cNvGrpSpPr>
            <a:grpSpLocks/>
          </p:cNvGrpSpPr>
          <p:nvPr/>
        </p:nvGrpSpPr>
        <p:grpSpPr bwMode="auto">
          <a:xfrm>
            <a:off x="6873875" y="1946275"/>
            <a:ext cx="341313" cy="307975"/>
            <a:chOff x="1603" y="2418"/>
            <a:chExt cx="198" cy="194"/>
          </a:xfrm>
        </p:grpSpPr>
        <p:sp>
          <p:nvSpPr>
            <p:cNvPr id="15426" name="Freeform 14"/>
            <p:cNvSpPr>
              <a:spLocks/>
            </p:cNvSpPr>
            <p:nvPr/>
          </p:nvSpPr>
          <p:spPr bwMode="auto">
            <a:xfrm>
              <a:off x="1603" y="2418"/>
              <a:ext cx="108" cy="194"/>
            </a:xfrm>
            <a:custGeom>
              <a:avLst/>
              <a:gdLst>
                <a:gd name="T0" fmla="*/ 0 w 80"/>
                <a:gd name="T1" fmla="*/ 0 h 162"/>
                <a:gd name="T2" fmla="*/ 154012 w 80"/>
                <a:gd name="T3" fmla="*/ 0 h 162"/>
                <a:gd name="T4" fmla="*/ 482437 w 80"/>
                <a:gd name="T5" fmla="*/ 14888 h 162"/>
                <a:gd name="T6" fmla="*/ 161668 w 80"/>
                <a:gd name="T7" fmla="*/ 30161 h 162"/>
                <a:gd name="T8" fmla="*/ 0 w 80"/>
                <a:gd name="T9" fmla="*/ 30161 h 162"/>
                <a:gd name="T10" fmla="*/ 292074 w 80"/>
                <a:gd name="T11" fmla="*/ 15229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sp>
          <p:nvSpPr>
            <p:cNvPr id="15427" name="Freeform 15"/>
            <p:cNvSpPr>
              <a:spLocks/>
            </p:cNvSpPr>
            <p:nvPr/>
          </p:nvSpPr>
          <p:spPr bwMode="auto">
            <a:xfrm>
              <a:off x="1693" y="2418"/>
              <a:ext cx="108" cy="194"/>
            </a:xfrm>
            <a:custGeom>
              <a:avLst/>
              <a:gdLst>
                <a:gd name="T0" fmla="*/ 0 w 80"/>
                <a:gd name="T1" fmla="*/ 0 h 162"/>
                <a:gd name="T2" fmla="*/ 154012 w 80"/>
                <a:gd name="T3" fmla="*/ 0 h 162"/>
                <a:gd name="T4" fmla="*/ 482437 w 80"/>
                <a:gd name="T5" fmla="*/ 14888 h 162"/>
                <a:gd name="T6" fmla="*/ 161668 w 80"/>
                <a:gd name="T7" fmla="*/ 30161 h 162"/>
                <a:gd name="T8" fmla="*/ 0 w 80"/>
                <a:gd name="T9" fmla="*/ 30161 h 162"/>
                <a:gd name="T10" fmla="*/ 292074 w 80"/>
                <a:gd name="T11" fmla="*/ 15229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grpSp>
      <p:sp>
        <p:nvSpPr>
          <p:cNvPr id="15370" name="Rectangle 16"/>
          <p:cNvSpPr>
            <a:spLocks noChangeArrowheads="1"/>
          </p:cNvSpPr>
          <p:nvPr/>
        </p:nvSpPr>
        <p:spPr bwMode="auto">
          <a:xfrm>
            <a:off x="6826250" y="2379663"/>
            <a:ext cx="2803525" cy="2660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400"/>
              <a:t>For weighting and selection an adjusted dividend yield is derived by downscaling the dividend yield by using DY/ADTV ratio</a:t>
            </a:r>
          </a:p>
          <a:p>
            <a:pPr marL="190500" lvl="1" indent="-188913">
              <a:lnSpc>
                <a:spcPct val="95000"/>
              </a:lnSpc>
              <a:buClr>
                <a:schemeClr val="accent1"/>
              </a:buClr>
              <a:buFont typeface="Arial" charset="0"/>
              <a:buChar char="»"/>
            </a:pPr>
            <a:r>
              <a:rPr lang="en-US" sz="1400"/>
              <a:t>The number of constituents is 40</a:t>
            </a:r>
          </a:p>
          <a:p>
            <a:pPr marL="190500" lvl="1" indent="-188913">
              <a:lnSpc>
                <a:spcPct val="95000"/>
              </a:lnSpc>
              <a:buClr>
                <a:schemeClr val="accent1"/>
              </a:buClr>
              <a:buFont typeface="Arial" charset="0"/>
              <a:buChar char="»"/>
            </a:pPr>
            <a:r>
              <a:rPr lang="en-US" sz="1400"/>
              <a:t>Index Review takes places quarterly in March, June, September and December</a:t>
            </a:r>
          </a:p>
          <a:p>
            <a:pPr marL="190500" lvl="1" indent="-188913">
              <a:lnSpc>
                <a:spcPct val="95000"/>
              </a:lnSpc>
              <a:buClr>
                <a:schemeClr val="accent1"/>
              </a:buClr>
              <a:buFont typeface="Arial" charset="0"/>
              <a:buChar char="»"/>
            </a:pPr>
            <a:r>
              <a:rPr lang="en-US" sz="1400"/>
              <a:t>Constituent are selected at last trading days of January, April, July and October (Cut-off dates) </a:t>
            </a:r>
          </a:p>
          <a:p>
            <a:pPr marL="190500" lvl="1" indent="-188913">
              <a:lnSpc>
                <a:spcPct val="95000"/>
              </a:lnSpc>
              <a:buClr>
                <a:schemeClr val="accent1"/>
              </a:buClr>
              <a:buFont typeface="Arial" charset="0"/>
              <a:buChar char="»"/>
            </a:pPr>
            <a:r>
              <a:rPr lang="en-US" sz="1400"/>
              <a:t>Index Universe is STOXX Europe 600 Index</a:t>
            </a:r>
          </a:p>
        </p:txBody>
      </p:sp>
      <p:grpSp>
        <p:nvGrpSpPr>
          <p:cNvPr id="15371" name="Group 8"/>
          <p:cNvGrpSpPr>
            <a:grpSpLocks/>
          </p:cNvGrpSpPr>
          <p:nvPr/>
        </p:nvGrpSpPr>
        <p:grpSpPr bwMode="auto">
          <a:xfrm>
            <a:off x="832695" y="2713360"/>
            <a:ext cx="2822575" cy="153987"/>
            <a:chOff x="176" y="3893"/>
            <a:chExt cx="1641" cy="97"/>
          </a:xfrm>
        </p:grpSpPr>
        <p:sp>
          <p:nvSpPr>
            <p:cNvPr id="23" name="Rectangle 9"/>
            <p:cNvSpPr>
              <a:spLocks noChangeArrowheads="1"/>
            </p:cNvSpPr>
            <p:nvPr/>
          </p:nvSpPr>
          <p:spPr bwMode="auto">
            <a:xfrm>
              <a:off x="176" y="3896"/>
              <a:ext cx="136" cy="91"/>
            </a:xfrm>
            <a:prstGeom prst="rect">
              <a:avLst/>
            </a:prstGeom>
            <a:solidFill>
              <a:schemeClr val="accent5"/>
            </a:solidFill>
            <a:ln w="9525" algn="ctr">
              <a:solidFill>
                <a:schemeClr val="accent5"/>
              </a:solidFill>
              <a:miter lim="800000"/>
              <a:headEnd/>
              <a:tailEnd/>
            </a:ln>
          </p:spPr>
          <p:txBody>
            <a:bodyPr wrap="none" lIns="0" tIns="0" rIns="0" bIns="0" anchor="ctr"/>
            <a:lstStyle/>
            <a:p>
              <a:pPr algn="ctr">
                <a:defRPr/>
              </a:pPr>
              <a:endParaRPr lang="en-US" sz="1600" b="1"/>
            </a:p>
          </p:txBody>
        </p:sp>
        <p:sp>
          <p:nvSpPr>
            <p:cNvPr id="15425" name="Legend"/>
            <p:cNvSpPr txBox="1">
              <a:spLocks noChangeArrowheads="1"/>
            </p:cNvSpPr>
            <p:nvPr/>
          </p:nvSpPr>
          <p:spPr bwMode="auto">
            <a:xfrm>
              <a:off x="376" y="3893"/>
              <a:ext cx="1441"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a:t>STOXX Europe Maximum Dividend 40 (PR)</a:t>
              </a:r>
            </a:p>
          </p:txBody>
        </p:sp>
      </p:grpSp>
      <p:grpSp>
        <p:nvGrpSpPr>
          <p:cNvPr id="15372" name="Group 8"/>
          <p:cNvGrpSpPr>
            <a:grpSpLocks/>
          </p:cNvGrpSpPr>
          <p:nvPr/>
        </p:nvGrpSpPr>
        <p:grpSpPr bwMode="auto">
          <a:xfrm>
            <a:off x="835870" y="2914973"/>
            <a:ext cx="1451242" cy="153987"/>
            <a:chOff x="176" y="3890"/>
            <a:chExt cx="844" cy="97"/>
          </a:xfrm>
        </p:grpSpPr>
        <p:sp>
          <p:nvSpPr>
            <p:cNvPr id="15422" name="Rectangle 9"/>
            <p:cNvSpPr>
              <a:spLocks noChangeArrowheads="1"/>
            </p:cNvSpPr>
            <p:nvPr/>
          </p:nvSpPr>
          <p:spPr bwMode="auto">
            <a:xfrm>
              <a:off x="17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pPr algn="ctr"/>
              <a:endParaRPr lang="en-US" sz="1600" b="1"/>
            </a:p>
          </p:txBody>
        </p:sp>
        <p:sp>
          <p:nvSpPr>
            <p:cNvPr id="15423" name="Legend"/>
            <p:cNvSpPr txBox="1">
              <a:spLocks noChangeArrowheads="1"/>
            </p:cNvSpPr>
            <p:nvPr/>
          </p:nvSpPr>
          <p:spPr bwMode="auto">
            <a:xfrm>
              <a:off x="366" y="3890"/>
              <a:ext cx="65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dirty="0"/>
                <a:t>STOXX Europe 600</a:t>
              </a:r>
            </a:p>
          </p:txBody>
        </p:sp>
      </p:grpSp>
      <p:sp>
        <p:nvSpPr>
          <p:cNvPr id="15373" name="Text Box 150"/>
          <p:cNvSpPr txBox="1">
            <a:spLocks noChangeArrowheads="1"/>
          </p:cNvSpPr>
          <p:nvPr/>
        </p:nvSpPr>
        <p:spPr bwMode="auto">
          <a:xfrm>
            <a:off x="2022475" y="6483350"/>
            <a:ext cx="65405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sz="1000" baseline="30000" dirty="0">
                <a:solidFill>
                  <a:srgbClr val="AFAFAF"/>
                </a:solidFill>
              </a:rPr>
              <a:t>1) </a:t>
            </a:r>
            <a:r>
              <a:rPr lang="de-DE" sz="1000" dirty="0">
                <a:solidFill>
                  <a:srgbClr val="AFAFAF"/>
                </a:solidFill>
              </a:rPr>
              <a:t>Backtest </a:t>
            </a:r>
            <a:r>
              <a:rPr lang="de-DE" sz="1000" dirty="0" err="1">
                <a:solidFill>
                  <a:srgbClr val="AFAFAF"/>
                </a:solidFill>
              </a:rPr>
              <a:t>from</a:t>
            </a:r>
            <a:r>
              <a:rPr lang="de-DE" sz="1000" dirty="0">
                <a:solidFill>
                  <a:srgbClr val="AFAFAF"/>
                </a:solidFill>
              </a:rPr>
              <a:t> 20.March 2000 </a:t>
            </a:r>
            <a:r>
              <a:rPr lang="de-DE" sz="1000" dirty="0" err="1">
                <a:solidFill>
                  <a:srgbClr val="AFAFAF"/>
                </a:solidFill>
              </a:rPr>
              <a:t>to</a:t>
            </a:r>
            <a:r>
              <a:rPr lang="de-DE" sz="1000" dirty="0">
                <a:solidFill>
                  <a:srgbClr val="AFAFAF"/>
                </a:solidFill>
              </a:rPr>
              <a:t> </a:t>
            </a:r>
            <a:r>
              <a:rPr lang="de-DE" sz="1000" dirty="0" smtClean="0">
                <a:solidFill>
                  <a:srgbClr val="AFAFAF"/>
                </a:solidFill>
              </a:rPr>
              <a:t>20 June 2012</a:t>
            </a:r>
            <a:endParaRPr lang="de-DE" sz="1000" dirty="0">
              <a:solidFill>
                <a:srgbClr val="AFAFAF"/>
              </a:solidFill>
            </a:endParaRPr>
          </a:p>
        </p:txBody>
      </p:sp>
      <p:graphicFrame>
        <p:nvGraphicFramePr>
          <p:cNvPr id="25" name="Group 44"/>
          <p:cNvGraphicFramePr>
            <a:graphicFrameLocks noGrp="1"/>
          </p:cNvGraphicFramePr>
          <p:nvPr>
            <p:extLst>
              <p:ext uri="{D42A27DB-BD31-4B8C-83A1-F6EECF244321}">
                <p14:modId xmlns:p14="http://schemas.microsoft.com/office/powerpoint/2010/main" xmlns="" val="4097888108"/>
              </p:ext>
            </p:extLst>
          </p:nvPr>
        </p:nvGraphicFramePr>
        <p:xfrm>
          <a:off x="338138" y="4653134"/>
          <a:ext cx="5557836" cy="1532608"/>
        </p:xfrm>
        <a:graphic>
          <a:graphicData uri="http://schemas.openxmlformats.org/drawingml/2006/table">
            <a:tbl>
              <a:tblPr/>
              <a:tblGrid>
                <a:gridCol w="1014462"/>
                <a:gridCol w="1314185"/>
                <a:gridCol w="1257143"/>
                <a:gridCol w="1189212"/>
                <a:gridCol w="782834"/>
              </a:tblGrid>
              <a:tr h="28803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GB" sz="1000" b="1" i="0" u="none" strike="noStrike" cap="none" normalizeH="0" baseline="0" dirty="0" smtClean="0">
                        <a:ln>
                          <a:noFill/>
                        </a:ln>
                        <a:solidFill>
                          <a:schemeClr val="tx1"/>
                        </a:solidFill>
                        <a:effectLst/>
                        <a:latin typeface="+mn-lt"/>
                      </a:endParaRPr>
                    </a:p>
                  </a:txBody>
                  <a:tcPr marL="36000" marR="36000" marT="35989" marB="35989"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gridSpan="2">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cap="none" normalizeH="0" baseline="0" dirty="0" smtClean="0">
                          <a:ln>
                            <a:noFill/>
                          </a:ln>
                          <a:solidFill>
                            <a:schemeClr val="tx1"/>
                          </a:solidFill>
                          <a:effectLst/>
                          <a:latin typeface="+mn-lt"/>
                        </a:rPr>
                        <a:t>STOXX Europe Maximum Dividend 40 NR</a:t>
                      </a:r>
                    </a:p>
                  </a:txBody>
                  <a:tcPr marL="36000" marR="36000" marT="35989" marB="3598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hMerge="1">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1" i="0" u="none" strike="noStrike" cap="none" normalizeH="0" baseline="0" dirty="0" smtClean="0">
                        <a:ln>
                          <a:noFill/>
                        </a:ln>
                        <a:solidFill>
                          <a:schemeClr val="tx1"/>
                        </a:solidFill>
                        <a:effectLst/>
                        <a:latin typeface="Arial" charset="0"/>
                      </a:endParaRPr>
                    </a:p>
                  </a:txBody>
                  <a:tcPr marL="72000" marR="0" marT="36020" marB="360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solidFill>
                      <a:schemeClr val="accent2"/>
                    </a:solidFill>
                  </a:tcPr>
                </a:tc>
                <a:tc gridSpan="2">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dirty="0" smtClean="0">
                          <a:ln>
                            <a:noFill/>
                          </a:ln>
                          <a:solidFill>
                            <a:schemeClr val="tx1"/>
                          </a:solidFill>
                          <a:effectLst/>
                          <a:latin typeface="+mn-lt"/>
                          <a:ea typeface="+mn-ea"/>
                          <a:cs typeface="+mn-cs"/>
                        </a:rPr>
                        <a:t>STOXX Europe 600 NR</a:t>
                      </a:r>
                    </a:p>
                  </a:txBody>
                  <a:tcPr marL="36000" marR="36000" marT="35989" marB="3598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hMerge="1">
                  <a:txBody>
                    <a:bodyPr/>
                    <a:lstStyle/>
                    <a:p>
                      <a:endParaRPr kumimoji="0" lang="en-GB" sz="1000" b="1" i="0" u="none" strike="noStrike" kern="1200" cap="none" normalizeH="0" baseline="0" dirty="0">
                        <a:ln>
                          <a:noFill/>
                        </a:ln>
                        <a:solidFill>
                          <a:schemeClr val="tx1"/>
                        </a:solidFill>
                        <a:effectLst/>
                        <a:latin typeface="Arial" charset="0"/>
                        <a:ea typeface="+mn-ea"/>
                        <a:cs typeface="+mn-cs"/>
                      </a:endParaRPr>
                    </a:p>
                  </a:txBody>
                  <a:tcPr marL="71996" marR="0" marT="36028" marB="36028"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r h="207429">
                <a:tc>
                  <a:txBody>
                    <a:bodyPr/>
                    <a:lstStyle/>
                    <a:p>
                      <a:pPr algn="l" fontAlgn="b"/>
                      <a:endParaRPr lang="en-GB" sz="1100" b="0" i="0" u="none" strike="noStrike" dirty="0">
                        <a:solidFill>
                          <a:srgbClr val="000000"/>
                        </a:solidFill>
                        <a:effectLst/>
                        <a:latin typeface="+mn-lt"/>
                      </a:endParaRPr>
                    </a:p>
                  </a:txBody>
                  <a:tcPr marL="9524" marR="9524" marT="9517"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GB" sz="1100" b="0" i="0" u="none" strike="noStrike" dirty="0">
                          <a:solidFill>
                            <a:srgbClr val="000000"/>
                          </a:solidFill>
                          <a:effectLst/>
                          <a:latin typeface="+mn-lt"/>
                        </a:rPr>
                        <a:t>Performance</a:t>
                      </a:r>
                    </a:p>
                  </a:txBody>
                  <a:tcPr marL="9524" marR="9524" marT="9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GB" sz="1100" b="0" i="0" u="none" strike="noStrike" dirty="0">
                          <a:solidFill>
                            <a:srgbClr val="000000"/>
                          </a:solidFill>
                          <a:effectLst/>
                          <a:latin typeface="+mn-lt"/>
                        </a:rPr>
                        <a:t>Volatility</a:t>
                      </a:r>
                    </a:p>
                  </a:txBody>
                  <a:tcPr marL="9524" marR="9524" marT="9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GB" sz="1100" b="0" i="0" u="none" strike="noStrike" dirty="0">
                          <a:solidFill>
                            <a:srgbClr val="000000"/>
                          </a:solidFill>
                          <a:effectLst/>
                          <a:latin typeface="+mn-lt"/>
                        </a:rPr>
                        <a:t>Performance</a:t>
                      </a:r>
                    </a:p>
                  </a:txBody>
                  <a:tcPr marL="9524" marR="9524" marT="9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GB" sz="1100" b="0" i="0" u="none" strike="noStrike" dirty="0">
                          <a:solidFill>
                            <a:srgbClr val="000000"/>
                          </a:solidFill>
                          <a:effectLst/>
                          <a:latin typeface="+mn-lt"/>
                        </a:rPr>
                        <a:t>Volatility</a:t>
                      </a:r>
                    </a:p>
                  </a:txBody>
                  <a:tcPr marL="9524" marR="9524" marT="9517"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r h="207429">
                <a:tc>
                  <a:txBody>
                    <a:bodyPr/>
                    <a:lstStyle/>
                    <a:p>
                      <a:pPr algn="l" fontAlgn="b"/>
                      <a:r>
                        <a:rPr lang="en-GB" sz="1100" b="0" i="0" u="none" strike="noStrike" noProof="0" dirty="0" smtClean="0">
                          <a:solidFill>
                            <a:srgbClr val="000000"/>
                          </a:solidFill>
                          <a:effectLst/>
                          <a:latin typeface="+mn-lt"/>
                        </a:rPr>
                        <a:t>annualized</a:t>
                      </a:r>
                      <a:endParaRPr lang="en-GB" sz="1100" b="0" i="0" u="none" strike="noStrike" noProof="0" dirty="0">
                        <a:solidFill>
                          <a:srgbClr val="000000"/>
                        </a:solidFill>
                        <a:effectLst/>
                        <a:latin typeface="+mn-lt"/>
                      </a:endParaRPr>
                    </a:p>
                  </a:txBody>
                  <a:tcPr marL="9524" marR="9524" marT="9517"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8.6%</a:t>
                      </a:r>
                      <a:endParaRPr lang="en-GB" sz="1000" b="1" i="0" u="none" strike="noStrike" dirty="0">
                        <a:effectLst/>
                        <a:latin typeface="+mn-lt"/>
                      </a:endParaRPr>
                    </a:p>
                  </a:txBody>
                  <a:tcPr marL="9525" marR="9525" marT="9518"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a:effectLst/>
                          <a:latin typeface="+mn-lt"/>
                        </a:rPr>
                        <a:t>19.7%</a:t>
                      </a: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1.2%</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20.9%</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07429">
                <a:tc>
                  <a:txBody>
                    <a:bodyPr/>
                    <a:lstStyle/>
                    <a:p>
                      <a:pPr algn="l" fontAlgn="b"/>
                      <a:r>
                        <a:rPr lang="en-GB" sz="1100" b="0" i="0" u="none" strike="noStrike" dirty="0">
                          <a:solidFill>
                            <a:srgbClr val="000000"/>
                          </a:solidFill>
                          <a:effectLst/>
                          <a:latin typeface="+mn-lt"/>
                        </a:rPr>
                        <a:t>2008</a:t>
                      </a:r>
                    </a:p>
                  </a:txBody>
                  <a:tcPr marL="9525" marR="9525" marT="9518"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a:t>
                      </a:r>
                      <a:r>
                        <a:rPr lang="en-GB" sz="1000" b="1" i="0" u="none" strike="noStrike" dirty="0" smtClean="0">
                          <a:effectLst/>
                          <a:latin typeface="+mn-lt"/>
                        </a:rPr>
                        <a:t>32.0%</a:t>
                      </a:r>
                      <a:endParaRPr lang="en-GB" sz="1000" b="1" i="0" u="none" strike="noStrike" dirty="0">
                        <a:effectLst/>
                        <a:latin typeface="+mn-lt"/>
                      </a:endParaRPr>
                    </a:p>
                  </a:txBody>
                  <a:tcPr marL="9525" marR="9525" marT="9518"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35.4%</a:t>
                      </a: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a:t>
                      </a:r>
                      <a:r>
                        <a:rPr lang="en-GB" sz="1000" b="1" i="0" u="none" strike="noStrike" dirty="0" smtClean="0">
                          <a:effectLst/>
                          <a:latin typeface="+mn-lt"/>
                        </a:rPr>
                        <a:t>43.7%</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a:effectLst/>
                          <a:latin typeface="+mn-lt"/>
                        </a:rPr>
                        <a:t>36.3%</a:t>
                      </a:r>
                    </a:p>
                  </a:txBody>
                  <a:tcPr marL="9525" marR="9525" marT="9518"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07429">
                <a:tc>
                  <a:txBody>
                    <a:bodyPr/>
                    <a:lstStyle/>
                    <a:p>
                      <a:pPr algn="l" fontAlgn="b"/>
                      <a:r>
                        <a:rPr lang="en-GB" sz="1100" b="0" i="0" u="none" strike="noStrike" dirty="0">
                          <a:solidFill>
                            <a:srgbClr val="000000"/>
                          </a:solidFill>
                          <a:effectLst/>
                          <a:latin typeface="+mn-lt"/>
                        </a:rPr>
                        <a:t>2009</a:t>
                      </a:r>
                    </a:p>
                  </a:txBody>
                  <a:tcPr marL="9525" marR="9525" marT="9518"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42.6%</a:t>
                      </a:r>
                      <a:endParaRPr lang="en-GB" sz="1000" b="1" i="0" u="none" strike="noStrike" dirty="0">
                        <a:effectLst/>
                        <a:latin typeface="+mn-lt"/>
                      </a:endParaRPr>
                    </a:p>
                  </a:txBody>
                  <a:tcPr marL="9525" marR="9525" marT="9518"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a:effectLst/>
                          <a:latin typeface="+mn-lt"/>
                        </a:rPr>
                        <a:t>25.6%</a:t>
                      </a: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32.4%</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23.9%</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07429">
                <a:tc>
                  <a:txBody>
                    <a:bodyPr/>
                    <a:lstStyle/>
                    <a:p>
                      <a:pPr algn="l" fontAlgn="b"/>
                      <a:r>
                        <a:rPr lang="en-GB" sz="1100" b="0" i="0" u="none" strike="noStrike" dirty="0">
                          <a:solidFill>
                            <a:srgbClr val="000000"/>
                          </a:solidFill>
                          <a:effectLst/>
                          <a:latin typeface="+mn-lt"/>
                        </a:rPr>
                        <a:t>2010</a:t>
                      </a:r>
                    </a:p>
                  </a:txBody>
                  <a:tcPr marL="9525" marR="9525" marT="9518"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16.5%</a:t>
                      </a:r>
                      <a:endParaRPr lang="en-GB" sz="1000" b="1" i="0" u="none" strike="noStrike" dirty="0">
                        <a:effectLst/>
                        <a:latin typeface="+mn-lt"/>
                      </a:endParaRPr>
                    </a:p>
                  </a:txBody>
                  <a:tcPr marL="9525" marR="9525" marT="9518"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a:effectLst/>
                          <a:latin typeface="+mn-lt"/>
                        </a:rPr>
                        <a:t>16.9%</a:t>
                      </a: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11.6%</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18.4%</a:t>
                      </a:r>
                    </a:p>
                  </a:txBody>
                  <a:tcPr marL="9525" marR="9525" marT="9518"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07429">
                <a:tc>
                  <a:txBody>
                    <a:bodyPr/>
                    <a:lstStyle/>
                    <a:p>
                      <a:pPr algn="l" fontAlgn="b"/>
                      <a:r>
                        <a:rPr lang="de-CH" sz="1100" b="0" i="0" u="none" strike="noStrike" dirty="0" smtClean="0">
                          <a:solidFill>
                            <a:srgbClr val="000000"/>
                          </a:solidFill>
                          <a:effectLst/>
                          <a:latin typeface="+mn-lt"/>
                        </a:rPr>
                        <a:t>2011</a:t>
                      </a:r>
                      <a:endParaRPr lang="en-GB" sz="1100" b="0" i="0" u="none" strike="noStrike" dirty="0">
                        <a:solidFill>
                          <a:srgbClr val="000000"/>
                        </a:solidFill>
                        <a:effectLst/>
                        <a:latin typeface="+mn-lt"/>
                      </a:endParaRPr>
                    </a:p>
                  </a:txBody>
                  <a:tcPr marL="9525" marR="9525" marT="9518"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a:t>
                      </a:r>
                      <a:r>
                        <a:rPr lang="en-GB" sz="1000" b="1" i="0" u="none" strike="noStrike" dirty="0" smtClean="0">
                          <a:effectLst/>
                          <a:latin typeface="+mn-lt"/>
                        </a:rPr>
                        <a:t>11.9%</a:t>
                      </a:r>
                      <a:endParaRPr lang="en-GB" sz="1000" b="1" i="0" u="none" strike="noStrike" dirty="0">
                        <a:effectLst/>
                        <a:latin typeface="+mn-lt"/>
                      </a:endParaRPr>
                    </a:p>
                  </a:txBody>
                  <a:tcPr marL="9525" marR="9525" marT="9518" marB="0" anchor="b">
                    <a:lnL w="12700" cap="flat" cmpd="sng" algn="ctr">
                      <a:solidFill>
                        <a:schemeClr val="tx1"/>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20.8%</a:t>
                      </a: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smtClean="0">
                          <a:effectLst/>
                          <a:latin typeface="+mn-lt"/>
                        </a:rPr>
                        <a:t>-8.6%</a:t>
                      </a:r>
                      <a:endParaRPr lang="en-GB" sz="1000" b="1" i="0" u="none" strike="noStrike" dirty="0">
                        <a:effectLst/>
                        <a:latin typeface="+mn-lt"/>
                      </a:endParaRPr>
                    </a:p>
                  </a:txBody>
                  <a:tcPr marL="9525" marR="9525" marT="9518" marB="0" anchor="b">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GB" sz="1000" b="1" i="0" u="none" strike="noStrike" dirty="0">
                          <a:effectLst/>
                          <a:latin typeface="+mn-lt"/>
                        </a:rPr>
                        <a:t>22.0%</a:t>
                      </a:r>
                    </a:p>
                  </a:txBody>
                  <a:tcPr marL="9525" marR="9525" marT="9518" marB="0" anchor="b">
                    <a:lnL w="9525" cap="flat" cmpd="sng" algn="ctr">
                      <a:solidFill>
                        <a:schemeClr val="tx2"/>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2"/>
          <p:cNvSpPr>
            <a:spLocks noGrp="1"/>
          </p:cNvSpPr>
          <p:nvPr>
            <p:ph type="sldNum" sz="quarter" idx="10"/>
          </p:nvPr>
        </p:nvSpPr>
        <p:spPr/>
        <p:txBody>
          <a:bodyPr/>
          <a:lstStyle/>
          <a:p>
            <a:pPr>
              <a:defRPr/>
            </a:pPr>
            <a:fld id="{FA5DAC96-7D27-4473-B0CC-D2833C313FB9}" type="slidenum">
              <a:rPr lang="de-DE" smtClean="0"/>
              <a:pPr>
                <a:defRPr/>
              </a:pPr>
              <a:t>14</a:t>
            </a:fld>
            <a:endParaRPr lang="de-DE" smtClean="0"/>
          </a:p>
        </p:txBody>
      </p:sp>
      <p:sp>
        <p:nvSpPr>
          <p:cNvPr id="16387" name="Rectangle 2"/>
          <p:cNvSpPr>
            <a:spLocks noGrp="1" noChangeArrowheads="1"/>
          </p:cNvSpPr>
          <p:nvPr>
            <p:ph type="title"/>
          </p:nvPr>
        </p:nvSpPr>
        <p:spPr/>
        <p:txBody>
          <a:bodyPr/>
          <a:lstStyle/>
          <a:p>
            <a:pPr eaLnBrk="1" hangingPunct="1"/>
            <a:r>
              <a:rPr lang="en-US" smtClean="0"/>
              <a:t>Historical dividend yield can be significantly improved by applying the maximum dividend concept</a:t>
            </a:r>
            <a:endParaRPr lang="de-DE" smtClean="0"/>
          </a:p>
        </p:txBody>
      </p:sp>
      <p:grpSp>
        <p:nvGrpSpPr>
          <p:cNvPr id="16388" name="Group 4"/>
          <p:cNvGrpSpPr>
            <a:grpSpLocks/>
          </p:cNvGrpSpPr>
          <p:nvPr/>
        </p:nvGrpSpPr>
        <p:grpSpPr bwMode="auto">
          <a:xfrm>
            <a:off x="448423" y="5867300"/>
            <a:ext cx="2522538" cy="153988"/>
            <a:chOff x="176" y="3893"/>
            <a:chExt cx="1467" cy="97"/>
          </a:xfrm>
        </p:grpSpPr>
        <p:sp>
          <p:nvSpPr>
            <p:cNvPr id="16394" name="Rectangle 5"/>
            <p:cNvSpPr>
              <a:spLocks noChangeArrowheads="1"/>
            </p:cNvSpPr>
            <p:nvPr/>
          </p:nvSpPr>
          <p:spPr bwMode="auto">
            <a:xfrm>
              <a:off x="176" y="3896"/>
              <a:ext cx="136" cy="91"/>
            </a:xfrm>
            <a:prstGeom prst="rect">
              <a:avLst/>
            </a:prstGeom>
            <a:solidFill>
              <a:schemeClr val="accent1"/>
            </a:solidFill>
            <a:ln w="9525" algn="ctr">
              <a:solidFill>
                <a:schemeClr val="accent1"/>
              </a:solidFill>
              <a:miter lim="800000"/>
              <a:headEnd/>
              <a:tailEnd/>
            </a:ln>
          </p:spPr>
          <p:txBody>
            <a:bodyPr wrap="none" lIns="0" tIns="0" rIns="0" bIns="0" anchor="ctr"/>
            <a:lstStyle/>
            <a:p>
              <a:endParaRPr lang="en-US"/>
            </a:p>
          </p:txBody>
        </p:sp>
        <p:sp>
          <p:nvSpPr>
            <p:cNvPr id="16395" name="Legend"/>
            <p:cNvSpPr txBox="1">
              <a:spLocks noChangeArrowheads="1"/>
            </p:cNvSpPr>
            <p:nvPr/>
          </p:nvSpPr>
          <p:spPr bwMode="auto">
            <a:xfrm>
              <a:off x="376" y="3893"/>
              <a:ext cx="1267"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sz="1000" dirty="0"/>
                <a:t>STOXX Europe Maximum Dividend 40</a:t>
              </a:r>
            </a:p>
          </p:txBody>
        </p:sp>
      </p:grpSp>
      <p:grpSp>
        <p:nvGrpSpPr>
          <p:cNvPr id="16389" name="Group 7"/>
          <p:cNvGrpSpPr>
            <a:grpSpLocks/>
          </p:cNvGrpSpPr>
          <p:nvPr/>
        </p:nvGrpSpPr>
        <p:grpSpPr bwMode="auto">
          <a:xfrm>
            <a:off x="448423" y="6093296"/>
            <a:ext cx="1470025" cy="153988"/>
            <a:chOff x="176" y="3893"/>
            <a:chExt cx="854" cy="97"/>
          </a:xfrm>
        </p:grpSpPr>
        <p:sp>
          <p:nvSpPr>
            <p:cNvPr id="16392" name="Rectangle 8"/>
            <p:cNvSpPr>
              <a:spLocks noChangeArrowheads="1"/>
            </p:cNvSpPr>
            <p:nvPr/>
          </p:nvSpPr>
          <p:spPr bwMode="auto">
            <a:xfrm>
              <a:off x="17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endParaRPr lang="en-US"/>
            </a:p>
          </p:txBody>
        </p:sp>
        <p:sp>
          <p:nvSpPr>
            <p:cNvPr id="16393" name="Legend"/>
            <p:cNvSpPr txBox="1">
              <a:spLocks noChangeArrowheads="1"/>
            </p:cNvSpPr>
            <p:nvPr/>
          </p:nvSpPr>
          <p:spPr bwMode="auto">
            <a:xfrm>
              <a:off x="376" y="3893"/>
              <a:ext cx="654"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sz="1000" dirty="0"/>
                <a:t>STOXX Europe 600</a:t>
              </a:r>
            </a:p>
          </p:txBody>
        </p:sp>
      </p:grpSp>
      <p:sp>
        <p:nvSpPr>
          <p:cNvPr id="16390" name="Text Box 10"/>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dirty="0"/>
              <a:t>Historical net dividend yields on annual basis</a:t>
            </a:r>
          </a:p>
        </p:txBody>
      </p:sp>
      <p:graphicFrame>
        <p:nvGraphicFramePr>
          <p:cNvPr id="2" name="Object 3"/>
          <p:cNvGraphicFramePr>
            <a:graphicFrameLocks noChangeAspect="1"/>
          </p:cNvGraphicFramePr>
          <p:nvPr>
            <p:extLst>
              <p:ext uri="{D42A27DB-BD31-4B8C-83A1-F6EECF244321}">
                <p14:modId xmlns:p14="http://schemas.microsoft.com/office/powerpoint/2010/main" xmlns="" val="2361124764"/>
              </p:ext>
            </p:extLst>
          </p:nvPr>
        </p:nvGraphicFramePr>
        <p:xfrm>
          <a:off x="430213" y="1762125"/>
          <a:ext cx="8274050" cy="3998913"/>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noChangeArrowheads="1"/>
          </p:cNvSpPr>
          <p:nvPr>
            <p:ph type="sldNum" sz="quarter" idx="10"/>
          </p:nvPr>
        </p:nvSpPr>
        <p:spPr/>
        <p:txBody>
          <a:bodyPr/>
          <a:lstStyle/>
          <a:p>
            <a:pPr>
              <a:defRPr/>
            </a:pPr>
            <a:fld id="{3B19B042-5D09-4A7D-B9B4-6CB9EFDFACB6}" type="slidenum">
              <a:rPr lang="de-DE" smtClean="0"/>
              <a:pPr>
                <a:defRPr/>
              </a:pPr>
              <a:t>15</a:t>
            </a:fld>
            <a:endParaRPr lang="de-DE" smtClean="0"/>
          </a:p>
        </p:txBody>
      </p:sp>
      <p:sp>
        <p:nvSpPr>
          <p:cNvPr id="17411" name="Slide Number Placeholder 2"/>
          <p:cNvSpPr txBox="1">
            <a:spLocks noGrp="1"/>
          </p:cNvSpPr>
          <p:nvPr/>
        </p:nvSpPr>
        <p:spPr bwMode="auto">
          <a:xfrm>
            <a:off x="8642350" y="6508750"/>
            <a:ext cx="900113"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EDF764DA-0DD4-4D1E-AAB6-3900EDF86928}" type="slidenum">
              <a:rPr lang="de-DE" sz="1200"/>
              <a:pPr algn="r" eaLnBrk="1" hangingPunct="1"/>
              <a:t>15</a:t>
            </a:fld>
            <a:endParaRPr lang="de-DE" sz="1200"/>
          </a:p>
        </p:txBody>
      </p:sp>
      <p:sp>
        <p:nvSpPr>
          <p:cNvPr id="17412" name="Rectangle 2"/>
          <p:cNvSpPr>
            <a:spLocks noGrp="1" noChangeArrowheads="1"/>
          </p:cNvSpPr>
          <p:nvPr>
            <p:ph type="title" idx="4294967295"/>
          </p:nvPr>
        </p:nvSpPr>
        <p:spPr/>
        <p:txBody>
          <a:bodyPr/>
          <a:lstStyle/>
          <a:p>
            <a:pPr eaLnBrk="1" hangingPunct="1"/>
            <a:r>
              <a:rPr lang="en-US" smtClean="0"/>
              <a:t>During financial crisis in 2007 and 2008 overweight in financials was high, in 2009 significantly reduced</a:t>
            </a:r>
          </a:p>
        </p:txBody>
      </p:sp>
      <p:sp>
        <p:nvSpPr>
          <p:cNvPr id="17413" name="Text Box 3"/>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STOXX Europe Maximum Dividend Index - Sector allocation</a:t>
            </a:r>
            <a:r>
              <a:rPr lang="en-US" sz="2000" baseline="30000"/>
              <a:t>1)</a:t>
            </a:r>
          </a:p>
        </p:txBody>
      </p:sp>
      <p:sp>
        <p:nvSpPr>
          <p:cNvPr id="17414" name="Rectangle 2"/>
          <p:cNvSpPr>
            <a:spLocks noChangeArrowheads="1"/>
          </p:cNvSpPr>
          <p:nvPr/>
        </p:nvSpPr>
        <p:spPr bwMode="auto">
          <a:xfrm>
            <a:off x="368300" y="1824038"/>
            <a:ext cx="4357688"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de-DE">
                <a:solidFill>
                  <a:schemeClr val="bg1"/>
                </a:solidFill>
              </a:rPr>
              <a:t>2006</a:t>
            </a:r>
          </a:p>
        </p:txBody>
      </p:sp>
      <p:sp>
        <p:nvSpPr>
          <p:cNvPr id="17415" name="Rectangle 2"/>
          <p:cNvSpPr>
            <a:spLocks noChangeArrowheads="1"/>
          </p:cNvSpPr>
          <p:nvPr/>
        </p:nvSpPr>
        <p:spPr bwMode="auto">
          <a:xfrm>
            <a:off x="5167313" y="1824038"/>
            <a:ext cx="4359275"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de-DE">
                <a:solidFill>
                  <a:schemeClr val="bg1"/>
                </a:solidFill>
              </a:rPr>
              <a:t>2007</a:t>
            </a:r>
          </a:p>
        </p:txBody>
      </p:sp>
      <p:sp>
        <p:nvSpPr>
          <p:cNvPr id="17416" name="Rectangle 2"/>
          <p:cNvSpPr>
            <a:spLocks noChangeArrowheads="1"/>
          </p:cNvSpPr>
          <p:nvPr/>
        </p:nvSpPr>
        <p:spPr bwMode="auto">
          <a:xfrm>
            <a:off x="368300" y="4060825"/>
            <a:ext cx="4357688" cy="284163"/>
          </a:xfrm>
          <a:prstGeom prst="rect">
            <a:avLst/>
          </a:prstGeom>
          <a:solidFill>
            <a:schemeClr val="accent1"/>
          </a:solidFill>
          <a:ln w="12700" algn="ctr">
            <a:solidFill>
              <a:schemeClr val="accent1"/>
            </a:solidFill>
            <a:miter lim="800000"/>
            <a:headEnd/>
            <a:tailEnd/>
          </a:ln>
        </p:spPr>
        <p:txBody>
          <a:bodyPr lIns="90487" tIns="0" rIns="0" bIns="0" anchor="ctr"/>
          <a:lstStyle/>
          <a:p>
            <a:r>
              <a:rPr lang="de-DE">
                <a:solidFill>
                  <a:schemeClr val="bg1"/>
                </a:solidFill>
              </a:rPr>
              <a:t>2008</a:t>
            </a:r>
          </a:p>
        </p:txBody>
      </p:sp>
      <p:sp>
        <p:nvSpPr>
          <p:cNvPr id="17417" name="Rectangle 2"/>
          <p:cNvSpPr>
            <a:spLocks noChangeArrowheads="1"/>
          </p:cNvSpPr>
          <p:nvPr/>
        </p:nvSpPr>
        <p:spPr bwMode="auto">
          <a:xfrm>
            <a:off x="5167313" y="4060825"/>
            <a:ext cx="4359275" cy="284163"/>
          </a:xfrm>
          <a:prstGeom prst="rect">
            <a:avLst/>
          </a:prstGeom>
          <a:solidFill>
            <a:schemeClr val="accent1"/>
          </a:solidFill>
          <a:ln w="12700" algn="ctr">
            <a:solidFill>
              <a:schemeClr val="accent1"/>
            </a:solidFill>
            <a:miter lim="800000"/>
            <a:headEnd/>
            <a:tailEnd/>
          </a:ln>
        </p:spPr>
        <p:txBody>
          <a:bodyPr lIns="90487" tIns="0" rIns="0" bIns="0" anchor="ctr"/>
          <a:lstStyle/>
          <a:p>
            <a:r>
              <a:rPr lang="de-DE">
                <a:solidFill>
                  <a:schemeClr val="bg1"/>
                </a:solidFill>
              </a:rPr>
              <a:t>2009</a:t>
            </a:r>
          </a:p>
        </p:txBody>
      </p:sp>
      <p:graphicFrame>
        <p:nvGraphicFramePr>
          <p:cNvPr id="2" name="Object 13"/>
          <p:cNvGraphicFramePr>
            <a:graphicFrameLocks noChangeAspect="1"/>
          </p:cNvGraphicFramePr>
          <p:nvPr/>
        </p:nvGraphicFramePr>
        <p:xfrm>
          <a:off x="652463" y="1966913"/>
          <a:ext cx="3802062" cy="21431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Object 19"/>
          <p:cNvGraphicFramePr>
            <a:graphicFrameLocks noChangeAspect="1"/>
          </p:cNvGraphicFramePr>
          <p:nvPr/>
        </p:nvGraphicFramePr>
        <p:xfrm>
          <a:off x="5173663" y="2170113"/>
          <a:ext cx="4476750" cy="198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25"/>
          <p:cNvGraphicFramePr>
            <a:graphicFrameLocks noChangeAspect="1"/>
          </p:cNvGraphicFramePr>
          <p:nvPr/>
        </p:nvGraphicFramePr>
        <p:xfrm>
          <a:off x="552450" y="4392613"/>
          <a:ext cx="3987800" cy="18954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31"/>
          <p:cNvGraphicFramePr>
            <a:graphicFrameLocks noChangeAspect="1"/>
          </p:cNvGraphicFramePr>
          <p:nvPr/>
        </p:nvGraphicFramePr>
        <p:xfrm>
          <a:off x="5286375" y="4291013"/>
          <a:ext cx="4251325" cy="2055812"/>
        </p:xfrm>
        <a:graphic>
          <a:graphicData uri="http://schemas.openxmlformats.org/drawingml/2006/chart">
            <c:chart xmlns:c="http://schemas.openxmlformats.org/drawingml/2006/chart" xmlns:r="http://schemas.openxmlformats.org/officeDocument/2006/relationships" r:id="rId5"/>
          </a:graphicData>
        </a:graphic>
      </p:graphicFrame>
      <p:sp>
        <p:nvSpPr>
          <p:cNvPr id="17422" name="Text Box 150"/>
          <p:cNvSpPr txBox="1">
            <a:spLocks noChangeArrowheads="1"/>
          </p:cNvSpPr>
          <p:nvPr/>
        </p:nvSpPr>
        <p:spPr bwMode="auto">
          <a:xfrm>
            <a:off x="2022475" y="6361113"/>
            <a:ext cx="65405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sz="1000">
                <a:solidFill>
                  <a:srgbClr val="AFAFAF"/>
                </a:solidFill>
              </a:rPr>
              <a:t>Source: STOXX</a:t>
            </a:r>
          </a:p>
          <a:p>
            <a:pPr eaLnBrk="1" hangingPunct="1"/>
            <a:r>
              <a:rPr lang="de-DE" sz="1000" baseline="30000">
                <a:solidFill>
                  <a:srgbClr val="AFAFAF"/>
                </a:solidFill>
              </a:rPr>
              <a:t>1) </a:t>
            </a:r>
            <a:r>
              <a:rPr lang="de-DE" sz="1000">
                <a:solidFill>
                  <a:srgbClr val="AFAFAF"/>
                </a:solidFill>
              </a:rPr>
              <a:t>component data as of December of respectiv year</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Rectangle 564"/>
          <p:cNvSpPr>
            <a:spLocks noChangeArrowheads="1"/>
          </p:cNvSpPr>
          <p:nvPr/>
        </p:nvSpPr>
        <p:spPr bwMode="auto">
          <a:xfrm>
            <a:off x="6487549" y="4090988"/>
            <a:ext cx="2482851" cy="1155700"/>
          </a:xfrm>
          <a:prstGeom prst="rect">
            <a:avLst/>
          </a:prstGeom>
          <a:solidFill>
            <a:srgbClr val="FFFFFF">
              <a:alpha val="50195"/>
            </a:srgbClr>
          </a:solidFill>
          <a:ln w="9525" algn="ctr">
            <a:noFill/>
            <a:miter lim="800000"/>
            <a:headEnd/>
            <a:tailEnd/>
          </a:ln>
        </p:spPr>
        <p:txBody>
          <a:bodyPr wrap="none" lIns="0" tIns="0" rIns="0" bIns="0" anchor="ctr"/>
          <a:lstStyle/>
          <a:p>
            <a:pPr algn="ctr"/>
            <a:endParaRPr lang="en-US" sz="1600" b="1">
              <a:solidFill>
                <a:srgbClr val="000000"/>
              </a:solidFill>
              <a:latin typeface="Arial"/>
              <a:ea typeface="ＭＳ Ｐゴシック" pitchFamily="34" charset="-128"/>
            </a:endParaRPr>
          </a:p>
        </p:txBody>
      </p:sp>
      <p:grpSp>
        <p:nvGrpSpPr>
          <p:cNvPr id="2" name="Group 569"/>
          <p:cNvGrpSpPr>
            <a:grpSpLocks/>
          </p:cNvGrpSpPr>
          <p:nvPr/>
        </p:nvGrpSpPr>
        <p:grpSpPr bwMode="auto">
          <a:xfrm>
            <a:off x="735013" y="1530350"/>
            <a:ext cx="8124825" cy="4260850"/>
            <a:chOff x="463" y="754"/>
            <a:chExt cx="5118" cy="2684"/>
          </a:xfrm>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3" name="Group 585"/>
            <p:cNvGrpSpPr>
              <a:grpSpLocks/>
            </p:cNvGrpSpPr>
            <p:nvPr>
              <p:custDataLst>
                <p:tags r:id="rId16"/>
              </p:custDataLst>
            </p:nvPr>
          </p:nvGrpSpPr>
          <p:grpSpPr bwMode="auto">
            <a:xfrm>
              <a:off x="4443" y="2149"/>
              <a:ext cx="323" cy="134"/>
              <a:chOff x="4488" y="2394"/>
              <a:chExt cx="358" cy="124"/>
            </a:xfrm>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4" name="Group 604"/>
            <p:cNvGrpSpPr>
              <a:grpSpLocks/>
            </p:cNvGrpSpPr>
            <p:nvPr>
              <p:custDataLst>
                <p:tags r:id="rId33"/>
              </p:custDataLst>
            </p:nvPr>
          </p:nvGrpSpPr>
          <p:grpSpPr bwMode="auto">
            <a:xfrm>
              <a:off x="1847" y="3336"/>
              <a:ext cx="45" cy="35"/>
              <a:chOff x="1654" y="3671"/>
              <a:chExt cx="49" cy="17"/>
            </a:xfrm>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3" name="Line 614"/>
            <p:cNvSpPr>
              <a:spLocks noChangeShapeType="1"/>
            </p:cNvSpPr>
            <p:nvPr>
              <p:custDataLst>
                <p:tags r:id="rId41"/>
              </p:custDataLst>
            </p:nvPr>
          </p:nvSpPr>
          <p:spPr bwMode="auto">
            <a:xfrm flipH="1">
              <a:off x="1688" y="1973"/>
              <a:ext cx="4" cy="7"/>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5" name="Group 624"/>
            <p:cNvGrpSpPr>
              <a:grpSpLocks/>
            </p:cNvGrpSpPr>
            <p:nvPr>
              <p:custDataLst>
                <p:tags r:id="rId51"/>
              </p:custDataLst>
            </p:nvPr>
          </p:nvGrpSpPr>
          <p:grpSpPr bwMode="auto">
            <a:xfrm>
              <a:off x="1428" y="1775"/>
              <a:ext cx="90" cy="123"/>
              <a:chOff x="1199" y="2121"/>
              <a:chExt cx="97" cy="123"/>
            </a:xfrm>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6" name="Group 639"/>
            <p:cNvGrpSpPr>
              <a:grpSpLocks/>
            </p:cNvGrpSpPr>
            <p:nvPr>
              <p:custDataLst>
                <p:tags r:id="rId56"/>
              </p:custDataLst>
            </p:nvPr>
          </p:nvGrpSpPr>
          <p:grpSpPr bwMode="auto">
            <a:xfrm>
              <a:off x="5268" y="2985"/>
              <a:ext cx="313" cy="255"/>
              <a:chOff x="5372" y="3323"/>
              <a:chExt cx="341" cy="253"/>
            </a:xfrm>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1" name="Line 655"/>
            <p:cNvSpPr>
              <a:spLocks noChangeShapeType="1"/>
            </p:cNvSpPr>
            <p:nvPr>
              <p:custDataLst>
                <p:tags r:id="rId69"/>
              </p:custDataLst>
            </p:nvPr>
          </p:nvSpPr>
          <p:spPr bwMode="auto">
            <a:xfrm>
              <a:off x="5325" y="2512"/>
              <a:ext cx="14"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7" name="Group 660"/>
            <p:cNvGrpSpPr>
              <a:grpSpLocks/>
            </p:cNvGrpSpPr>
            <p:nvPr>
              <p:custDataLst>
                <p:tags r:id="rId74"/>
              </p:custDataLst>
            </p:nvPr>
          </p:nvGrpSpPr>
          <p:grpSpPr bwMode="auto">
            <a:xfrm>
              <a:off x="5273" y="2121"/>
              <a:ext cx="111" cy="72"/>
              <a:chOff x="5379" y="2466"/>
              <a:chExt cx="122" cy="71"/>
            </a:xfrm>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9" name="Line 666"/>
              <p:cNvSpPr>
                <a:spLocks noChangeShapeType="1"/>
              </p:cNvSpPr>
              <p:nvPr/>
            </p:nvSpPr>
            <p:spPr bwMode="auto">
              <a:xfrm flipH="1">
                <a:off x="5496" y="2490"/>
                <a:ext cx="5"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1" name="Line 668"/>
              <p:cNvSpPr>
                <a:spLocks noChangeShapeType="1"/>
              </p:cNvSpPr>
              <p:nvPr/>
            </p:nvSpPr>
            <p:spPr bwMode="auto">
              <a:xfrm>
                <a:off x="5464" y="2530"/>
                <a:ext cx="10"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8" name="Group 683"/>
            <p:cNvGrpSpPr>
              <a:grpSpLocks/>
            </p:cNvGrpSpPr>
            <p:nvPr>
              <p:custDataLst>
                <p:tags r:id="rId88"/>
              </p:custDataLst>
            </p:nvPr>
          </p:nvGrpSpPr>
          <p:grpSpPr bwMode="auto">
            <a:xfrm>
              <a:off x="3962" y="2085"/>
              <a:ext cx="31" cy="236"/>
              <a:chOff x="3950" y="2430"/>
              <a:chExt cx="36" cy="234"/>
            </a:xfrm>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6" name="Rectangle 687"/>
              <p:cNvSpPr>
                <a:spLocks noChangeArrowheads="1"/>
              </p:cNvSpPr>
              <p:nvPr/>
            </p:nvSpPr>
            <p:spPr bwMode="auto">
              <a:xfrm>
                <a:off x="3976" y="2632"/>
                <a:ext cx="7" cy="2"/>
              </a:xfrm>
              <a:prstGeom prst="rect">
                <a:avLst/>
              </a:prstGeom>
              <a:solidFill>
                <a:srgbClr val="C0C0C0"/>
              </a:solidFill>
              <a:ln w="9525">
                <a:solidFill>
                  <a:srgbClr val="FFFFFF"/>
                </a:solidFill>
                <a:miter lim="800000"/>
                <a:headEnd/>
                <a:tailEnd/>
              </a:ln>
            </p:spPr>
            <p:txBody>
              <a:bodyPr/>
              <a:lstStyle/>
              <a:p>
                <a:pPr algn="ctr"/>
                <a:endParaRPr lang="en-US" sz="1600" b="1">
                  <a:solidFill>
                    <a:srgbClr val="000000"/>
                  </a:solidFill>
                  <a:latin typeface="Aria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0" name="Line 691"/>
              <p:cNvSpPr>
                <a:spLocks noChangeShapeType="1"/>
              </p:cNvSpPr>
              <p:nvPr/>
            </p:nvSpPr>
            <p:spPr bwMode="auto">
              <a:xfrm>
                <a:off x="3981" y="2559"/>
                <a:ext cx="1"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3" name="Line 694"/>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1" name="Rectangle 702"/>
              <p:cNvSpPr>
                <a:spLocks noChangeArrowheads="1"/>
              </p:cNvSpPr>
              <p:nvPr/>
            </p:nvSpPr>
            <p:spPr bwMode="auto">
              <a:xfrm>
                <a:off x="3976" y="2632"/>
                <a:ext cx="7" cy="2"/>
              </a:xfrm>
              <a:prstGeom prst="rect">
                <a:avLst/>
              </a:prstGeom>
              <a:solidFill>
                <a:srgbClr val="C0C0C0"/>
              </a:solidFill>
              <a:ln w="9525">
                <a:solidFill>
                  <a:srgbClr val="FFFFFF"/>
                </a:solidFill>
                <a:miter lim="800000"/>
                <a:headEnd/>
                <a:tailEnd/>
              </a:ln>
            </p:spPr>
            <p:txBody>
              <a:bodyPr/>
              <a:lstStyle/>
              <a:p>
                <a:pPr algn="ctr"/>
                <a:endParaRPr lang="en-US" sz="1600" b="1">
                  <a:solidFill>
                    <a:srgbClr val="000000"/>
                  </a:solidFill>
                  <a:latin typeface="Aria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5" name="Line 706"/>
              <p:cNvSpPr>
                <a:spLocks noChangeShapeType="1"/>
              </p:cNvSpPr>
              <p:nvPr/>
            </p:nvSpPr>
            <p:spPr bwMode="auto">
              <a:xfrm>
                <a:off x="3981" y="2559"/>
                <a:ext cx="1"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8" name="Line 709"/>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0" name="Group 730"/>
            <p:cNvGrpSpPr>
              <a:grpSpLocks/>
            </p:cNvGrpSpPr>
            <p:nvPr>
              <p:custDataLst>
                <p:tags r:id="rId95"/>
              </p:custDataLst>
            </p:nvPr>
          </p:nvGrpSpPr>
          <p:grpSpPr bwMode="auto">
            <a:xfrm>
              <a:off x="1497" y="2045"/>
              <a:ext cx="221" cy="253"/>
              <a:chOff x="1486" y="2412"/>
              <a:chExt cx="244" cy="256"/>
            </a:xfrm>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0" name="Line 737"/>
            <p:cNvSpPr>
              <a:spLocks noChangeShapeType="1"/>
            </p:cNvSpPr>
            <p:nvPr>
              <p:custDataLst>
                <p:tags r:id="rId98"/>
              </p:custDataLst>
            </p:nvPr>
          </p:nvSpPr>
          <p:spPr bwMode="auto">
            <a:xfrm flipV="1">
              <a:off x="5065" y="3098"/>
              <a:ext cx="1" cy="8"/>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1" name="Group 848"/>
            <p:cNvGrpSpPr>
              <a:grpSpLocks/>
            </p:cNvGrpSpPr>
            <p:nvPr>
              <p:custDataLst>
                <p:tags r:id="rId209"/>
              </p:custDataLst>
            </p:nvPr>
          </p:nvGrpSpPr>
          <p:grpSpPr bwMode="auto">
            <a:xfrm>
              <a:off x="4733" y="1928"/>
              <a:ext cx="159" cy="277"/>
              <a:chOff x="5062" y="2295"/>
              <a:chExt cx="177" cy="279"/>
            </a:xfrm>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1" name="Line 864"/>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3" name="Line 866"/>
              <p:cNvSpPr>
                <a:spLocks noChangeShapeType="1"/>
              </p:cNvSpPr>
              <p:nvPr/>
            </p:nvSpPr>
            <p:spPr bwMode="auto">
              <a:xfrm flipH="1" flipV="1">
                <a:off x="5178" y="2447"/>
                <a:ext cx="7" cy="6"/>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29" name="Line 872"/>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2" name="Group 928"/>
            <p:cNvGrpSpPr>
              <a:grpSpLocks/>
            </p:cNvGrpSpPr>
            <p:nvPr>
              <p:custDataLst>
                <p:tags r:id="rId265"/>
              </p:custDataLst>
            </p:nvPr>
          </p:nvGrpSpPr>
          <p:grpSpPr bwMode="auto">
            <a:xfrm>
              <a:off x="1166" y="2282"/>
              <a:ext cx="285" cy="127"/>
              <a:chOff x="912" y="2626"/>
              <a:chExt cx="311" cy="127"/>
            </a:xfrm>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3" name="Group 934"/>
            <p:cNvGrpSpPr>
              <a:grpSpLocks/>
            </p:cNvGrpSpPr>
            <p:nvPr>
              <p:custDataLst>
                <p:tags r:id="rId268"/>
              </p:custDataLst>
            </p:nvPr>
          </p:nvGrpSpPr>
          <p:grpSpPr bwMode="auto">
            <a:xfrm>
              <a:off x="3527" y="2431"/>
              <a:ext cx="115" cy="65"/>
              <a:chOff x="3481" y="2773"/>
              <a:chExt cx="125" cy="65"/>
            </a:xfrm>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3" name="Line 936"/>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7" name="Line 940"/>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4" name="Group 950"/>
            <p:cNvGrpSpPr>
              <a:grpSpLocks/>
            </p:cNvGrpSpPr>
            <p:nvPr>
              <p:custDataLst>
                <p:tags r:id="rId273"/>
              </p:custDataLst>
            </p:nvPr>
          </p:nvGrpSpPr>
          <p:grpSpPr bwMode="auto">
            <a:xfrm>
              <a:off x="2280" y="1976"/>
              <a:ext cx="56" cy="52"/>
              <a:chOff x="2352" y="2343"/>
              <a:chExt cx="65" cy="53"/>
            </a:xfrm>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6" name="Group 1004"/>
            <p:cNvGrpSpPr>
              <a:grpSpLocks/>
            </p:cNvGrpSpPr>
            <p:nvPr>
              <p:custDataLst>
                <p:tags r:id="rId279"/>
              </p:custDataLst>
            </p:nvPr>
          </p:nvGrpSpPr>
          <p:grpSpPr bwMode="auto">
            <a:xfrm>
              <a:off x="1590" y="2754"/>
              <a:ext cx="263" cy="650"/>
              <a:chOff x="1589" y="3126"/>
              <a:chExt cx="290" cy="657"/>
            </a:xfrm>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no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7" name="Group 1090"/>
            <p:cNvGrpSpPr>
              <a:grpSpLocks/>
            </p:cNvGrpSpPr>
            <p:nvPr>
              <p:custDataLst>
                <p:tags r:id="rId362"/>
              </p:custDataLst>
            </p:nvPr>
          </p:nvGrpSpPr>
          <p:grpSpPr bwMode="auto">
            <a:xfrm>
              <a:off x="3952" y="1190"/>
              <a:ext cx="458" cy="242"/>
              <a:chOff x="4115" y="1551"/>
              <a:chExt cx="504" cy="244"/>
            </a:xfrm>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nvGrpSpPr>
            <p:cNvPr id="18" name="Group 1101"/>
            <p:cNvGrpSpPr>
              <a:grpSpLocks/>
            </p:cNvGrpSpPr>
            <p:nvPr>
              <p:custDataLst>
                <p:tags r:id="rId371"/>
              </p:custDataLst>
            </p:nvPr>
          </p:nvGrpSpPr>
          <p:grpSpPr bwMode="auto">
            <a:xfrm>
              <a:off x="3128" y="1467"/>
              <a:ext cx="329" cy="127"/>
              <a:chOff x="3289" y="1830"/>
              <a:chExt cx="363" cy="128"/>
            </a:xfrm>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algn="ctr">
                <a:spcBef>
                  <a:spcPct val="50000"/>
                </a:spcBef>
              </a:pPr>
              <a:endParaRPr lang="en-US" sz="1600" b="1">
                <a:solidFill>
                  <a:srgbClr val="000000"/>
                </a:solidFill>
                <a:latin typeface="Arial"/>
              </a:endParaRPr>
            </a:p>
          </p:txBody>
        </p:sp>
      </p:grpSp>
      <p:sp>
        <p:nvSpPr>
          <p:cNvPr id="18435" name="Rectangle 3"/>
          <p:cNvSpPr>
            <a:spLocks noGrp="1" noChangeArrowheads="1"/>
          </p:cNvSpPr>
          <p:nvPr>
            <p:ph type="title"/>
          </p:nvPr>
        </p:nvSpPr>
        <p:spPr/>
        <p:txBody>
          <a:bodyPr/>
          <a:lstStyle/>
          <a:p>
            <a:pPr eaLnBrk="1" hangingPunct="1"/>
            <a:r>
              <a:rPr lang="de-CH" smtClean="0"/>
              <a:t>STOXX sales contacts</a:t>
            </a:r>
          </a:p>
        </p:txBody>
      </p:sp>
      <p:sp>
        <p:nvSpPr>
          <p:cNvPr id="18437" name="Rectangle 258"/>
          <p:cNvSpPr>
            <a:spLocks noChangeArrowheads="1"/>
          </p:cNvSpPr>
          <p:nvPr/>
        </p:nvSpPr>
        <p:spPr bwMode="auto">
          <a:xfrm>
            <a:off x="5511800" y="4037014"/>
            <a:ext cx="0" cy="1587"/>
          </a:xfrm>
          <a:prstGeom prst="rect">
            <a:avLst/>
          </a:prstGeom>
          <a:solidFill>
            <a:srgbClr val="CED4E4"/>
          </a:solidFill>
          <a:ln w="6350">
            <a:solidFill>
              <a:schemeClr val="bg1"/>
            </a:solidFill>
            <a:miter lim="800000"/>
            <a:headEnd/>
            <a:tailEnd/>
          </a:ln>
        </p:spPr>
        <p:txBody>
          <a:bodyPr/>
          <a:lstStyle/>
          <a:p>
            <a:pPr eaLnBrk="0" hangingPunct="0"/>
            <a:endParaRPr lang="en-US" sz="2400">
              <a:solidFill>
                <a:srgbClr val="000066"/>
              </a:solidFill>
              <a:latin typeface="Arial"/>
              <a:ea typeface="ＭＳ Ｐゴシック" pitchFamily="34" charset="-128"/>
            </a:endParaRPr>
          </a:p>
        </p:txBody>
      </p:sp>
      <p:grpSp>
        <p:nvGrpSpPr>
          <p:cNvPr id="19" name="Group 1120"/>
          <p:cNvGrpSpPr>
            <a:grpSpLocks/>
          </p:cNvGrpSpPr>
          <p:nvPr/>
        </p:nvGrpSpPr>
        <p:grpSpPr bwMode="auto">
          <a:xfrm>
            <a:off x="407194" y="2960690"/>
            <a:ext cx="2482851" cy="1155700"/>
            <a:chOff x="857" y="2099"/>
            <a:chExt cx="1564" cy="728"/>
          </a:xfrm>
        </p:grpSpPr>
        <p:sp>
          <p:nvSpPr>
            <p:cNvPr id="18450" name="Rectangle 489"/>
            <p:cNvSpPr>
              <a:spLocks noChangeArrowheads="1"/>
            </p:cNvSpPr>
            <p:nvPr/>
          </p:nvSpPr>
          <p:spPr bwMode="auto">
            <a:xfrm>
              <a:off x="1802" y="2438"/>
              <a:ext cx="0" cy="1"/>
            </a:xfrm>
            <a:prstGeom prst="rect">
              <a:avLst/>
            </a:prstGeom>
            <a:solidFill>
              <a:schemeClr val="accent2"/>
            </a:solidFill>
            <a:ln w="6350">
              <a:solidFill>
                <a:schemeClr val="bg1"/>
              </a:solidFill>
              <a:miter lim="800000"/>
              <a:headEnd/>
              <a:tailEnd/>
            </a:ln>
          </p:spPr>
          <p:txBody>
            <a:bodyPr/>
            <a:lstStyle/>
            <a:p>
              <a:pPr eaLnBrk="0" hangingPunct="0"/>
              <a:endParaRPr lang="en-US" sz="2400">
                <a:solidFill>
                  <a:srgbClr val="000066"/>
                </a:solidFill>
                <a:latin typeface="Arial"/>
                <a:ea typeface="ＭＳ Ｐゴシック" pitchFamily="34" charset="-128"/>
              </a:endParaRPr>
            </a:p>
          </p:txBody>
        </p:sp>
        <p:sp>
          <p:nvSpPr>
            <p:cNvPr id="18451" name="Rectangle 564"/>
            <p:cNvSpPr>
              <a:spLocks noChangeArrowheads="1"/>
            </p:cNvSpPr>
            <p:nvPr/>
          </p:nvSpPr>
          <p:spPr bwMode="auto">
            <a:xfrm>
              <a:off x="857" y="2099"/>
              <a:ext cx="1564" cy="728"/>
            </a:xfrm>
            <a:prstGeom prst="rect">
              <a:avLst/>
            </a:prstGeom>
            <a:solidFill>
              <a:srgbClr val="FFFFFF">
                <a:alpha val="50195"/>
              </a:srgbClr>
            </a:solidFill>
            <a:ln w="9525" algn="ctr">
              <a:noFill/>
              <a:miter lim="800000"/>
              <a:headEnd/>
              <a:tailEnd/>
            </a:ln>
          </p:spPr>
          <p:txBody>
            <a:bodyPr wrap="none" lIns="0" tIns="0" rIns="0" bIns="0" anchor="ctr"/>
            <a:lstStyle/>
            <a:p>
              <a:pPr algn="ctr"/>
              <a:endParaRPr lang="en-US" sz="1600" b="1">
                <a:solidFill>
                  <a:srgbClr val="000000"/>
                </a:solidFill>
                <a:latin typeface="Arial"/>
                <a:ea typeface="ＭＳ Ｐゴシック" pitchFamily="34" charset="-128"/>
              </a:endParaRPr>
            </a:p>
          </p:txBody>
        </p:sp>
        <p:sp>
          <p:nvSpPr>
            <p:cNvPr id="18452" name="Rectangle 569"/>
            <p:cNvSpPr>
              <a:spLocks noChangeArrowheads="1"/>
            </p:cNvSpPr>
            <p:nvPr/>
          </p:nvSpPr>
          <p:spPr bwMode="auto">
            <a:xfrm>
              <a:off x="996" y="2181"/>
              <a:ext cx="1318" cy="582"/>
            </a:xfrm>
            <a:prstGeom prst="rect">
              <a:avLst/>
            </a:prstGeom>
            <a:noFill/>
            <a:ln w="9525" algn="ctr">
              <a:noFill/>
              <a:miter lim="800000"/>
              <a:headEnd/>
              <a:tailEnd/>
            </a:ln>
          </p:spPr>
          <p:txBody>
            <a:bodyPr lIns="0" tIns="0" rIns="0" bIns="0">
              <a:spAutoFit/>
            </a:bodyPr>
            <a:lstStyle/>
            <a:p>
              <a:pPr eaLnBrk="0" hangingPunct="0">
                <a:lnSpc>
                  <a:spcPct val="120000"/>
                </a:lnSpc>
              </a:pPr>
              <a:r>
                <a:rPr lang="en-GB" sz="1400" b="1" dirty="0">
                  <a:solidFill>
                    <a:srgbClr val="000000"/>
                  </a:solidFill>
                  <a:latin typeface="Arial"/>
                  <a:ea typeface="ＭＳ Ｐゴシック" pitchFamily="34" charset="-128"/>
                </a:rPr>
                <a:t>Rod Jones</a:t>
              </a:r>
            </a:p>
            <a:p>
              <a:pPr eaLnBrk="0" hangingPunct="0">
                <a:lnSpc>
                  <a:spcPct val="120000"/>
                </a:lnSpc>
              </a:pPr>
              <a:r>
                <a:rPr lang="en-GB" sz="1200" dirty="0">
                  <a:solidFill>
                    <a:srgbClr val="000000"/>
                  </a:solidFill>
                  <a:latin typeface="Arial"/>
                  <a:ea typeface="ＭＳ Ｐゴシック" pitchFamily="34" charset="-128"/>
                </a:rPr>
                <a:t>Head of Sales North America</a:t>
              </a:r>
            </a:p>
            <a:p>
              <a:pPr eaLnBrk="0" hangingPunct="0">
                <a:lnSpc>
                  <a:spcPct val="120000"/>
                </a:lnSpc>
              </a:pPr>
              <a:r>
                <a:rPr lang="en-GB" sz="1200" dirty="0">
                  <a:solidFill>
                    <a:srgbClr val="000000"/>
                  </a:solidFill>
                  <a:latin typeface="Arial"/>
                  <a:ea typeface="ＭＳ Ｐゴシック" pitchFamily="34" charset="-128"/>
                </a:rPr>
                <a:t>+</a:t>
              </a:r>
              <a:r>
                <a:rPr lang="en-US" sz="1200" dirty="0">
                  <a:solidFill>
                    <a:srgbClr val="000000"/>
                  </a:solidFill>
                  <a:latin typeface="Arial"/>
                  <a:ea typeface="ＭＳ Ｐゴシック" pitchFamily="34" charset="-128"/>
                </a:rPr>
                <a:t>1 917 916 6027 (mobile)</a:t>
              </a:r>
              <a:endParaRPr lang="en-GB" sz="1200" dirty="0">
                <a:solidFill>
                  <a:srgbClr val="000000"/>
                </a:solidFill>
                <a:latin typeface="Arial"/>
                <a:ea typeface="ＭＳ Ｐゴシック" pitchFamily="34" charset="-128"/>
              </a:endParaRPr>
            </a:p>
            <a:p>
              <a:pPr eaLnBrk="0" hangingPunct="0">
                <a:lnSpc>
                  <a:spcPct val="120000"/>
                </a:lnSpc>
              </a:pPr>
              <a:r>
                <a:rPr lang="en-GB" sz="1200" dirty="0">
                  <a:solidFill>
                    <a:srgbClr val="000000"/>
                  </a:solidFill>
                  <a:latin typeface="Arial"/>
                  <a:ea typeface="ＭＳ Ｐゴシック" pitchFamily="34" charset="-128"/>
                </a:rPr>
                <a:t>rod.jones@stoxx.com</a:t>
              </a:r>
              <a:endParaRPr lang="de-CH" sz="1200" dirty="0">
                <a:solidFill>
                  <a:srgbClr val="000000"/>
                </a:solidFill>
                <a:latin typeface="Arial"/>
                <a:ea typeface="ＭＳ Ｐゴシック" pitchFamily="34" charset="-128"/>
              </a:endParaRPr>
            </a:p>
          </p:txBody>
        </p:sp>
      </p:grpSp>
      <p:sp>
        <p:nvSpPr>
          <p:cNvPr id="18444" name="Rectangle 489"/>
          <p:cNvSpPr>
            <a:spLocks noChangeArrowheads="1"/>
          </p:cNvSpPr>
          <p:nvPr/>
        </p:nvSpPr>
        <p:spPr bwMode="auto">
          <a:xfrm>
            <a:off x="6973888" y="2876550"/>
            <a:ext cx="0" cy="1588"/>
          </a:xfrm>
          <a:prstGeom prst="rect">
            <a:avLst/>
          </a:prstGeom>
          <a:solidFill>
            <a:schemeClr val="accent2"/>
          </a:solidFill>
          <a:ln w="6350">
            <a:solidFill>
              <a:schemeClr val="bg1"/>
            </a:solidFill>
            <a:miter lim="800000"/>
            <a:headEnd/>
            <a:tailEnd/>
          </a:ln>
        </p:spPr>
        <p:txBody>
          <a:bodyPr/>
          <a:lstStyle/>
          <a:p>
            <a:pPr eaLnBrk="0" hangingPunct="0"/>
            <a:endParaRPr lang="en-US" sz="2400">
              <a:solidFill>
                <a:srgbClr val="000066"/>
              </a:solidFill>
              <a:latin typeface="Arial"/>
              <a:ea typeface="ＭＳ Ｐゴシック" pitchFamily="34" charset="-128"/>
            </a:endParaRPr>
          </a:p>
        </p:txBody>
      </p:sp>
      <p:grpSp>
        <p:nvGrpSpPr>
          <p:cNvPr id="20" name="Group 573"/>
          <p:cNvGrpSpPr/>
          <p:nvPr/>
        </p:nvGrpSpPr>
        <p:grpSpPr>
          <a:xfrm>
            <a:off x="3240792" y="2909889"/>
            <a:ext cx="2527485" cy="1155700"/>
            <a:chOff x="3039878" y="4138613"/>
            <a:chExt cx="2527485" cy="1155700"/>
          </a:xfrm>
        </p:grpSpPr>
        <p:sp>
          <p:nvSpPr>
            <p:cNvPr id="18445" name="Rectangle 564"/>
            <p:cNvSpPr>
              <a:spLocks noChangeArrowheads="1"/>
            </p:cNvSpPr>
            <p:nvPr/>
          </p:nvSpPr>
          <p:spPr bwMode="auto">
            <a:xfrm>
              <a:off x="3039878" y="4138613"/>
              <a:ext cx="2482850" cy="1155700"/>
            </a:xfrm>
            <a:prstGeom prst="rect">
              <a:avLst/>
            </a:prstGeom>
            <a:solidFill>
              <a:srgbClr val="FFFFFF">
                <a:alpha val="50195"/>
              </a:srgbClr>
            </a:solidFill>
            <a:ln w="9525" algn="ctr">
              <a:noFill/>
              <a:miter lim="800000"/>
              <a:headEnd/>
              <a:tailEnd/>
            </a:ln>
          </p:spPr>
          <p:txBody>
            <a:bodyPr wrap="none" lIns="0" tIns="0" rIns="0" bIns="0" anchor="ctr"/>
            <a:lstStyle/>
            <a:p>
              <a:pPr algn="ctr"/>
              <a:endParaRPr lang="en-US" sz="1600" b="1">
                <a:solidFill>
                  <a:srgbClr val="000000"/>
                </a:solidFill>
                <a:latin typeface="Arial"/>
                <a:ea typeface="ＭＳ Ｐゴシック" pitchFamily="34" charset="-128"/>
              </a:endParaRPr>
            </a:p>
          </p:txBody>
        </p:sp>
        <p:sp>
          <p:nvSpPr>
            <p:cNvPr id="18446" name="Rectangle 569"/>
            <p:cNvSpPr>
              <a:spLocks noChangeArrowheads="1"/>
            </p:cNvSpPr>
            <p:nvPr/>
          </p:nvSpPr>
          <p:spPr bwMode="auto">
            <a:xfrm>
              <a:off x="3475038" y="4240213"/>
              <a:ext cx="2092325" cy="923330"/>
            </a:xfrm>
            <a:prstGeom prst="rect">
              <a:avLst/>
            </a:prstGeom>
            <a:noFill/>
            <a:ln w="9525" algn="ctr">
              <a:noFill/>
              <a:miter lim="800000"/>
              <a:headEnd/>
              <a:tailEnd/>
            </a:ln>
          </p:spPr>
          <p:txBody>
            <a:bodyPr lIns="0" tIns="0" rIns="0" bIns="0">
              <a:spAutoFit/>
            </a:bodyPr>
            <a:lstStyle/>
            <a:p>
              <a:pPr eaLnBrk="0" hangingPunct="0">
                <a:lnSpc>
                  <a:spcPct val="120000"/>
                </a:lnSpc>
              </a:pPr>
              <a:r>
                <a:rPr lang="en-GB" sz="1400" b="1" dirty="0" smtClean="0">
                  <a:solidFill>
                    <a:srgbClr val="000000"/>
                  </a:solidFill>
                  <a:latin typeface="Arial"/>
                  <a:ea typeface="ＭＳ Ｐゴシック" pitchFamily="34" charset="-128"/>
                </a:rPr>
                <a:t>Mark Rodino </a:t>
              </a:r>
              <a:endParaRPr lang="en-GB" sz="1400" b="1" dirty="0">
                <a:solidFill>
                  <a:srgbClr val="000000"/>
                </a:solidFill>
                <a:latin typeface="Arial"/>
                <a:ea typeface="ＭＳ Ｐゴシック" pitchFamily="34" charset="-128"/>
              </a:endParaRPr>
            </a:p>
            <a:p>
              <a:pPr eaLnBrk="0" hangingPunct="0">
                <a:lnSpc>
                  <a:spcPct val="120000"/>
                </a:lnSpc>
              </a:pPr>
              <a:r>
                <a:rPr lang="en-GB" sz="1200" dirty="0" smtClean="0">
                  <a:solidFill>
                    <a:srgbClr val="000000"/>
                  </a:solidFill>
                  <a:latin typeface="Arial"/>
                  <a:ea typeface="ＭＳ Ｐゴシック" pitchFamily="34" charset="-128"/>
                </a:rPr>
                <a:t>Global Head of Sales</a:t>
              </a:r>
            </a:p>
            <a:p>
              <a:pPr eaLnBrk="0" hangingPunct="0">
                <a:lnSpc>
                  <a:spcPct val="120000"/>
                </a:lnSpc>
              </a:pPr>
              <a:r>
                <a:rPr lang="en-US" sz="1200" dirty="0" smtClean="0">
                  <a:solidFill>
                    <a:srgbClr val="000000"/>
                  </a:solidFill>
                  <a:latin typeface="Arial"/>
                  <a:ea typeface="ＭＳ Ｐゴシック" pitchFamily="34" charset="-128"/>
                </a:rPr>
                <a:t>+44 (0)</a:t>
              </a:r>
              <a:r>
                <a:rPr lang="en-US" sz="1200" dirty="0" smtClean="0">
                  <a:solidFill>
                    <a:srgbClr val="000000"/>
                  </a:solidFill>
                  <a:latin typeface="Arial"/>
                </a:rPr>
                <a:t>782 728 2529 </a:t>
              </a:r>
              <a:r>
                <a:rPr lang="en-US" sz="1200" dirty="0" smtClean="0">
                  <a:solidFill>
                    <a:srgbClr val="000000"/>
                  </a:solidFill>
                  <a:latin typeface="Arial"/>
                  <a:ea typeface="ＭＳ Ｐゴシック" pitchFamily="34" charset="-128"/>
                </a:rPr>
                <a:t>(mobile)</a:t>
              </a:r>
              <a:endParaRPr lang="en-GB" sz="1200" dirty="0" smtClean="0">
                <a:solidFill>
                  <a:srgbClr val="000000"/>
                </a:solidFill>
                <a:latin typeface="Arial"/>
                <a:ea typeface="ＭＳ Ｐゴシック" pitchFamily="34" charset="-128"/>
              </a:endParaRPr>
            </a:p>
            <a:p>
              <a:pPr eaLnBrk="0" hangingPunct="0">
                <a:lnSpc>
                  <a:spcPct val="120000"/>
                </a:lnSpc>
              </a:pPr>
              <a:r>
                <a:rPr lang="en-GB" sz="1200" dirty="0" smtClean="0">
                  <a:solidFill>
                    <a:srgbClr val="000000"/>
                  </a:solidFill>
                  <a:latin typeface="Arial"/>
                  <a:ea typeface="ＭＳ Ｐゴシック" pitchFamily="34" charset="-128"/>
                </a:rPr>
                <a:t>mark.rodino@stoxx.com</a:t>
              </a:r>
              <a:endParaRPr lang="de-CH" sz="1200" dirty="0">
                <a:solidFill>
                  <a:srgbClr val="000000"/>
                </a:solidFill>
                <a:latin typeface="Arial"/>
                <a:ea typeface="ＭＳ Ｐゴシック" pitchFamily="34" charset="-128"/>
              </a:endParaRPr>
            </a:p>
          </p:txBody>
        </p:sp>
      </p:grpSp>
      <p:sp>
        <p:nvSpPr>
          <p:cNvPr id="18447" name="Rectangle 489"/>
          <p:cNvSpPr>
            <a:spLocks noChangeArrowheads="1"/>
          </p:cNvSpPr>
          <p:nvPr/>
        </p:nvSpPr>
        <p:spPr bwMode="auto">
          <a:xfrm>
            <a:off x="7245350" y="4643442"/>
            <a:ext cx="0" cy="1587"/>
          </a:xfrm>
          <a:prstGeom prst="rect">
            <a:avLst/>
          </a:prstGeom>
          <a:solidFill>
            <a:schemeClr val="accent2"/>
          </a:solidFill>
          <a:ln w="6350">
            <a:solidFill>
              <a:schemeClr val="bg1"/>
            </a:solidFill>
            <a:miter lim="800000"/>
            <a:headEnd/>
            <a:tailEnd/>
          </a:ln>
        </p:spPr>
        <p:txBody>
          <a:bodyPr/>
          <a:lstStyle/>
          <a:p>
            <a:pPr eaLnBrk="0" hangingPunct="0"/>
            <a:endParaRPr lang="en-US" sz="2400">
              <a:solidFill>
                <a:srgbClr val="000066"/>
              </a:solidFill>
              <a:latin typeface="Arial"/>
              <a:ea typeface="ＭＳ Ｐゴシック" pitchFamily="34" charset="-128"/>
            </a:endParaRPr>
          </a:p>
        </p:txBody>
      </p:sp>
      <p:sp>
        <p:nvSpPr>
          <p:cNvPr id="570" name="Rectangle 2"/>
          <p:cNvSpPr>
            <a:spLocks noChangeArrowheads="1"/>
          </p:cNvSpPr>
          <p:nvPr/>
        </p:nvSpPr>
        <p:spPr bwMode="auto">
          <a:xfrm>
            <a:off x="504827" y="2503487"/>
            <a:ext cx="248769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de-DE" sz="1400" b="1" dirty="0" err="1">
                <a:solidFill>
                  <a:srgbClr val="FFFFFF"/>
                </a:solidFill>
                <a:latin typeface="Arial"/>
                <a:ea typeface="ＭＳ Ｐゴシック" pitchFamily="34" charset="-128"/>
              </a:rPr>
              <a:t>Americas</a:t>
            </a:r>
            <a:endParaRPr lang="de-DE" sz="1400" b="1" dirty="0">
              <a:solidFill>
                <a:srgbClr val="FFFFFF"/>
              </a:solidFill>
              <a:latin typeface="Arial"/>
              <a:ea typeface="ＭＳ Ｐゴシック" pitchFamily="34" charset="-128"/>
            </a:endParaRPr>
          </a:p>
        </p:txBody>
      </p:sp>
      <p:sp>
        <p:nvSpPr>
          <p:cNvPr id="571" name="Rectangle 2"/>
          <p:cNvSpPr>
            <a:spLocks noChangeArrowheads="1"/>
          </p:cNvSpPr>
          <p:nvPr/>
        </p:nvSpPr>
        <p:spPr bwMode="auto">
          <a:xfrm>
            <a:off x="3419477" y="2503487"/>
            <a:ext cx="2673351"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de-DE" sz="1400" b="1" dirty="0">
                <a:solidFill>
                  <a:srgbClr val="FFFFFF"/>
                </a:solidFill>
                <a:latin typeface="Arial"/>
                <a:ea typeface="ＭＳ Ｐゴシック" pitchFamily="34" charset="-128"/>
              </a:rPr>
              <a:t>EMEA</a:t>
            </a:r>
          </a:p>
        </p:txBody>
      </p:sp>
      <p:sp>
        <p:nvSpPr>
          <p:cNvPr id="572" name="Rectangle 2"/>
          <p:cNvSpPr>
            <a:spLocks noChangeArrowheads="1"/>
          </p:cNvSpPr>
          <p:nvPr/>
        </p:nvSpPr>
        <p:spPr bwMode="auto">
          <a:xfrm>
            <a:off x="6496051" y="2503487"/>
            <a:ext cx="2914650"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de-DE" sz="1400" b="1" dirty="0" err="1">
                <a:solidFill>
                  <a:srgbClr val="FFFFFF"/>
                </a:solidFill>
                <a:latin typeface="Arial"/>
                <a:ea typeface="ＭＳ Ｐゴシック" pitchFamily="34" charset="-128"/>
              </a:rPr>
              <a:t>Asia</a:t>
            </a:r>
            <a:r>
              <a:rPr lang="de-DE" sz="1400" b="1" dirty="0">
                <a:solidFill>
                  <a:srgbClr val="FFFFFF"/>
                </a:solidFill>
                <a:latin typeface="Arial"/>
                <a:ea typeface="ＭＳ Ｐゴシック" pitchFamily="34" charset="-128"/>
              </a:rPr>
              <a:t> / Pacific </a:t>
            </a:r>
          </a:p>
        </p:txBody>
      </p:sp>
      <p:grpSp>
        <p:nvGrpSpPr>
          <p:cNvPr id="21" name="Group 573"/>
          <p:cNvGrpSpPr/>
          <p:nvPr/>
        </p:nvGrpSpPr>
        <p:grpSpPr>
          <a:xfrm>
            <a:off x="6537176" y="2924944"/>
            <a:ext cx="2808312" cy="1155700"/>
            <a:chOff x="3039878" y="4138613"/>
            <a:chExt cx="2808312" cy="1155700"/>
          </a:xfrm>
        </p:grpSpPr>
        <p:sp>
          <p:nvSpPr>
            <p:cNvPr id="575" name="Rectangle 564"/>
            <p:cNvSpPr>
              <a:spLocks noChangeArrowheads="1"/>
            </p:cNvSpPr>
            <p:nvPr/>
          </p:nvSpPr>
          <p:spPr bwMode="auto">
            <a:xfrm>
              <a:off x="3039878" y="4138613"/>
              <a:ext cx="2482850" cy="1155700"/>
            </a:xfrm>
            <a:prstGeom prst="rect">
              <a:avLst/>
            </a:prstGeom>
            <a:solidFill>
              <a:srgbClr val="FFFFFF">
                <a:alpha val="50195"/>
              </a:srgbClr>
            </a:solidFill>
            <a:ln w="9525" algn="ctr">
              <a:noFill/>
              <a:miter lim="800000"/>
              <a:headEnd/>
              <a:tailEnd/>
            </a:ln>
          </p:spPr>
          <p:txBody>
            <a:bodyPr wrap="none" lIns="0" tIns="0" rIns="0" bIns="0" anchor="ctr"/>
            <a:lstStyle/>
            <a:p>
              <a:pPr algn="ctr"/>
              <a:endParaRPr lang="en-US" sz="1600" b="1">
                <a:solidFill>
                  <a:srgbClr val="000000"/>
                </a:solidFill>
                <a:latin typeface="Arial"/>
                <a:ea typeface="ＭＳ Ｐゴシック" pitchFamily="34" charset="-128"/>
              </a:endParaRPr>
            </a:p>
          </p:txBody>
        </p:sp>
        <p:sp>
          <p:nvSpPr>
            <p:cNvPr id="576" name="Rectangle 569"/>
            <p:cNvSpPr>
              <a:spLocks noChangeArrowheads="1"/>
            </p:cNvSpPr>
            <p:nvPr/>
          </p:nvSpPr>
          <p:spPr bwMode="auto">
            <a:xfrm>
              <a:off x="3111886" y="4240213"/>
              <a:ext cx="2736304" cy="923330"/>
            </a:xfrm>
            <a:prstGeom prst="rect">
              <a:avLst/>
            </a:prstGeom>
            <a:noFill/>
            <a:ln w="9525" algn="ctr">
              <a:noFill/>
              <a:miter lim="800000"/>
              <a:headEnd/>
              <a:tailEnd/>
            </a:ln>
          </p:spPr>
          <p:txBody>
            <a:bodyPr wrap="square" lIns="0" tIns="0" rIns="0" bIns="0">
              <a:spAutoFit/>
            </a:bodyPr>
            <a:lstStyle/>
            <a:p>
              <a:pPr eaLnBrk="0" hangingPunct="0">
                <a:lnSpc>
                  <a:spcPct val="120000"/>
                </a:lnSpc>
              </a:pPr>
              <a:r>
                <a:rPr lang="en-GB" sz="1400" b="1" dirty="0" smtClean="0">
                  <a:solidFill>
                    <a:srgbClr val="000000"/>
                  </a:solidFill>
                  <a:latin typeface="Arial"/>
                  <a:ea typeface="ＭＳ Ｐゴシック" pitchFamily="34" charset="-128"/>
                </a:rPr>
                <a:t>Shirley Low,</a:t>
              </a:r>
              <a:r>
                <a:rPr lang="ja-JP" altLang="en-US" sz="1400" b="1" dirty="0" smtClean="0">
                  <a:solidFill>
                    <a:srgbClr val="000000"/>
                  </a:solidFill>
                  <a:latin typeface="Arial"/>
                  <a:ea typeface="ＭＳ Ｐゴシック" pitchFamily="34" charset="-128"/>
                </a:rPr>
                <a:t>刘洧琁</a:t>
              </a:r>
              <a:r>
                <a:rPr lang="en-US" altLang="ja-JP" sz="1400" b="1" dirty="0" smtClean="0">
                  <a:solidFill>
                    <a:srgbClr val="000000"/>
                  </a:solidFill>
                  <a:latin typeface="Arial"/>
                  <a:ea typeface="ＭＳ Ｐゴシック" pitchFamily="34" charset="-128"/>
                </a:rPr>
                <a:t>,</a:t>
              </a:r>
              <a:r>
                <a:rPr lang="en-GB" sz="1400" b="1" dirty="0" smtClean="0">
                  <a:solidFill>
                    <a:srgbClr val="000000"/>
                  </a:solidFill>
                  <a:latin typeface="Arial"/>
                  <a:ea typeface="ＭＳ Ｐゴシック" pitchFamily="34" charset="-128"/>
                </a:rPr>
                <a:t>CFA, CAIA </a:t>
              </a:r>
            </a:p>
            <a:p>
              <a:pPr eaLnBrk="0" hangingPunct="0">
                <a:lnSpc>
                  <a:spcPct val="120000"/>
                </a:lnSpc>
              </a:pPr>
              <a:r>
                <a:rPr lang="en-GB" sz="1200" dirty="0" smtClean="0">
                  <a:solidFill>
                    <a:srgbClr val="000000"/>
                  </a:solidFill>
                  <a:latin typeface="Arial"/>
                  <a:ea typeface="ＭＳ Ｐゴシック" pitchFamily="34" charset="-128"/>
                </a:rPr>
                <a:t>Head </a:t>
              </a:r>
              <a:r>
                <a:rPr lang="en-GB" sz="1200" dirty="0">
                  <a:solidFill>
                    <a:srgbClr val="000000"/>
                  </a:solidFill>
                  <a:latin typeface="Arial"/>
                  <a:ea typeface="ＭＳ Ｐゴシック" pitchFamily="34" charset="-128"/>
                </a:rPr>
                <a:t>of Sales </a:t>
              </a:r>
              <a:r>
                <a:rPr lang="en-GB" sz="1200" dirty="0" smtClean="0">
                  <a:solidFill>
                    <a:srgbClr val="000000"/>
                  </a:solidFill>
                  <a:latin typeface="Arial"/>
                  <a:ea typeface="ＭＳ Ｐゴシック" pitchFamily="34" charset="-128"/>
                </a:rPr>
                <a:t>Asia/Pacific</a:t>
              </a:r>
              <a:endParaRPr lang="en-GB" sz="1200" dirty="0">
                <a:solidFill>
                  <a:srgbClr val="000000"/>
                </a:solidFill>
                <a:latin typeface="Arial"/>
                <a:ea typeface="ＭＳ Ｐゴシック" pitchFamily="34" charset="-128"/>
              </a:endParaRPr>
            </a:p>
            <a:p>
              <a:pPr eaLnBrk="0" hangingPunct="0">
                <a:lnSpc>
                  <a:spcPct val="120000"/>
                </a:lnSpc>
              </a:pPr>
              <a:r>
                <a:rPr lang="en-US" sz="1200" dirty="0">
                  <a:solidFill>
                    <a:srgbClr val="000000"/>
                  </a:solidFill>
                  <a:latin typeface="Arial"/>
                  <a:ea typeface="ＭＳ Ｐゴシック" pitchFamily="34" charset="-128"/>
                </a:rPr>
                <a:t>+41 (0)79 </a:t>
              </a:r>
              <a:r>
                <a:rPr lang="en-US" sz="1200" dirty="0" smtClean="0">
                  <a:solidFill>
                    <a:srgbClr val="000000"/>
                  </a:solidFill>
                  <a:latin typeface="Arial"/>
                  <a:ea typeface="ＭＳ Ｐゴシック" pitchFamily="34" charset="-128"/>
                </a:rPr>
                <a:t>746 9519 </a:t>
              </a:r>
              <a:r>
                <a:rPr lang="en-US" sz="1200" dirty="0">
                  <a:solidFill>
                    <a:srgbClr val="000000"/>
                  </a:solidFill>
                  <a:latin typeface="Arial"/>
                  <a:ea typeface="ＭＳ Ｐゴシック" pitchFamily="34" charset="-128"/>
                </a:rPr>
                <a:t>(mobile)</a:t>
              </a:r>
              <a:endParaRPr lang="en-GB" sz="1200" dirty="0">
                <a:solidFill>
                  <a:srgbClr val="000000"/>
                </a:solidFill>
                <a:latin typeface="Arial"/>
                <a:ea typeface="ＭＳ Ｐゴシック" pitchFamily="34" charset="-128"/>
              </a:endParaRPr>
            </a:p>
            <a:p>
              <a:pPr eaLnBrk="0" hangingPunct="0">
                <a:lnSpc>
                  <a:spcPct val="120000"/>
                </a:lnSpc>
              </a:pPr>
              <a:r>
                <a:rPr lang="en-GB" sz="1200" dirty="0" smtClean="0">
                  <a:solidFill>
                    <a:srgbClr val="000000"/>
                  </a:solidFill>
                  <a:latin typeface="Arial"/>
                  <a:ea typeface="ＭＳ Ｐゴシック" pitchFamily="34" charset="-128"/>
                </a:rPr>
                <a:t>shirley.low@stoxx.com</a:t>
              </a:r>
              <a:endParaRPr lang="de-CH" sz="1200" dirty="0">
                <a:solidFill>
                  <a:srgbClr val="000000"/>
                </a:solidFill>
                <a:latin typeface="Arial"/>
                <a:ea typeface="ＭＳ Ｐゴシック" pitchFamily="34" charset="-128"/>
              </a:endParaRP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6"/>
          <p:cNvSpPr>
            <a:spLocks noGrp="1" noChangeArrowheads="1"/>
          </p:cNvSpPr>
          <p:nvPr>
            <p:ph type="sldNum" sz="quarter" idx="10"/>
          </p:nvPr>
        </p:nvSpPr>
        <p:spPr/>
        <p:txBody>
          <a:bodyPr/>
          <a:lstStyle/>
          <a:p>
            <a:pPr>
              <a:defRPr/>
            </a:pPr>
            <a:fld id="{2D0BCA80-EEE4-4CDA-BE35-3449478CB74B}" type="slidenum">
              <a:rPr lang="de-DE" smtClean="0">
                <a:solidFill>
                  <a:srgbClr val="000000"/>
                </a:solidFill>
              </a:rPr>
              <a:pPr>
                <a:defRPr/>
              </a:pPr>
              <a:t>17</a:t>
            </a:fld>
            <a:endParaRPr lang="de-DE" smtClean="0">
              <a:solidFill>
                <a:srgbClr val="000000"/>
              </a:solidFill>
            </a:endParaRPr>
          </a:p>
        </p:txBody>
      </p:sp>
      <p:sp>
        <p:nvSpPr>
          <p:cNvPr id="19459" name="Title 1"/>
          <p:cNvSpPr>
            <a:spLocks noGrp="1"/>
          </p:cNvSpPr>
          <p:nvPr>
            <p:ph type="title" idx="4294967295"/>
          </p:nvPr>
        </p:nvSpPr>
        <p:spPr/>
        <p:txBody>
          <a:bodyPr anchor="ctr"/>
          <a:lstStyle/>
          <a:p>
            <a:pPr eaLnBrk="1" hangingPunct="1"/>
            <a:r>
              <a:rPr lang="de-DE" smtClean="0"/>
              <a:t>Disclaimer</a:t>
            </a:r>
            <a:endParaRPr lang="en-US" smtClean="0"/>
          </a:p>
        </p:txBody>
      </p:sp>
      <p:sp>
        <p:nvSpPr>
          <p:cNvPr id="19460" name="Content Placeholder 2"/>
          <p:cNvSpPr>
            <a:spLocks noGrp="1"/>
          </p:cNvSpPr>
          <p:nvPr>
            <p:ph idx="4294967295"/>
          </p:nvPr>
        </p:nvSpPr>
        <p:spPr>
          <a:xfrm>
            <a:off x="407988" y="4100513"/>
            <a:ext cx="7524750" cy="1958975"/>
          </a:xfrm>
        </p:spPr>
        <p:txBody>
          <a:bodyPr>
            <a:spAutoFit/>
          </a:bodyPr>
          <a:lstStyle/>
          <a:p>
            <a:pPr marL="0" indent="0" eaLnBrk="1" hangingPunct="1"/>
            <a:r>
              <a:rPr lang="en-US" sz="1400" smtClean="0"/>
              <a:t>About STOXX</a:t>
            </a:r>
          </a:p>
          <a:p>
            <a:pPr marL="0" indent="0" eaLnBrk="1" hangingPunct="1"/>
            <a:r>
              <a:rPr lang="en-US" sz="1200" b="0" smtClean="0"/>
              <a:t>STOXX Ltd. is an established and leading index specialist of European origins. The launch of the first STOXX® indices in 1998, including the EURO STOXX 50® Index, marked the beginning of a unique success story, based on the company’s neutrality and independence. Since then, STOXX has been </a:t>
            </a:r>
            <a:br>
              <a:rPr lang="en-US" sz="1200" b="0" smtClean="0"/>
            </a:br>
            <a:r>
              <a:rPr lang="en-US" sz="1200" b="0" smtClean="0"/>
              <a:t>at the forefront of market developments, continuously expanding its portfolio of innovative indices – </a:t>
            </a:r>
            <a:br>
              <a:rPr lang="en-US" sz="1200" b="0" smtClean="0"/>
            </a:br>
            <a:r>
              <a:rPr lang="en-US" sz="1200" b="0" smtClean="0"/>
              <a:t>and now operating on a Europe level, across all asset classes.</a:t>
            </a:r>
          </a:p>
          <a:p>
            <a:pPr marL="0" indent="0" eaLnBrk="1" hangingPunct="1"/>
            <a:r>
              <a:rPr lang="en-US" sz="1200" b="0" smtClean="0"/>
              <a:t>The indices are licensed to more than 400 companies among the world’s largest financial products issuers, capital owners, and asset managers. They are used not only as underlyings for financial products such as ETFs, futures and options, and structured products, but also for risk and performance measurement. In addition, STOXX Ltd. is the marketing agent for the indices of Deutsche Börse AG and SIX Swiss Exchange Indices, among them the DAX</a:t>
            </a:r>
            <a:r>
              <a:rPr lang="en-US" sz="1200" b="0" baseline="30000" smtClean="0"/>
              <a:t>®</a:t>
            </a:r>
            <a:r>
              <a:rPr lang="en-US" sz="1200" b="0" smtClean="0"/>
              <a:t> and the SMI</a:t>
            </a:r>
            <a:r>
              <a:rPr lang="en-US" sz="1200" b="0" baseline="30000" smtClean="0"/>
              <a:t>®</a:t>
            </a:r>
            <a:r>
              <a:rPr lang="en-US" sz="1200" b="0" smtClean="0"/>
              <a:t> indices.</a:t>
            </a:r>
          </a:p>
        </p:txBody>
      </p:sp>
      <p:sp>
        <p:nvSpPr>
          <p:cNvPr id="19461" name="TextBox 4"/>
          <p:cNvSpPr txBox="1">
            <a:spLocks noChangeArrowheads="1"/>
          </p:cNvSpPr>
          <p:nvPr/>
        </p:nvSpPr>
        <p:spPr bwMode="auto">
          <a:xfrm>
            <a:off x="323850" y="1163638"/>
            <a:ext cx="7524750" cy="2262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a:solidFill>
                  <a:srgbClr val="000000"/>
                </a:solidFill>
              </a:rPr>
              <a:t>The indices in the presentation and the trademarks used in the index names are the intellectual property of STOXX Ltd, or SIX Swiss Exchange AG, or Deutsche Börse AG. </a:t>
            </a:r>
          </a:p>
          <a:p>
            <a:pPr eaLnBrk="1" hangingPunct="1"/>
            <a:r>
              <a:rPr lang="en-US" sz="1200">
                <a:solidFill>
                  <a:srgbClr val="000000"/>
                </a:solidFill>
              </a:rPr>
              <a:t>The use of the STOXX®, DAX®, and SMI® indices and of the respective index data for financial products or for other purposes requires a license from STOXX, Deutsche Börse AG, or SIX Swiss Exchange AG. STOXX and its owners do not make any warranties or representations, express or implied, with respect to the timeliness, sequence, accuracy, completeness, currentness, merchant- ability, quality,  or 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STOXX®, DAX®, or SMI® indices are in no way sponsored, endorsed, sold, or promoted by STOXX or its owners</a:t>
            </a:r>
            <a:r>
              <a:rPr lang="en-US" sz="900">
                <a:solidFill>
                  <a:srgbClr val="000000"/>
                </a:solidFill>
              </a:rPr>
              <a:t>.</a:t>
            </a:r>
          </a:p>
          <a:p>
            <a:pPr eaLnBrk="1" hangingPunct="1"/>
            <a:endParaRPr lang="en-US" sz="900">
              <a:solidFill>
                <a:srgbClr val="0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2"/>
          <p:cNvSpPr>
            <a:spLocks noGrp="1"/>
          </p:cNvSpPr>
          <p:nvPr>
            <p:ph type="sldNum" sz="quarter" idx="10"/>
          </p:nvPr>
        </p:nvSpPr>
        <p:spPr/>
        <p:txBody>
          <a:bodyPr/>
          <a:lstStyle/>
          <a:p>
            <a:pPr>
              <a:defRPr/>
            </a:pPr>
            <a:fld id="{05435F8A-2544-4E21-9472-B1682D185CC0}" type="slidenum">
              <a:rPr lang="de-DE" smtClean="0"/>
              <a:pPr>
                <a:defRPr/>
              </a:pPr>
              <a:t>2</a:t>
            </a:fld>
            <a:endParaRPr lang="de-DE" smtClean="0"/>
          </a:p>
        </p:txBody>
      </p:sp>
      <p:sp>
        <p:nvSpPr>
          <p:cNvPr id="4099" name="Rectangle 2"/>
          <p:cNvSpPr>
            <a:spLocks noGrp="1" noChangeArrowheads="1"/>
          </p:cNvSpPr>
          <p:nvPr>
            <p:ph type="title"/>
          </p:nvPr>
        </p:nvSpPr>
        <p:spPr/>
        <p:txBody>
          <a:bodyPr/>
          <a:lstStyle/>
          <a:p>
            <a:pPr eaLnBrk="1" hangingPunct="1"/>
            <a:r>
              <a:rPr lang="en-US" smtClean="0"/>
              <a:t>STOXX Europe Maximum Dividend 40 index is a liquid and tradable underlying for financial products</a:t>
            </a:r>
          </a:p>
        </p:txBody>
      </p:sp>
      <p:sp>
        <p:nvSpPr>
          <p:cNvPr id="4100" name="Rectangle 3"/>
          <p:cNvSpPr>
            <a:spLocks noChangeArrowheads="1"/>
          </p:cNvSpPr>
          <p:nvPr/>
        </p:nvSpPr>
        <p:spPr bwMode="auto">
          <a:xfrm>
            <a:off x="368300" y="2217738"/>
            <a:ext cx="8274050" cy="3070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defTabSz="955675">
              <a:lnSpc>
                <a:spcPct val="95000"/>
              </a:lnSpc>
              <a:buClr>
                <a:schemeClr val="accent1"/>
              </a:buClr>
              <a:buFont typeface="Arial" charset="0"/>
              <a:buChar char="»"/>
              <a:tabLst>
                <a:tab pos="193675" algn="l"/>
                <a:tab pos="1239838" algn="l"/>
              </a:tabLst>
            </a:pPr>
            <a:r>
              <a:rPr lang="en-US" sz="1400"/>
              <a:t>STOXX Europe Maximum Dividend 40 index is a blue-chip index comprising the 40 highest dividend yielding European companies from STOXX Europe 600 index</a:t>
            </a:r>
          </a:p>
          <a:p>
            <a:pPr marL="190500" lvl="1" indent="-188913" defTabSz="955675">
              <a:lnSpc>
                <a:spcPct val="95000"/>
              </a:lnSpc>
              <a:buClr>
                <a:schemeClr val="accent1"/>
              </a:buClr>
              <a:buFont typeface="Arial" charset="0"/>
              <a:buChar char="»"/>
              <a:tabLst>
                <a:tab pos="193675" algn="l"/>
                <a:tab pos="1239838" algn="l"/>
              </a:tabLst>
            </a:pPr>
            <a:endParaRPr lang="en-US" sz="1400"/>
          </a:p>
          <a:p>
            <a:pPr marL="190500" lvl="1" indent="-188913" defTabSz="955675">
              <a:lnSpc>
                <a:spcPct val="95000"/>
              </a:lnSpc>
              <a:buClr>
                <a:schemeClr val="accent1"/>
              </a:buClr>
              <a:buFont typeface="Arial" charset="0"/>
              <a:buChar char="»"/>
              <a:tabLst>
                <a:tab pos="193675" algn="l"/>
                <a:tab pos="1239838" algn="l"/>
              </a:tabLst>
            </a:pPr>
            <a:r>
              <a:rPr lang="en-US" sz="1400"/>
              <a:t>The constituent selection as well as the weighting scheme is based on quarterly dividend forecasts</a:t>
            </a:r>
          </a:p>
          <a:p>
            <a:pPr marL="190500" lvl="1" indent="-188913" defTabSz="955675">
              <a:lnSpc>
                <a:spcPct val="95000"/>
              </a:lnSpc>
              <a:buClr>
                <a:schemeClr val="accent1"/>
              </a:buClr>
              <a:buFont typeface="Arial" charset="0"/>
              <a:buChar char="»"/>
              <a:tabLst>
                <a:tab pos="193675" algn="l"/>
                <a:tab pos="1239838" algn="l"/>
              </a:tabLst>
            </a:pPr>
            <a:endParaRPr lang="en-US" sz="1400"/>
          </a:p>
          <a:p>
            <a:pPr marL="190500" lvl="1" indent="-188913" defTabSz="955675">
              <a:lnSpc>
                <a:spcPct val="95000"/>
              </a:lnSpc>
              <a:buClr>
                <a:schemeClr val="accent1"/>
              </a:buClr>
              <a:buFont typeface="Arial" charset="0"/>
              <a:buChar char="»"/>
              <a:tabLst>
                <a:tab pos="193675" algn="l"/>
                <a:tab pos="1239838" algn="l"/>
              </a:tabLst>
            </a:pPr>
            <a:r>
              <a:rPr lang="en-US" sz="1400"/>
              <a:t>The index aims to maximize performance obtained from dividend yields on a short-term basis due to the fact that it tracks dividend paying companies from quarter to quarter: </a:t>
            </a:r>
          </a:p>
          <a:p>
            <a:pPr marL="358775" lvl="2" indent="-188913" defTabSz="955675">
              <a:lnSpc>
                <a:spcPct val="95000"/>
              </a:lnSpc>
              <a:buClr>
                <a:schemeClr val="accent1"/>
              </a:buClr>
              <a:buFont typeface="Arial" charset="0"/>
              <a:buChar char="»"/>
              <a:tabLst>
                <a:tab pos="193675" algn="l"/>
                <a:tab pos="1239838" algn="l"/>
              </a:tabLst>
            </a:pPr>
            <a:r>
              <a:rPr lang="en-US" sz="1400"/>
              <a:t>At cut-off date e.g. October 31, all companies are selected that have a dividend ex date forecasted in the period of 3rd. Friday of December to 3rd. Friday in March (implementation period) </a:t>
            </a:r>
          </a:p>
          <a:p>
            <a:pPr marL="190500" lvl="1" indent="-188913" defTabSz="955675">
              <a:lnSpc>
                <a:spcPct val="95000"/>
              </a:lnSpc>
              <a:buClr>
                <a:schemeClr val="accent1"/>
              </a:buClr>
              <a:buFont typeface="Arial" charset="0"/>
              <a:buChar char="»"/>
              <a:tabLst>
                <a:tab pos="193675" algn="l"/>
                <a:tab pos="1239838" algn="l"/>
              </a:tabLst>
            </a:pPr>
            <a:endParaRPr lang="en-US" sz="1400"/>
          </a:p>
          <a:p>
            <a:pPr marL="190500" lvl="1" indent="-188913" defTabSz="955675">
              <a:lnSpc>
                <a:spcPct val="95000"/>
              </a:lnSpc>
              <a:buClr>
                <a:schemeClr val="accent1"/>
              </a:buClr>
              <a:buFont typeface="Arial" charset="0"/>
              <a:buChar char="»"/>
              <a:tabLst>
                <a:tab pos="193675" algn="l"/>
                <a:tab pos="1239838" algn="l"/>
              </a:tabLst>
            </a:pPr>
            <a:r>
              <a:rPr lang="en-US" sz="1400"/>
              <a:t>Dividend ETFs (Exchange Traded Funds) offer investors a transparent and diversified play for dividend investing </a:t>
            </a:r>
          </a:p>
          <a:p>
            <a:pPr marL="190500" lvl="1" indent="-188913" defTabSz="955675">
              <a:lnSpc>
                <a:spcPct val="95000"/>
              </a:lnSpc>
              <a:buClr>
                <a:schemeClr val="accent1"/>
              </a:buClr>
              <a:buFont typeface="Arial" charset="0"/>
              <a:buChar char="»"/>
              <a:tabLst>
                <a:tab pos="193675" algn="l"/>
                <a:tab pos="1239838" algn="l"/>
              </a:tabLst>
            </a:pPr>
            <a:endParaRPr lang="en-US" sz="1400"/>
          </a:p>
          <a:p>
            <a:pPr marL="190500" lvl="1" indent="-188913" defTabSz="955675">
              <a:lnSpc>
                <a:spcPct val="95000"/>
              </a:lnSpc>
              <a:buClr>
                <a:schemeClr val="accent1"/>
              </a:buClr>
              <a:buFont typeface="Arial" charset="0"/>
              <a:buChar char="»"/>
              <a:tabLst>
                <a:tab pos="193675" algn="l"/>
                <a:tab pos="1239838" algn="l"/>
              </a:tabLst>
            </a:pPr>
            <a:r>
              <a:rPr lang="en-US" sz="1400"/>
              <a:t>Cap factor leads to sufficient diversification within the indices and enable the indices to underlie financial products such as ETFs</a:t>
            </a:r>
          </a:p>
        </p:txBody>
      </p:sp>
      <p:sp>
        <p:nvSpPr>
          <p:cNvPr id="4101" name="Rectangle 2"/>
          <p:cNvSpPr>
            <a:spLocks noChangeArrowheads="1"/>
          </p:cNvSpPr>
          <p:nvPr/>
        </p:nvSpPr>
        <p:spPr bwMode="auto">
          <a:xfrm>
            <a:off x="368300" y="1836738"/>
            <a:ext cx="871696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400" b="1">
                <a:solidFill>
                  <a:schemeClr val="bg1"/>
                </a:solidFill>
              </a:rPr>
              <a:t>Key features</a:t>
            </a:r>
          </a:p>
        </p:txBody>
      </p:sp>
      <p:sp>
        <p:nvSpPr>
          <p:cNvPr id="4102" name="Text Box 7"/>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Summary</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2"/>
          <p:cNvSpPr>
            <a:spLocks noGrp="1"/>
          </p:cNvSpPr>
          <p:nvPr>
            <p:ph type="sldNum" sz="quarter" idx="14"/>
          </p:nvPr>
        </p:nvSpPr>
        <p:spPr/>
        <p:txBody>
          <a:bodyPr/>
          <a:lstStyle/>
          <a:p>
            <a:pPr>
              <a:defRPr/>
            </a:pPr>
            <a:fld id="{E10A2D4A-9226-484D-91EE-212E581808B6}" type="slidenum">
              <a:rPr lang="de-DE" smtClean="0"/>
              <a:pPr>
                <a:defRPr/>
              </a:pPr>
              <a:t>3</a:t>
            </a:fld>
            <a:endParaRPr lang="de-DE" smtClean="0"/>
          </a:p>
        </p:txBody>
      </p:sp>
      <p:sp>
        <p:nvSpPr>
          <p:cNvPr id="5123" name="Rectangle 4"/>
          <p:cNvSpPr>
            <a:spLocks noGrp="1" noChangeArrowheads="1"/>
          </p:cNvSpPr>
          <p:nvPr>
            <p:ph type="title"/>
          </p:nvPr>
        </p:nvSpPr>
        <p:spPr/>
        <p:txBody>
          <a:bodyPr/>
          <a:lstStyle/>
          <a:p>
            <a:pPr eaLnBrk="1" hangingPunct="1"/>
            <a:r>
              <a:rPr lang="de-DE" smtClean="0"/>
              <a:t>Agenda</a:t>
            </a:r>
          </a:p>
        </p:txBody>
      </p:sp>
      <p:sp>
        <p:nvSpPr>
          <p:cNvPr id="5124" name="Text Box 23"/>
          <p:cNvSpPr txBox="1">
            <a:spLocks noChangeArrowheads="1"/>
          </p:cNvSpPr>
          <p:nvPr/>
        </p:nvSpPr>
        <p:spPr bwMode="auto">
          <a:xfrm>
            <a:off x="368300" y="1454150"/>
            <a:ext cx="9161463" cy="121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444500" indent="-444500" eaLnBrk="0" hangingPunct="0">
              <a:tabLst>
                <a:tab pos="6165850" algn="l"/>
              </a:tabLst>
              <a:defRPr>
                <a:solidFill>
                  <a:schemeClr val="tx1"/>
                </a:solidFill>
                <a:latin typeface="Arial" charset="0"/>
              </a:defRPr>
            </a:lvl1pPr>
            <a:lvl2pPr marL="742950" indent="-285750" eaLnBrk="0" hangingPunct="0">
              <a:tabLst>
                <a:tab pos="6165850" algn="l"/>
              </a:tabLst>
              <a:defRPr>
                <a:solidFill>
                  <a:schemeClr val="tx1"/>
                </a:solidFill>
                <a:latin typeface="Arial" charset="0"/>
              </a:defRPr>
            </a:lvl2pPr>
            <a:lvl3pPr marL="1143000" indent="-228600" eaLnBrk="0" hangingPunct="0">
              <a:tabLst>
                <a:tab pos="6165850" algn="l"/>
              </a:tabLst>
              <a:defRPr>
                <a:solidFill>
                  <a:schemeClr val="tx1"/>
                </a:solidFill>
                <a:latin typeface="Arial" charset="0"/>
              </a:defRPr>
            </a:lvl3pPr>
            <a:lvl4pPr marL="1600200" indent="-228600" eaLnBrk="0" hangingPunct="0">
              <a:tabLst>
                <a:tab pos="6165850" algn="l"/>
              </a:tabLst>
              <a:defRPr>
                <a:solidFill>
                  <a:schemeClr val="tx1"/>
                </a:solidFill>
                <a:latin typeface="Arial" charset="0"/>
              </a:defRPr>
            </a:lvl4pPr>
            <a:lvl5pPr marL="2057400" indent="-228600" eaLnBrk="0" hangingPunct="0">
              <a:tabLst>
                <a:tab pos="6165850" algn="l"/>
              </a:tabLst>
              <a:defRPr>
                <a:solidFill>
                  <a:schemeClr val="tx1"/>
                </a:solidFill>
                <a:latin typeface="Arial" charset="0"/>
              </a:defRPr>
            </a:lvl5pPr>
            <a:lvl6pPr marL="2514600" indent="-228600" eaLnBrk="0" fontAlgn="base" hangingPunct="0">
              <a:spcBef>
                <a:spcPct val="0"/>
              </a:spcBef>
              <a:spcAft>
                <a:spcPct val="0"/>
              </a:spcAft>
              <a:tabLst>
                <a:tab pos="6165850" algn="l"/>
              </a:tabLst>
              <a:defRPr>
                <a:solidFill>
                  <a:schemeClr val="tx1"/>
                </a:solidFill>
                <a:latin typeface="Arial" charset="0"/>
              </a:defRPr>
            </a:lvl6pPr>
            <a:lvl7pPr marL="2971800" indent="-228600" eaLnBrk="0" fontAlgn="base" hangingPunct="0">
              <a:spcBef>
                <a:spcPct val="0"/>
              </a:spcBef>
              <a:spcAft>
                <a:spcPct val="0"/>
              </a:spcAft>
              <a:tabLst>
                <a:tab pos="6165850" algn="l"/>
              </a:tabLst>
              <a:defRPr>
                <a:solidFill>
                  <a:schemeClr val="tx1"/>
                </a:solidFill>
                <a:latin typeface="Arial" charset="0"/>
              </a:defRPr>
            </a:lvl7pPr>
            <a:lvl8pPr marL="3429000" indent="-228600" eaLnBrk="0" fontAlgn="base" hangingPunct="0">
              <a:spcBef>
                <a:spcPct val="0"/>
              </a:spcBef>
              <a:spcAft>
                <a:spcPct val="0"/>
              </a:spcAft>
              <a:tabLst>
                <a:tab pos="6165850" algn="l"/>
              </a:tabLst>
              <a:defRPr>
                <a:solidFill>
                  <a:schemeClr val="tx1"/>
                </a:solidFill>
                <a:latin typeface="Arial" charset="0"/>
              </a:defRPr>
            </a:lvl8pPr>
            <a:lvl9pPr marL="3886200" indent="-228600" eaLnBrk="0" fontAlgn="base" hangingPunct="0">
              <a:spcBef>
                <a:spcPct val="0"/>
              </a:spcBef>
              <a:spcAft>
                <a:spcPct val="0"/>
              </a:spcAft>
              <a:tabLst>
                <a:tab pos="6165850" algn="l"/>
              </a:tabLst>
              <a:defRPr>
                <a:solidFill>
                  <a:schemeClr val="tx1"/>
                </a:solidFill>
                <a:latin typeface="Arial" charset="0"/>
              </a:defRPr>
            </a:lvl9pPr>
          </a:lstStyle>
          <a:p>
            <a:pPr eaLnBrk="1" hangingPunct="1">
              <a:spcBef>
                <a:spcPct val="30000"/>
              </a:spcBef>
              <a:buFontTx/>
              <a:buAutoNum type="arabicPeriod"/>
            </a:pPr>
            <a:r>
              <a:rPr lang="de-DE" sz="2200"/>
              <a:t>Index – Introduction	Page   4</a:t>
            </a:r>
          </a:p>
          <a:p>
            <a:pPr eaLnBrk="1" hangingPunct="1">
              <a:spcBef>
                <a:spcPct val="30000"/>
              </a:spcBef>
              <a:buFontTx/>
              <a:buAutoNum type="arabicPeriod"/>
            </a:pPr>
            <a:r>
              <a:rPr lang="de-DE" sz="2200"/>
              <a:t>Methodology	Page   8</a:t>
            </a:r>
          </a:p>
          <a:p>
            <a:pPr eaLnBrk="1" hangingPunct="1">
              <a:spcBef>
                <a:spcPct val="30000"/>
              </a:spcBef>
              <a:buFontTx/>
              <a:buAutoNum type="arabicPeriod"/>
            </a:pPr>
            <a:r>
              <a:rPr lang="de-DE" sz="2200"/>
              <a:t>Profile &amp; Performance Figures	Page   12</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9"/>
          <p:cNvSpPr>
            <a:spLocks noGrp="1" noChangeArrowheads="1"/>
          </p:cNvSpPr>
          <p:nvPr>
            <p:ph type="sldNum" sz="quarter" idx="10"/>
          </p:nvPr>
        </p:nvSpPr>
        <p:spPr/>
        <p:txBody>
          <a:bodyPr/>
          <a:lstStyle/>
          <a:p>
            <a:pPr>
              <a:defRPr/>
            </a:pPr>
            <a:fld id="{B0E21D86-4637-42C4-B929-0ADFFF71560A}" type="slidenum">
              <a:rPr lang="de-DE" smtClean="0"/>
              <a:pPr>
                <a:defRPr/>
              </a:pPr>
              <a:t>4</a:t>
            </a:fld>
            <a:endParaRPr lang="de-DE" smtClean="0"/>
          </a:p>
        </p:txBody>
      </p:sp>
      <p:sp>
        <p:nvSpPr>
          <p:cNvPr id="6147" name="Rectangle 6"/>
          <p:cNvSpPr>
            <a:spLocks noGrp="1" noChangeArrowheads="1"/>
          </p:cNvSpPr>
          <p:nvPr>
            <p:ph type="ctrTitle"/>
          </p:nvPr>
        </p:nvSpPr>
        <p:spPr>
          <a:xfrm>
            <a:off x="368300" y="298450"/>
            <a:ext cx="9158288" cy="1754188"/>
          </a:xfrm>
        </p:spPr>
        <p:txBody>
          <a:bodyPr/>
          <a:lstStyle/>
          <a:p>
            <a:pPr eaLnBrk="1" hangingPunct="1"/>
            <a:r>
              <a:rPr lang="de-DE" sz="2400" b="1" smtClean="0"/>
              <a:t>STOXX Europe Maximum Dividend 40 Index</a:t>
            </a:r>
            <a:r>
              <a:rPr lang="de-DE" smtClean="0"/>
              <a:t/>
            </a:r>
            <a:br>
              <a:rPr lang="de-DE" smtClean="0"/>
            </a:br>
            <a:r>
              <a:rPr lang="de-DE" smtClean="0">
                <a:solidFill>
                  <a:srgbClr val="B8D266"/>
                </a:solidFill>
              </a:rPr>
              <a:t>1. Index Indroduction </a:t>
            </a:r>
            <a:r>
              <a:rPr lang="de-DE" sz="2400" b="1" smtClean="0">
                <a:solidFill>
                  <a:schemeClr val="tx1"/>
                </a:solidFill>
              </a:rPr>
              <a:t/>
            </a:r>
            <a:br>
              <a:rPr lang="de-DE" sz="2400" b="1" smtClean="0">
                <a:solidFill>
                  <a:schemeClr val="tx1"/>
                </a:solidFill>
              </a:rPr>
            </a:br>
            <a:endParaRPr lang="de-DE" smtClean="0">
              <a:solidFill>
                <a:srgbClr val="B8D266"/>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642100" y="1844675"/>
            <a:ext cx="2889250" cy="4276725"/>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0" tIns="0" rIns="0" bIns="0" anchor="ctr"/>
          <a:lstStyle/>
          <a:p>
            <a:pPr>
              <a:defRPr/>
            </a:pPr>
            <a:endParaRPr lang="en-US"/>
          </a:p>
        </p:txBody>
      </p:sp>
      <p:sp>
        <p:nvSpPr>
          <p:cNvPr id="7171" name="Slide Number Placeholder 2"/>
          <p:cNvSpPr>
            <a:spLocks noGrp="1"/>
          </p:cNvSpPr>
          <p:nvPr>
            <p:ph type="sldNum" sz="quarter" idx="10"/>
          </p:nvPr>
        </p:nvSpPr>
        <p:spPr/>
        <p:txBody>
          <a:bodyPr/>
          <a:lstStyle/>
          <a:p>
            <a:pPr>
              <a:defRPr/>
            </a:pPr>
            <a:fld id="{ABB5512D-A4B7-4434-91A9-083848F06281}" type="slidenum">
              <a:rPr lang="en-US" smtClean="0"/>
              <a:pPr>
                <a:defRPr/>
              </a:pPr>
              <a:t>5</a:t>
            </a:fld>
            <a:endParaRPr lang="en-US" smtClean="0"/>
          </a:p>
        </p:txBody>
      </p:sp>
      <p:sp>
        <p:nvSpPr>
          <p:cNvPr id="7172" name="Rectangle 2"/>
          <p:cNvSpPr>
            <a:spLocks noGrp="1" noChangeArrowheads="1"/>
          </p:cNvSpPr>
          <p:nvPr>
            <p:ph type="title"/>
          </p:nvPr>
        </p:nvSpPr>
        <p:spPr/>
        <p:txBody>
          <a:bodyPr/>
          <a:lstStyle/>
          <a:p>
            <a:pPr eaLnBrk="1" hangingPunct="1"/>
            <a:r>
              <a:rPr lang="en-US" smtClean="0"/>
              <a:t>The vast majority of dividend payments in Europe take place in spring</a:t>
            </a:r>
          </a:p>
        </p:txBody>
      </p:sp>
      <p:sp>
        <p:nvSpPr>
          <p:cNvPr id="7173" name="Rectangle 2"/>
          <p:cNvSpPr>
            <a:spLocks noChangeArrowheads="1"/>
          </p:cNvSpPr>
          <p:nvPr/>
        </p:nvSpPr>
        <p:spPr bwMode="auto">
          <a:xfrm>
            <a:off x="368300" y="1824038"/>
            <a:ext cx="6018213" cy="27781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400" b="1">
                <a:solidFill>
                  <a:schemeClr val="bg1"/>
                </a:solidFill>
              </a:rPr>
              <a:t>Annual distribution of average dividend payouts</a:t>
            </a:r>
          </a:p>
        </p:txBody>
      </p:sp>
      <p:sp>
        <p:nvSpPr>
          <p:cNvPr id="7174" name="Text Box 4"/>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Distributions of dividend payouts in STOXX Europe 600</a:t>
            </a:r>
          </a:p>
        </p:txBody>
      </p:sp>
      <p:grpSp>
        <p:nvGrpSpPr>
          <p:cNvPr id="7175" name="Group 5"/>
          <p:cNvGrpSpPr>
            <a:grpSpLocks/>
          </p:cNvGrpSpPr>
          <p:nvPr/>
        </p:nvGrpSpPr>
        <p:grpSpPr bwMode="auto">
          <a:xfrm>
            <a:off x="368300" y="6027738"/>
            <a:ext cx="1809750" cy="153987"/>
            <a:chOff x="176" y="3893"/>
            <a:chExt cx="1052" cy="97"/>
          </a:xfrm>
        </p:grpSpPr>
        <p:sp>
          <p:nvSpPr>
            <p:cNvPr id="7186" name="Rectangle 6"/>
            <p:cNvSpPr>
              <a:spLocks noChangeArrowheads="1"/>
            </p:cNvSpPr>
            <p:nvPr/>
          </p:nvSpPr>
          <p:spPr bwMode="auto">
            <a:xfrm>
              <a:off x="176" y="3896"/>
              <a:ext cx="136" cy="91"/>
            </a:xfrm>
            <a:prstGeom prst="rect">
              <a:avLst/>
            </a:prstGeom>
            <a:solidFill>
              <a:schemeClr val="accent1"/>
            </a:solidFill>
            <a:ln w="9525" algn="ctr">
              <a:solidFill>
                <a:schemeClr val="accent1"/>
              </a:solidFill>
              <a:miter lim="800000"/>
              <a:headEnd/>
              <a:tailEnd/>
            </a:ln>
          </p:spPr>
          <p:txBody>
            <a:bodyPr wrap="none" lIns="0" tIns="0" rIns="0" bIns="0" anchor="ctr"/>
            <a:lstStyle/>
            <a:p>
              <a:endParaRPr lang="en-US"/>
            </a:p>
          </p:txBody>
        </p:sp>
        <p:sp>
          <p:nvSpPr>
            <p:cNvPr id="7187" name="Legend"/>
            <p:cNvSpPr txBox="1">
              <a:spLocks noChangeArrowheads="1"/>
            </p:cNvSpPr>
            <p:nvPr/>
          </p:nvSpPr>
          <p:spPr bwMode="auto">
            <a:xfrm>
              <a:off x="376" y="3893"/>
              <a:ext cx="852"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a:t>Average dividend payouts</a:t>
              </a:r>
            </a:p>
          </p:txBody>
        </p:sp>
      </p:grpSp>
      <p:graphicFrame>
        <p:nvGraphicFramePr>
          <p:cNvPr id="2" name="Object 11"/>
          <p:cNvGraphicFramePr>
            <a:graphicFrameLocks noChangeAspect="1"/>
          </p:cNvGraphicFramePr>
          <p:nvPr/>
        </p:nvGraphicFramePr>
        <p:xfrm>
          <a:off x="311150" y="2254250"/>
          <a:ext cx="6134100" cy="3646488"/>
        </p:xfrm>
        <a:graphic>
          <a:graphicData uri="http://schemas.openxmlformats.org/drawingml/2006/chart">
            <c:chart xmlns:c="http://schemas.openxmlformats.org/drawingml/2006/chart" xmlns:r="http://schemas.openxmlformats.org/officeDocument/2006/relationships" r:id="rId2"/>
          </a:graphicData>
        </a:graphic>
      </p:graphicFrame>
      <p:sp>
        <p:nvSpPr>
          <p:cNvPr id="7177" name="Rectangle 12"/>
          <p:cNvSpPr>
            <a:spLocks noChangeArrowheads="1"/>
          </p:cNvSpPr>
          <p:nvPr/>
        </p:nvSpPr>
        <p:spPr bwMode="auto">
          <a:xfrm>
            <a:off x="6642100" y="3625850"/>
            <a:ext cx="2874963" cy="276225"/>
          </a:xfrm>
          <a:prstGeom prst="rect">
            <a:avLst/>
          </a:prstGeom>
          <a:solidFill>
            <a:schemeClr val="folHlink"/>
          </a:solidFill>
          <a:ln w="9525" algn="ctr">
            <a:solidFill>
              <a:schemeClr val="folHlink"/>
            </a:solidFill>
            <a:miter lim="800000"/>
            <a:headEnd/>
            <a:tailEnd/>
          </a:ln>
        </p:spPr>
        <p:txBody>
          <a:bodyPr lIns="0" tIns="0" rIns="0" bIns="0" anchor="ctr">
            <a:spAutoFit/>
          </a:bodyPr>
          <a:lstStyle/>
          <a:p>
            <a:endParaRPr lang="en-US"/>
          </a:p>
        </p:txBody>
      </p:sp>
      <p:grpSp>
        <p:nvGrpSpPr>
          <p:cNvPr id="7178" name="Group 13"/>
          <p:cNvGrpSpPr>
            <a:grpSpLocks/>
          </p:cNvGrpSpPr>
          <p:nvPr/>
        </p:nvGrpSpPr>
        <p:grpSpPr bwMode="auto">
          <a:xfrm>
            <a:off x="6723063" y="1946275"/>
            <a:ext cx="339725" cy="307975"/>
            <a:chOff x="1603" y="2418"/>
            <a:chExt cx="198" cy="194"/>
          </a:xfrm>
        </p:grpSpPr>
        <p:sp>
          <p:nvSpPr>
            <p:cNvPr id="7184" name="Freeform 14"/>
            <p:cNvSpPr>
              <a:spLocks/>
            </p:cNvSpPr>
            <p:nvPr/>
          </p:nvSpPr>
          <p:spPr bwMode="auto">
            <a:xfrm>
              <a:off x="1603" y="2418"/>
              <a:ext cx="108" cy="194"/>
            </a:xfrm>
            <a:custGeom>
              <a:avLst/>
              <a:gdLst>
                <a:gd name="T0" fmla="*/ 0 w 80"/>
                <a:gd name="T1" fmla="*/ 0 h 162"/>
                <a:gd name="T2" fmla="*/ 46368 w 80"/>
                <a:gd name="T3" fmla="*/ 0 h 162"/>
                <a:gd name="T4" fmla="*/ 145247 w 80"/>
                <a:gd name="T5" fmla="*/ 7239 h 162"/>
                <a:gd name="T6" fmla="*/ 48673 w 80"/>
                <a:gd name="T7" fmla="*/ 14666 h 162"/>
                <a:gd name="T8" fmla="*/ 0 w 80"/>
                <a:gd name="T9" fmla="*/ 14666 h 162"/>
                <a:gd name="T10" fmla="*/ 87934 w 80"/>
                <a:gd name="T11" fmla="*/ 7404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sp>
          <p:nvSpPr>
            <p:cNvPr id="7185" name="Freeform 15"/>
            <p:cNvSpPr>
              <a:spLocks/>
            </p:cNvSpPr>
            <p:nvPr/>
          </p:nvSpPr>
          <p:spPr bwMode="auto">
            <a:xfrm>
              <a:off x="1693" y="2418"/>
              <a:ext cx="108" cy="194"/>
            </a:xfrm>
            <a:custGeom>
              <a:avLst/>
              <a:gdLst>
                <a:gd name="T0" fmla="*/ 0 w 80"/>
                <a:gd name="T1" fmla="*/ 0 h 162"/>
                <a:gd name="T2" fmla="*/ 46368 w 80"/>
                <a:gd name="T3" fmla="*/ 0 h 162"/>
                <a:gd name="T4" fmla="*/ 145247 w 80"/>
                <a:gd name="T5" fmla="*/ 7239 h 162"/>
                <a:gd name="T6" fmla="*/ 48673 w 80"/>
                <a:gd name="T7" fmla="*/ 14666 h 162"/>
                <a:gd name="T8" fmla="*/ 0 w 80"/>
                <a:gd name="T9" fmla="*/ 14666 h 162"/>
                <a:gd name="T10" fmla="*/ 87934 w 80"/>
                <a:gd name="T11" fmla="*/ 7404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grpSp>
      <p:sp>
        <p:nvSpPr>
          <p:cNvPr id="7179" name="Rectangle 16"/>
          <p:cNvSpPr>
            <a:spLocks noChangeArrowheads="1"/>
          </p:cNvSpPr>
          <p:nvPr/>
        </p:nvSpPr>
        <p:spPr bwMode="auto">
          <a:xfrm>
            <a:off x="6723063" y="2379663"/>
            <a:ext cx="2803525" cy="143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400"/>
              <a:t>The vast majority of dividends is paid in May, thereafter less dividend payments take place until they reach a constant level in August</a:t>
            </a:r>
          </a:p>
          <a:p>
            <a:pPr marL="190500" lvl="1" indent="-188913">
              <a:lnSpc>
                <a:spcPct val="95000"/>
              </a:lnSpc>
              <a:buClr>
                <a:schemeClr val="accent1"/>
              </a:buClr>
              <a:buFont typeface="Arial" charset="0"/>
              <a:buChar char="»"/>
            </a:pPr>
            <a:r>
              <a:rPr lang="en-US" sz="1400"/>
              <a:t>Payouts start to increase again in March</a:t>
            </a:r>
          </a:p>
        </p:txBody>
      </p:sp>
      <p:grpSp>
        <p:nvGrpSpPr>
          <p:cNvPr id="7180" name="Group 5"/>
          <p:cNvGrpSpPr>
            <a:grpSpLocks/>
          </p:cNvGrpSpPr>
          <p:nvPr/>
        </p:nvGrpSpPr>
        <p:grpSpPr bwMode="auto">
          <a:xfrm>
            <a:off x="2457450" y="6032500"/>
            <a:ext cx="1357313" cy="153988"/>
            <a:chOff x="176" y="3893"/>
            <a:chExt cx="789" cy="97"/>
          </a:xfrm>
        </p:grpSpPr>
        <p:sp>
          <p:nvSpPr>
            <p:cNvPr id="7182" name="Rectangle 6"/>
            <p:cNvSpPr>
              <a:spLocks noChangeArrowheads="1"/>
            </p:cNvSpPr>
            <p:nvPr/>
          </p:nvSpPr>
          <p:spPr bwMode="auto">
            <a:xfrm>
              <a:off x="176" y="3896"/>
              <a:ext cx="136" cy="91"/>
            </a:xfrm>
            <a:prstGeom prst="rect">
              <a:avLst/>
            </a:prstGeom>
            <a:solidFill>
              <a:schemeClr val="accent2"/>
            </a:solidFill>
            <a:ln w="9525" algn="ctr">
              <a:solidFill>
                <a:schemeClr val="accent2"/>
              </a:solidFill>
              <a:miter lim="800000"/>
              <a:headEnd/>
              <a:tailEnd/>
            </a:ln>
          </p:spPr>
          <p:txBody>
            <a:bodyPr wrap="none" lIns="0" tIns="0" rIns="0" bIns="0" anchor="ctr"/>
            <a:lstStyle/>
            <a:p>
              <a:endParaRPr lang="en-US"/>
            </a:p>
          </p:txBody>
        </p:sp>
        <p:sp>
          <p:nvSpPr>
            <p:cNvPr id="7183" name="Legend"/>
            <p:cNvSpPr txBox="1">
              <a:spLocks noChangeArrowheads="1"/>
            </p:cNvSpPr>
            <p:nvPr/>
          </p:nvSpPr>
          <p:spPr bwMode="auto">
            <a:xfrm>
              <a:off x="376" y="3893"/>
              <a:ext cx="589" cy="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a:t>Dividend ex dates</a:t>
              </a:r>
            </a:p>
          </p:txBody>
        </p:sp>
      </p:grpSp>
      <p:sp>
        <p:nvSpPr>
          <p:cNvPr id="7181" name="Text Box 150"/>
          <p:cNvSpPr txBox="1">
            <a:spLocks noChangeArrowheads="1"/>
          </p:cNvSpPr>
          <p:nvPr/>
        </p:nvSpPr>
        <p:spPr bwMode="auto">
          <a:xfrm>
            <a:off x="2022475" y="6481763"/>
            <a:ext cx="6540500" cy="15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aseline="30000">
                <a:solidFill>
                  <a:srgbClr val="AFAFAF"/>
                </a:solidFill>
              </a:rPr>
              <a:t>1) </a:t>
            </a:r>
            <a:r>
              <a:rPr lang="en-US" sz="1000">
                <a:solidFill>
                  <a:srgbClr val="AFAFAF"/>
                </a:solidFill>
              </a:rPr>
              <a:t>Average dividend yield of companies in STOXX Europe 600 from 1911 - 2010</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6642100" y="1844675"/>
            <a:ext cx="2889250" cy="4276725"/>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lIns="0" tIns="0" rIns="0" bIns="0" anchor="ctr"/>
          <a:lstStyle/>
          <a:p>
            <a:pPr>
              <a:defRPr/>
            </a:pPr>
            <a:endParaRPr lang="en-US"/>
          </a:p>
        </p:txBody>
      </p:sp>
      <p:sp>
        <p:nvSpPr>
          <p:cNvPr id="8195" name="Slide Number Placeholder 2"/>
          <p:cNvSpPr>
            <a:spLocks noGrp="1"/>
          </p:cNvSpPr>
          <p:nvPr>
            <p:ph type="sldNum" sz="quarter" idx="10"/>
          </p:nvPr>
        </p:nvSpPr>
        <p:spPr/>
        <p:txBody>
          <a:bodyPr/>
          <a:lstStyle/>
          <a:p>
            <a:pPr>
              <a:defRPr/>
            </a:pPr>
            <a:fld id="{7DFE6515-1686-4F92-AC11-1C9124719EC1}" type="slidenum">
              <a:rPr lang="de-DE" smtClean="0"/>
              <a:pPr>
                <a:defRPr/>
              </a:pPr>
              <a:t>6</a:t>
            </a:fld>
            <a:endParaRPr lang="de-DE" smtClean="0"/>
          </a:p>
        </p:txBody>
      </p:sp>
      <p:sp>
        <p:nvSpPr>
          <p:cNvPr id="8196" name="Rectangle 2"/>
          <p:cNvSpPr>
            <a:spLocks noGrp="1" noChangeArrowheads="1"/>
          </p:cNvSpPr>
          <p:nvPr>
            <p:ph type="title"/>
          </p:nvPr>
        </p:nvSpPr>
        <p:spPr/>
        <p:txBody>
          <a:bodyPr/>
          <a:lstStyle/>
          <a:p>
            <a:pPr eaLnBrk="1" hangingPunct="1"/>
            <a:r>
              <a:rPr lang="en-US" smtClean="0"/>
              <a:t>In Europe Great Britain is paying dividends throughout the year whereas Germany is paying mostly in Q1 and Q2</a:t>
            </a:r>
          </a:p>
        </p:txBody>
      </p:sp>
      <p:sp>
        <p:nvSpPr>
          <p:cNvPr id="8197" name="Rectangle 2"/>
          <p:cNvSpPr>
            <a:spLocks noChangeArrowheads="1"/>
          </p:cNvSpPr>
          <p:nvPr/>
        </p:nvSpPr>
        <p:spPr bwMode="auto">
          <a:xfrm>
            <a:off x="368300" y="1824038"/>
            <a:ext cx="601821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400" b="1">
                <a:solidFill>
                  <a:schemeClr val="bg1"/>
                </a:solidFill>
              </a:rPr>
              <a:t>Dividend ex Dates 2011 per Country</a:t>
            </a:r>
          </a:p>
        </p:txBody>
      </p:sp>
      <p:sp>
        <p:nvSpPr>
          <p:cNvPr id="8198" name="Text Box 4"/>
          <p:cNvSpPr txBox="1">
            <a:spLocks noChangeArrowheads="1"/>
          </p:cNvSpPr>
          <p:nvPr/>
        </p:nvSpPr>
        <p:spPr bwMode="auto">
          <a:xfrm>
            <a:off x="368300" y="1293813"/>
            <a:ext cx="91614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Distributions of dividend ex dates in STOXX Europe 600</a:t>
            </a:r>
          </a:p>
        </p:txBody>
      </p:sp>
      <p:sp>
        <p:nvSpPr>
          <p:cNvPr id="8199" name="Rectangle 12"/>
          <p:cNvSpPr>
            <a:spLocks noChangeArrowheads="1"/>
          </p:cNvSpPr>
          <p:nvPr/>
        </p:nvSpPr>
        <p:spPr bwMode="auto">
          <a:xfrm>
            <a:off x="6642100" y="3625850"/>
            <a:ext cx="2874963" cy="276225"/>
          </a:xfrm>
          <a:prstGeom prst="rect">
            <a:avLst/>
          </a:prstGeom>
          <a:solidFill>
            <a:schemeClr val="folHlink"/>
          </a:solidFill>
          <a:ln w="9525" algn="ctr">
            <a:solidFill>
              <a:schemeClr val="folHlink"/>
            </a:solidFill>
            <a:miter lim="800000"/>
            <a:headEnd/>
            <a:tailEnd/>
          </a:ln>
        </p:spPr>
        <p:txBody>
          <a:bodyPr lIns="0" tIns="0" rIns="0" bIns="0" anchor="ctr">
            <a:spAutoFit/>
          </a:bodyPr>
          <a:lstStyle/>
          <a:p>
            <a:endParaRPr lang="en-US"/>
          </a:p>
        </p:txBody>
      </p:sp>
      <p:grpSp>
        <p:nvGrpSpPr>
          <p:cNvPr id="8200" name="Group 13"/>
          <p:cNvGrpSpPr>
            <a:grpSpLocks/>
          </p:cNvGrpSpPr>
          <p:nvPr/>
        </p:nvGrpSpPr>
        <p:grpSpPr bwMode="auto">
          <a:xfrm>
            <a:off x="6723063" y="1946275"/>
            <a:ext cx="339725" cy="307975"/>
            <a:chOff x="1603" y="2418"/>
            <a:chExt cx="198" cy="194"/>
          </a:xfrm>
        </p:grpSpPr>
        <p:sp>
          <p:nvSpPr>
            <p:cNvPr id="8203" name="Freeform 14"/>
            <p:cNvSpPr>
              <a:spLocks/>
            </p:cNvSpPr>
            <p:nvPr/>
          </p:nvSpPr>
          <p:spPr bwMode="auto">
            <a:xfrm>
              <a:off x="1603" y="2418"/>
              <a:ext cx="108" cy="194"/>
            </a:xfrm>
            <a:custGeom>
              <a:avLst/>
              <a:gdLst>
                <a:gd name="T0" fmla="*/ 0 w 80"/>
                <a:gd name="T1" fmla="*/ 0 h 162"/>
                <a:gd name="T2" fmla="*/ 46368 w 80"/>
                <a:gd name="T3" fmla="*/ 0 h 162"/>
                <a:gd name="T4" fmla="*/ 145247 w 80"/>
                <a:gd name="T5" fmla="*/ 7239 h 162"/>
                <a:gd name="T6" fmla="*/ 48673 w 80"/>
                <a:gd name="T7" fmla="*/ 14666 h 162"/>
                <a:gd name="T8" fmla="*/ 0 w 80"/>
                <a:gd name="T9" fmla="*/ 14666 h 162"/>
                <a:gd name="T10" fmla="*/ 87934 w 80"/>
                <a:gd name="T11" fmla="*/ 7404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sp>
          <p:nvSpPr>
            <p:cNvPr id="8204" name="Freeform 15"/>
            <p:cNvSpPr>
              <a:spLocks/>
            </p:cNvSpPr>
            <p:nvPr/>
          </p:nvSpPr>
          <p:spPr bwMode="auto">
            <a:xfrm>
              <a:off x="1693" y="2418"/>
              <a:ext cx="108" cy="194"/>
            </a:xfrm>
            <a:custGeom>
              <a:avLst/>
              <a:gdLst>
                <a:gd name="T0" fmla="*/ 0 w 80"/>
                <a:gd name="T1" fmla="*/ 0 h 162"/>
                <a:gd name="T2" fmla="*/ 46368 w 80"/>
                <a:gd name="T3" fmla="*/ 0 h 162"/>
                <a:gd name="T4" fmla="*/ 145247 w 80"/>
                <a:gd name="T5" fmla="*/ 7239 h 162"/>
                <a:gd name="T6" fmla="*/ 48673 w 80"/>
                <a:gd name="T7" fmla="*/ 14666 h 162"/>
                <a:gd name="T8" fmla="*/ 0 w 80"/>
                <a:gd name="T9" fmla="*/ 14666 h 162"/>
                <a:gd name="T10" fmla="*/ 87934 w 80"/>
                <a:gd name="T11" fmla="*/ 7404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grpSp>
      <p:sp>
        <p:nvSpPr>
          <p:cNvPr id="8201" name="Rectangle 16"/>
          <p:cNvSpPr>
            <a:spLocks noChangeArrowheads="1"/>
          </p:cNvSpPr>
          <p:nvPr/>
        </p:nvSpPr>
        <p:spPr bwMode="auto">
          <a:xfrm>
            <a:off x="6723063" y="2379663"/>
            <a:ext cx="2803525" cy="143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400"/>
              <a:t>In the second half of the year the index portfolio will be dominated by british companies</a:t>
            </a:r>
          </a:p>
          <a:p>
            <a:pPr marL="190500" lvl="1" indent="-188913">
              <a:lnSpc>
                <a:spcPct val="95000"/>
              </a:lnSpc>
              <a:buClr>
                <a:schemeClr val="accent1"/>
              </a:buClr>
              <a:buFont typeface="Arial" charset="0"/>
              <a:buChar char="»"/>
            </a:pPr>
            <a:r>
              <a:rPr lang="en-US" sz="1400"/>
              <a:t>The country allocation in the first half of the year will be well diversified</a:t>
            </a:r>
          </a:p>
          <a:p>
            <a:pPr marL="190500" lvl="1" indent="-188913">
              <a:lnSpc>
                <a:spcPct val="95000"/>
              </a:lnSpc>
              <a:buClr>
                <a:schemeClr val="accent1"/>
              </a:buClr>
              <a:buFont typeface="Arial" charset="0"/>
              <a:buChar char="»"/>
            </a:pPr>
            <a:endParaRPr lang="en-US" sz="1400"/>
          </a:p>
        </p:txBody>
      </p:sp>
      <p:graphicFrame>
        <p:nvGraphicFramePr>
          <p:cNvPr id="2" name="Object 1"/>
          <p:cNvGraphicFramePr>
            <a:graphicFrameLocks noChangeAspect="1"/>
          </p:cNvGraphicFramePr>
          <p:nvPr>
            <p:extLst>
              <p:ext uri="{D42A27DB-BD31-4B8C-83A1-F6EECF244321}">
                <p14:modId xmlns:p14="http://schemas.microsoft.com/office/powerpoint/2010/main" xmlns="" val="1214929446"/>
              </p:ext>
            </p:extLst>
          </p:nvPr>
        </p:nvGraphicFramePr>
        <p:xfrm>
          <a:off x="244475" y="2254250"/>
          <a:ext cx="6265863" cy="387826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6"/>
          <p:cNvSpPr>
            <a:spLocks noGrp="1" noChangeArrowheads="1"/>
          </p:cNvSpPr>
          <p:nvPr>
            <p:ph type="sldNum" sz="quarter" idx="10"/>
          </p:nvPr>
        </p:nvSpPr>
        <p:spPr/>
        <p:txBody>
          <a:bodyPr/>
          <a:lstStyle/>
          <a:p>
            <a:pPr>
              <a:defRPr/>
            </a:pPr>
            <a:fld id="{C6589D95-FC0A-41DF-91D8-9A202B3AB78C}" type="slidenum">
              <a:rPr lang="en-US" smtClean="0"/>
              <a:pPr>
                <a:defRPr/>
              </a:pPr>
              <a:t>7</a:t>
            </a:fld>
            <a:endParaRPr lang="en-US" smtClean="0"/>
          </a:p>
        </p:txBody>
      </p:sp>
      <p:sp>
        <p:nvSpPr>
          <p:cNvPr id="9219" name="Rectangle 20"/>
          <p:cNvSpPr>
            <a:spLocks noChangeArrowheads="1"/>
          </p:cNvSpPr>
          <p:nvPr/>
        </p:nvSpPr>
        <p:spPr bwMode="auto">
          <a:xfrm>
            <a:off x="1770063" y="4011613"/>
            <a:ext cx="2559050" cy="1403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Based on 1 year dividend forecasts</a:t>
            </a:r>
          </a:p>
          <a:p>
            <a:pPr marL="190500" lvl="1" indent="-188913">
              <a:lnSpc>
                <a:spcPct val="95000"/>
              </a:lnSpc>
              <a:buClr>
                <a:schemeClr val="accent1"/>
              </a:buClr>
              <a:buFont typeface="Arial" charset="0"/>
              <a:buChar char="»"/>
            </a:pPr>
            <a:r>
              <a:rPr lang="en-US" sz="1200"/>
              <a:t>Semiannual review in March &amp; September</a:t>
            </a:r>
          </a:p>
          <a:p>
            <a:pPr marL="190500" lvl="1" indent="-188913">
              <a:lnSpc>
                <a:spcPct val="95000"/>
              </a:lnSpc>
              <a:buClr>
                <a:schemeClr val="accent1"/>
              </a:buClr>
              <a:buFont typeface="Arial" charset="0"/>
              <a:buChar char="»"/>
            </a:pPr>
            <a:r>
              <a:rPr lang="en-US" sz="1200"/>
              <a:t>Ranking, selection and weighting acc. to dividend yields</a:t>
            </a:r>
          </a:p>
          <a:p>
            <a:pPr marL="190500" lvl="1" indent="-188913">
              <a:lnSpc>
                <a:spcPct val="95000"/>
              </a:lnSpc>
              <a:buClr>
                <a:schemeClr val="accent1"/>
              </a:buClr>
              <a:buFont typeface="Arial" charset="0"/>
              <a:buChar char="»"/>
            </a:pPr>
            <a:r>
              <a:rPr lang="en-US" sz="1200"/>
              <a:t>Includes liquidity and Market Cap thresholds for index inclusion</a:t>
            </a:r>
          </a:p>
        </p:txBody>
      </p:sp>
      <p:sp>
        <p:nvSpPr>
          <p:cNvPr id="9220" name="Slide Number Placeholder 2"/>
          <p:cNvSpPr txBox="1">
            <a:spLocks noGrp="1"/>
          </p:cNvSpPr>
          <p:nvPr/>
        </p:nvSpPr>
        <p:spPr bwMode="auto">
          <a:xfrm>
            <a:off x="8642350" y="6508750"/>
            <a:ext cx="900113"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A5DE3D19-6F96-437C-880B-A924A3BF052A}" type="slidenum">
              <a:rPr lang="en-US" sz="1200"/>
              <a:pPr algn="r" eaLnBrk="1" hangingPunct="1"/>
              <a:t>7</a:t>
            </a:fld>
            <a:endParaRPr lang="en-US" sz="1200"/>
          </a:p>
        </p:txBody>
      </p:sp>
      <p:sp>
        <p:nvSpPr>
          <p:cNvPr id="9221" name="Rectangle 2"/>
          <p:cNvSpPr>
            <a:spLocks noGrp="1" noChangeArrowheads="1"/>
          </p:cNvSpPr>
          <p:nvPr>
            <p:ph type="title" idx="4294967295"/>
          </p:nvPr>
        </p:nvSpPr>
        <p:spPr/>
        <p:txBody>
          <a:bodyPr/>
          <a:lstStyle/>
          <a:p>
            <a:pPr eaLnBrk="1" hangingPunct="1"/>
            <a:r>
              <a:rPr lang="en-US" smtClean="0"/>
              <a:t>STOXX Europe Maximum Dividend 40 index follows a stand alone concept for the European market</a:t>
            </a:r>
          </a:p>
        </p:txBody>
      </p:sp>
      <p:sp>
        <p:nvSpPr>
          <p:cNvPr id="9222" name="Text Box 3"/>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Competitor Overview</a:t>
            </a:r>
          </a:p>
        </p:txBody>
      </p:sp>
      <p:sp>
        <p:nvSpPr>
          <p:cNvPr id="9223" name="Line 4"/>
          <p:cNvSpPr>
            <a:spLocks noChangeShapeType="1"/>
          </p:cNvSpPr>
          <p:nvPr/>
        </p:nvSpPr>
        <p:spPr bwMode="auto">
          <a:xfrm>
            <a:off x="366713" y="3954463"/>
            <a:ext cx="9158287" cy="0"/>
          </a:xfrm>
          <a:prstGeom prst="line">
            <a:avLst/>
          </a:prstGeom>
          <a:noFill/>
          <a:ln w="19050">
            <a:solidFill>
              <a:schemeClr val="hlink"/>
            </a:solidFill>
            <a:round/>
            <a:headEnd/>
            <a:tailEnd/>
          </a:ln>
          <a:extLst>
            <a:ext uri="{909E8E84-426E-40DD-AFC4-6F175D3DCCD1}">
              <a14:hiddenFill xmlns:a14="http://schemas.microsoft.com/office/drawing/2010/main" xmlns="">
                <a:noFill/>
              </a14:hiddenFill>
            </a:ext>
          </a:extLst>
        </p:spPr>
        <p:txBody>
          <a:bodyPr wrap="none" lIns="0" tIns="0" rIns="0" bIns="0">
            <a:spAutoFit/>
          </a:bodyPr>
          <a:lstStyle/>
          <a:p>
            <a:endParaRPr lang="en-GB"/>
          </a:p>
        </p:txBody>
      </p:sp>
      <p:sp>
        <p:nvSpPr>
          <p:cNvPr id="9224" name="Rectangle 2"/>
          <p:cNvSpPr>
            <a:spLocks noChangeArrowheads="1"/>
          </p:cNvSpPr>
          <p:nvPr/>
        </p:nvSpPr>
        <p:spPr bwMode="auto">
          <a:xfrm>
            <a:off x="366713" y="2365375"/>
            <a:ext cx="1230312" cy="684213"/>
          </a:xfrm>
          <a:prstGeom prst="rect">
            <a:avLst/>
          </a:prstGeom>
          <a:solidFill>
            <a:schemeClr val="accent2"/>
          </a:solidFill>
          <a:ln w="12700" algn="ctr">
            <a:solidFill>
              <a:srgbClr val="9AD8F3"/>
            </a:solidFill>
            <a:miter lim="800000"/>
            <a:headEnd/>
            <a:tailEnd/>
          </a:ln>
        </p:spPr>
        <p:txBody>
          <a:bodyPr lIns="90487" tIns="36000" rIns="0" bIns="0" anchor="ctr"/>
          <a:lstStyle/>
          <a:p>
            <a:r>
              <a:rPr lang="en-US" sz="1400" b="1"/>
              <a:t>Indices </a:t>
            </a:r>
          </a:p>
        </p:txBody>
      </p:sp>
      <p:sp>
        <p:nvSpPr>
          <p:cNvPr id="9225" name="Rectangle 2"/>
          <p:cNvSpPr>
            <a:spLocks noChangeArrowheads="1"/>
          </p:cNvSpPr>
          <p:nvPr/>
        </p:nvSpPr>
        <p:spPr bwMode="auto">
          <a:xfrm>
            <a:off x="366713" y="4011613"/>
            <a:ext cx="1230312" cy="1577975"/>
          </a:xfrm>
          <a:prstGeom prst="rect">
            <a:avLst/>
          </a:prstGeom>
          <a:solidFill>
            <a:schemeClr val="accent2"/>
          </a:solidFill>
          <a:ln w="12700" algn="ctr">
            <a:solidFill>
              <a:srgbClr val="9AD8F3"/>
            </a:solidFill>
            <a:miter lim="800000"/>
            <a:headEnd/>
            <a:tailEnd/>
          </a:ln>
        </p:spPr>
        <p:txBody>
          <a:bodyPr lIns="90487" tIns="36000" rIns="0" bIns="0" anchor="ctr"/>
          <a:lstStyle/>
          <a:p>
            <a:r>
              <a:rPr lang="en-US" sz="1400" b="1"/>
              <a:t>Index Concept</a:t>
            </a:r>
          </a:p>
        </p:txBody>
      </p:sp>
      <p:sp>
        <p:nvSpPr>
          <p:cNvPr id="9226" name="Rectangle 2"/>
          <p:cNvSpPr>
            <a:spLocks noChangeArrowheads="1"/>
          </p:cNvSpPr>
          <p:nvPr/>
        </p:nvSpPr>
        <p:spPr bwMode="auto">
          <a:xfrm>
            <a:off x="7137400" y="1836738"/>
            <a:ext cx="2389188" cy="439737"/>
          </a:xfrm>
          <a:prstGeom prst="rect">
            <a:avLst/>
          </a:prstGeom>
          <a:solidFill>
            <a:srgbClr val="F99E00"/>
          </a:solidFill>
          <a:ln>
            <a:noFill/>
          </a:ln>
          <a:extLst>
            <a:ext uri="{91240B29-F687-4F45-9708-019B960494DF}">
              <a14:hiddenLine xmlns:a14="http://schemas.microsoft.com/office/drawing/2010/main" xmlns="" w="12700" algn="ctr">
                <a:solidFill>
                  <a:srgbClr val="000000"/>
                </a:solidFill>
                <a:miter lim="800000"/>
                <a:headEnd/>
                <a:tailEnd/>
              </a14:hiddenLine>
            </a:ext>
          </a:extLst>
        </p:spPr>
        <p:txBody>
          <a:bodyPr lIns="90487" tIns="0" rIns="0" bIns="0" anchor="ctr"/>
          <a:lstStyle/>
          <a:p>
            <a:r>
              <a:rPr lang="en-US" sz="1400" b="1">
                <a:solidFill>
                  <a:schemeClr val="bg1"/>
                </a:solidFill>
              </a:rPr>
              <a:t>STOXX Europe Maximum Dividend 40</a:t>
            </a:r>
          </a:p>
        </p:txBody>
      </p:sp>
      <p:sp>
        <p:nvSpPr>
          <p:cNvPr id="9227" name="Rectangle 2"/>
          <p:cNvSpPr>
            <a:spLocks noChangeArrowheads="1"/>
          </p:cNvSpPr>
          <p:nvPr/>
        </p:nvSpPr>
        <p:spPr bwMode="auto">
          <a:xfrm>
            <a:off x="1773238" y="1836738"/>
            <a:ext cx="2559050" cy="439737"/>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400" b="1">
                <a:solidFill>
                  <a:schemeClr val="bg1"/>
                </a:solidFill>
              </a:rPr>
              <a:t>FTSE Dividend +</a:t>
            </a:r>
          </a:p>
        </p:txBody>
      </p:sp>
      <p:sp>
        <p:nvSpPr>
          <p:cNvPr id="9228" name="Rectangle 13"/>
          <p:cNvSpPr>
            <a:spLocks noChangeArrowheads="1"/>
          </p:cNvSpPr>
          <p:nvPr/>
        </p:nvSpPr>
        <p:spPr bwMode="auto">
          <a:xfrm>
            <a:off x="1770063" y="2374900"/>
            <a:ext cx="2559050" cy="527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FTSE UK Dividend+ (50)</a:t>
            </a:r>
          </a:p>
          <a:p>
            <a:pPr marL="190500" lvl="1" indent="-188913">
              <a:lnSpc>
                <a:spcPct val="95000"/>
              </a:lnSpc>
              <a:buClr>
                <a:schemeClr val="accent1"/>
              </a:buClr>
              <a:buFont typeface="Arial" charset="0"/>
              <a:buChar char="»"/>
            </a:pPr>
            <a:r>
              <a:rPr lang="en-US" sz="1200"/>
              <a:t>FTSE/JSE Dividend+</a:t>
            </a:r>
          </a:p>
          <a:p>
            <a:pPr marL="190500" lvl="1" indent="-188913">
              <a:lnSpc>
                <a:spcPct val="95000"/>
              </a:lnSpc>
              <a:buClr>
                <a:schemeClr val="accent1"/>
              </a:buClr>
              <a:buFont typeface="Arial" charset="0"/>
              <a:buChar char="»"/>
            </a:pPr>
            <a:r>
              <a:rPr lang="en-US" sz="1200"/>
              <a:t>FTSE/Taiwan Dividend+</a:t>
            </a:r>
          </a:p>
        </p:txBody>
      </p:sp>
      <p:sp>
        <p:nvSpPr>
          <p:cNvPr id="9229" name="Rectangle 2"/>
          <p:cNvSpPr>
            <a:spLocks noChangeArrowheads="1"/>
          </p:cNvSpPr>
          <p:nvPr/>
        </p:nvSpPr>
        <p:spPr bwMode="auto">
          <a:xfrm>
            <a:off x="4486275" y="1836738"/>
            <a:ext cx="2493963" cy="439737"/>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400" b="1">
                <a:solidFill>
                  <a:schemeClr val="bg1"/>
                </a:solidFill>
              </a:rPr>
              <a:t>Others</a:t>
            </a:r>
          </a:p>
        </p:txBody>
      </p:sp>
      <p:sp>
        <p:nvSpPr>
          <p:cNvPr id="9230" name="Rectangle 15"/>
          <p:cNvSpPr>
            <a:spLocks noChangeArrowheads="1"/>
          </p:cNvSpPr>
          <p:nvPr/>
        </p:nvSpPr>
        <p:spPr bwMode="auto">
          <a:xfrm>
            <a:off x="4484688" y="2374900"/>
            <a:ext cx="2493962" cy="877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MSCI High Dividend Yield</a:t>
            </a:r>
          </a:p>
          <a:p>
            <a:pPr marL="190500" lvl="1" indent="-188913">
              <a:lnSpc>
                <a:spcPct val="95000"/>
              </a:lnSpc>
              <a:buClr>
                <a:schemeClr val="accent1"/>
              </a:buClr>
              <a:buFont typeface="Arial" charset="0"/>
              <a:buChar char="»"/>
            </a:pPr>
            <a:r>
              <a:rPr lang="en-US" sz="1200"/>
              <a:t>S&amp;P 500 Dividend Aristocrats</a:t>
            </a:r>
          </a:p>
          <a:p>
            <a:pPr marL="190500" lvl="1" indent="-188913">
              <a:lnSpc>
                <a:spcPct val="95000"/>
              </a:lnSpc>
              <a:buClr>
                <a:schemeClr val="accent1"/>
              </a:buClr>
              <a:buFont typeface="Arial" charset="0"/>
              <a:buChar char="»"/>
            </a:pPr>
            <a:r>
              <a:rPr lang="en-US" sz="1200"/>
              <a:t>DJ Select Dividend</a:t>
            </a:r>
          </a:p>
          <a:p>
            <a:pPr marL="190500" lvl="1" indent="-188913">
              <a:lnSpc>
                <a:spcPct val="95000"/>
              </a:lnSpc>
              <a:buClr>
                <a:schemeClr val="accent1"/>
              </a:buClr>
              <a:buFont typeface="Arial" charset="0"/>
              <a:buChar char="»"/>
            </a:pPr>
            <a:r>
              <a:rPr lang="en-US" sz="1200"/>
              <a:t>FTSE High Dividend Yield</a:t>
            </a:r>
          </a:p>
          <a:p>
            <a:pPr marL="190500" lvl="1" indent="-188913">
              <a:lnSpc>
                <a:spcPct val="95000"/>
              </a:lnSpc>
              <a:buClr>
                <a:schemeClr val="accent1"/>
              </a:buClr>
              <a:buFont typeface="Arial" charset="0"/>
              <a:buChar char="»"/>
            </a:pPr>
            <a:endParaRPr lang="en-US" sz="1200"/>
          </a:p>
        </p:txBody>
      </p:sp>
      <p:sp>
        <p:nvSpPr>
          <p:cNvPr id="9231" name="Rectangle 18"/>
          <p:cNvSpPr>
            <a:spLocks noChangeArrowheads="1"/>
          </p:cNvSpPr>
          <p:nvPr/>
        </p:nvSpPr>
        <p:spPr bwMode="auto">
          <a:xfrm>
            <a:off x="7134225" y="2374900"/>
            <a:ext cx="2390775" cy="350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STOXX Europe Maximum Dividend 40 Index</a:t>
            </a:r>
          </a:p>
        </p:txBody>
      </p:sp>
      <p:sp>
        <p:nvSpPr>
          <p:cNvPr id="9232" name="Rectangle 20"/>
          <p:cNvSpPr>
            <a:spLocks noChangeArrowheads="1"/>
          </p:cNvSpPr>
          <p:nvPr/>
        </p:nvSpPr>
        <p:spPr bwMode="auto">
          <a:xfrm>
            <a:off x="4484688" y="4010025"/>
            <a:ext cx="2493962" cy="1228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Above mentioned concepts use historical dividend data rather than forecasts and are therefore not comparable to the concept at hand and are only listed here for the sake of completeness</a:t>
            </a:r>
          </a:p>
          <a:p>
            <a:pPr marL="190500" lvl="1" indent="-188913">
              <a:lnSpc>
                <a:spcPct val="95000"/>
              </a:lnSpc>
              <a:buClr>
                <a:schemeClr val="accent1"/>
              </a:buClr>
              <a:buFont typeface="Arial" charset="0"/>
              <a:buChar char="»"/>
            </a:pPr>
            <a:endParaRPr lang="en-US" sz="1200"/>
          </a:p>
        </p:txBody>
      </p:sp>
      <p:sp>
        <p:nvSpPr>
          <p:cNvPr id="9233" name="Rectangle 22"/>
          <p:cNvSpPr>
            <a:spLocks noChangeArrowheads="1"/>
          </p:cNvSpPr>
          <p:nvPr/>
        </p:nvSpPr>
        <p:spPr bwMode="auto">
          <a:xfrm>
            <a:off x="7134225" y="4010025"/>
            <a:ext cx="2390775" cy="1579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Based on 3-month dividend forecasts </a:t>
            </a:r>
          </a:p>
          <a:p>
            <a:pPr marL="190500" lvl="1" indent="-188913">
              <a:lnSpc>
                <a:spcPct val="95000"/>
              </a:lnSpc>
              <a:buClr>
                <a:schemeClr val="accent1"/>
              </a:buClr>
              <a:buFont typeface="Arial" charset="0"/>
              <a:buChar char="»"/>
            </a:pPr>
            <a:r>
              <a:rPr lang="en-US" sz="1200"/>
              <a:t>quarterly review in March, June, Sept. &amp; Dec.</a:t>
            </a:r>
          </a:p>
          <a:p>
            <a:pPr marL="190500" lvl="1" indent="-188913">
              <a:lnSpc>
                <a:spcPct val="95000"/>
              </a:lnSpc>
              <a:buClr>
                <a:schemeClr val="accent1"/>
              </a:buClr>
              <a:buFont typeface="Arial" charset="0"/>
              <a:buChar char="»"/>
            </a:pPr>
            <a:r>
              <a:rPr lang="en-US" sz="1200"/>
              <a:t>Ranking, selection and weighting acc. to liquidity adjusted dividend yields</a:t>
            </a:r>
          </a:p>
          <a:p>
            <a:pPr marL="190500" lvl="1" indent="-188913">
              <a:lnSpc>
                <a:spcPct val="95000"/>
              </a:lnSpc>
              <a:buClr>
                <a:schemeClr val="accent1"/>
              </a:buClr>
              <a:buFont typeface="Arial" charset="0"/>
              <a:buChar char="»"/>
            </a:pPr>
            <a:r>
              <a:rPr lang="en-US" sz="1200"/>
              <a:t>Includes liquidity and MCap screening </a:t>
            </a:r>
          </a:p>
        </p:txBody>
      </p:sp>
      <p:sp>
        <p:nvSpPr>
          <p:cNvPr id="9234" name="Rectangle 14"/>
          <p:cNvSpPr>
            <a:spLocks noChangeArrowheads="1"/>
          </p:cNvSpPr>
          <p:nvPr/>
        </p:nvSpPr>
        <p:spPr bwMode="auto">
          <a:xfrm>
            <a:off x="366713" y="5732463"/>
            <a:ext cx="9158287" cy="539750"/>
          </a:xfrm>
          <a:prstGeom prst="rect">
            <a:avLst/>
          </a:prstGeom>
          <a:solidFill>
            <a:srgbClr val="D9D9D9"/>
          </a:solidFill>
          <a:ln w="9525" algn="ctr">
            <a:solidFill>
              <a:srgbClr val="D9D9D9"/>
            </a:solidFill>
            <a:round/>
            <a:headEnd/>
            <a:tailEnd/>
          </a:ln>
        </p:spPr>
        <p:txBody>
          <a:bodyPr wrap="none" lIns="0" tIns="0" rIns="0" bIns="0" anchor="ctr"/>
          <a:lstStyle/>
          <a:p>
            <a:pPr algn="ctr"/>
            <a:endParaRPr lang="en-US"/>
          </a:p>
        </p:txBody>
      </p:sp>
      <p:grpSp>
        <p:nvGrpSpPr>
          <p:cNvPr id="9235" name="Group 9"/>
          <p:cNvGrpSpPr>
            <a:grpSpLocks/>
          </p:cNvGrpSpPr>
          <p:nvPr/>
        </p:nvGrpSpPr>
        <p:grpSpPr bwMode="auto">
          <a:xfrm>
            <a:off x="385763" y="5800725"/>
            <a:ext cx="352425" cy="307975"/>
            <a:chOff x="1603" y="2418"/>
            <a:chExt cx="198" cy="194"/>
          </a:xfrm>
        </p:grpSpPr>
        <p:sp>
          <p:nvSpPr>
            <p:cNvPr id="9242" name="Freeform 10"/>
            <p:cNvSpPr>
              <a:spLocks/>
            </p:cNvSpPr>
            <p:nvPr/>
          </p:nvSpPr>
          <p:spPr bwMode="auto">
            <a:xfrm>
              <a:off x="1603" y="2418"/>
              <a:ext cx="108" cy="194"/>
            </a:xfrm>
            <a:custGeom>
              <a:avLst/>
              <a:gdLst>
                <a:gd name="T0" fmla="*/ 0 w 80"/>
                <a:gd name="T1" fmla="*/ 0 h 162"/>
                <a:gd name="T2" fmla="*/ 280687 w 80"/>
                <a:gd name="T3" fmla="*/ 0 h 162"/>
                <a:gd name="T4" fmla="*/ 879240 w 80"/>
                <a:gd name="T5" fmla="*/ 21351 h 162"/>
                <a:gd name="T6" fmla="*/ 294640 w 80"/>
                <a:gd name="T7" fmla="*/ 43254 h 162"/>
                <a:gd name="T8" fmla="*/ 0 w 80"/>
                <a:gd name="T9" fmla="*/ 43254 h 162"/>
                <a:gd name="T10" fmla="*/ 532305 w 80"/>
                <a:gd name="T11" fmla="*/ 21839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sp>
          <p:nvSpPr>
            <p:cNvPr id="9243" name="Freeform 11"/>
            <p:cNvSpPr>
              <a:spLocks/>
            </p:cNvSpPr>
            <p:nvPr/>
          </p:nvSpPr>
          <p:spPr bwMode="auto">
            <a:xfrm>
              <a:off x="1693" y="2418"/>
              <a:ext cx="108" cy="194"/>
            </a:xfrm>
            <a:custGeom>
              <a:avLst/>
              <a:gdLst>
                <a:gd name="T0" fmla="*/ 0 w 80"/>
                <a:gd name="T1" fmla="*/ 0 h 162"/>
                <a:gd name="T2" fmla="*/ 280687 w 80"/>
                <a:gd name="T3" fmla="*/ 0 h 162"/>
                <a:gd name="T4" fmla="*/ 879240 w 80"/>
                <a:gd name="T5" fmla="*/ 21351 h 162"/>
                <a:gd name="T6" fmla="*/ 294640 w 80"/>
                <a:gd name="T7" fmla="*/ 43254 h 162"/>
                <a:gd name="T8" fmla="*/ 0 w 80"/>
                <a:gd name="T9" fmla="*/ 43254 h 162"/>
                <a:gd name="T10" fmla="*/ 532305 w 80"/>
                <a:gd name="T11" fmla="*/ 21839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grpSp>
      <p:sp>
        <p:nvSpPr>
          <p:cNvPr id="9236" name="Rectangle 12"/>
          <p:cNvSpPr>
            <a:spLocks noChangeArrowheads="1"/>
          </p:cNvSpPr>
          <p:nvPr/>
        </p:nvSpPr>
        <p:spPr bwMode="auto">
          <a:xfrm>
            <a:off x="895350" y="5810250"/>
            <a:ext cx="850265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nSpc>
                <a:spcPct val="95000"/>
              </a:lnSpc>
              <a:buClr>
                <a:schemeClr val="accent1"/>
              </a:buClr>
              <a:buFont typeface="Arial" charset="0"/>
              <a:buNone/>
            </a:pPr>
            <a:r>
              <a:rPr lang="en-US" sz="1400" b="1"/>
              <a:t>Competitor overview shows that no similar concept to the STOXX Europe Maximum Dividend 40 one exists so far on the European market</a:t>
            </a:r>
            <a:endParaRPr lang="en-US" sz="1400" b="1">
              <a:solidFill>
                <a:schemeClr val="bg2"/>
              </a:solidFill>
            </a:endParaRPr>
          </a:p>
        </p:txBody>
      </p:sp>
      <p:sp>
        <p:nvSpPr>
          <p:cNvPr id="9237" name="Line 4"/>
          <p:cNvSpPr>
            <a:spLocks noChangeShapeType="1"/>
          </p:cNvSpPr>
          <p:nvPr/>
        </p:nvSpPr>
        <p:spPr bwMode="auto">
          <a:xfrm>
            <a:off x="350838" y="3108325"/>
            <a:ext cx="9158287" cy="0"/>
          </a:xfrm>
          <a:prstGeom prst="line">
            <a:avLst/>
          </a:prstGeom>
          <a:noFill/>
          <a:ln w="19050">
            <a:solidFill>
              <a:schemeClr val="hlink"/>
            </a:solidFill>
            <a:round/>
            <a:headEnd/>
            <a:tailEnd/>
          </a:ln>
          <a:extLst>
            <a:ext uri="{909E8E84-426E-40DD-AFC4-6F175D3DCCD1}">
              <a14:hiddenFill xmlns:a14="http://schemas.microsoft.com/office/drawing/2010/main" xmlns="">
                <a:noFill/>
              </a14:hiddenFill>
            </a:ext>
          </a:extLst>
        </p:spPr>
        <p:txBody>
          <a:bodyPr wrap="none" lIns="0" tIns="0" rIns="0" bIns="0">
            <a:spAutoFit/>
          </a:bodyPr>
          <a:lstStyle/>
          <a:p>
            <a:endParaRPr lang="en-GB"/>
          </a:p>
        </p:txBody>
      </p:sp>
      <p:sp>
        <p:nvSpPr>
          <p:cNvPr id="9238" name="Rectangle 2"/>
          <p:cNvSpPr>
            <a:spLocks noChangeArrowheads="1"/>
          </p:cNvSpPr>
          <p:nvPr/>
        </p:nvSpPr>
        <p:spPr bwMode="auto">
          <a:xfrm>
            <a:off x="350838" y="3170238"/>
            <a:ext cx="1231900" cy="711200"/>
          </a:xfrm>
          <a:prstGeom prst="rect">
            <a:avLst/>
          </a:prstGeom>
          <a:solidFill>
            <a:schemeClr val="accent2"/>
          </a:solidFill>
          <a:ln w="12700" algn="ctr">
            <a:solidFill>
              <a:srgbClr val="9AD8F3"/>
            </a:solidFill>
            <a:miter lim="800000"/>
            <a:headEnd/>
            <a:tailEnd/>
          </a:ln>
        </p:spPr>
        <p:txBody>
          <a:bodyPr lIns="90487" tIns="36000" rIns="0" bIns="0" anchor="ctr"/>
          <a:lstStyle/>
          <a:p>
            <a:r>
              <a:rPr lang="en-US" sz="1400" b="1"/>
              <a:t>Universe</a:t>
            </a:r>
          </a:p>
        </p:txBody>
      </p:sp>
      <p:sp>
        <p:nvSpPr>
          <p:cNvPr id="9239" name="Rectangle 13"/>
          <p:cNvSpPr>
            <a:spLocks noChangeArrowheads="1"/>
          </p:cNvSpPr>
          <p:nvPr/>
        </p:nvSpPr>
        <p:spPr bwMode="auto">
          <a:xfrm>
            <a:off x="1776413" y="3179763"/>
            <a:ext cx="2559050"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FTSE UK 350</a:t>
            </a:r>
          </a:p>
          <a:p>
            <a:pPr marL="190500" lvl="1" indent="-188913">
              <a:lnSpc>
                <a:spcPct val="95000"/>
              </a:lnSpc>
              <a:buClr>
                <a:schemeClr val="accent1"/>
              </a:buClr>
              <a:buFont typeface="Arial" charset="0"/>
              <a:buChar char="»"/>
            </a:pPr>
            <a:r>
              <a:rPr lang="en-US" sz="1200"/>
              <a:t>FTSE/JSE All Share</a:t>
            </a:r>
          </a:p>
          <a:p>
            <a:pPr marL="190500" lvl="1" indent="-188913">
              <a:lnSpc>
                <a:spcPct val="95000"/>
              </a:lnSpc>
              <a:buClr>
                <a:schemeClr val="accent1"/>
              </a:buClr>
              <a:buFont typeface="Arial" charset="0"/>
              <a:buChar char="»"/>
            </a:pPr>
            <a:r>
              <a:rPr lang="en-US" sz="1200"/>
              <a:t>FTSE TWSE Taiwan 50, FTSE TWSE Taiwan Mid-Cap 100</a:t>
            </a:r>
          </a:p>
        </p:txBody>
      </p:sp>
      <p:sp>
        <p:nvSpPr>
          <p:cNvPr id="9240" name="Rectangle 15"/>
          <p:cNvSpPr>
            <a:spLocks noChangeArrowheads="1"/>
          </p:cNvSpPr>
          <p:nvPr/>
        </p:nvSpPr>
        <p:spPr bwMode="auto">
          <a:xfrm>
            <a:off x="4491038" y="3179763"/>
            <a:ext cx="2492375"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Respective equity indices offered by index provider</a:t>
            </a:r>
          </a:p>
        </p:txBody>
      </p:sp>
      <p:sp>
        <p:nvSpPr>
          <p:cNvPr id="9241" name="Rectangle 18"/>
          <p:cNvSpPr>
            <a:spLocks noChangeArrowheads="1"/>
          </p:cNvSpPr>
          <p:nvPr/>
        </p:nvSpPr>
        <p:spPr bwMode="auto">
          <a:xfrm>
            <a:off x="7140575" y="3179763"/>
            <a:ext cx="2389188" cy="176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buClr>
                <a:schemeClr val="accent1"/>
              </a:buClr>
              <a:buFont typeface="Arial" charset="0"/>
              <a:buChar char="»"/>
            </a:pPr>
            <a:r>
              <a:rPr lang="en-US" sz="1200"/>
              <a:t>STOXX Europe 600 Index</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9"/>
          <p:cNvSpPr>
            <a:spLocks noGrp="1" noChangeArrowheads="1"/>
          </p:cNvSpPr>
          <p:nvPr>
            <p:ph type="sldNum" sz="quarter" idx="10"/>
          </p:nvPr>
        </p:nvSpPr>
        <p:spPr/>
        <p:txBody>
          <a:bodyPr/>
          <a:lstStyle/>
          <a:p>
            <a:pPr>
              <a:defRPr/>
            </a:pPr>
            <a:fld id="{75B57B6C-CC9C-4A71-9036-BA772A551FA3}" type="slidenum">
              <a:rPr lang="de-DE" smtClean="0"/>
              <a:pPr>
                <a:defRPr/>
              </a:pPr>
              <a:t>8</a:t>
            </a:fld>
            <a:endParaRPr lang="de-DE" smtClean="0"/>
          </a:p>
        </p:txBody>
      </p:sp>
      <p:sp>
        <p:nvSpPr>
          <p:cNvPr id="10243" name="Rectangle 6"/>
          <p:cNvSpPr>
            <a:spLocks noGrp="1" noChangeArrowheads="1"/>
          </p:cNvSpPr>
          <p:nvPr>
            <p:ph type="ctrTitle"/>
          </p:nvPr>
        </p:nvSpPr>
        <p:spPr>
          <a:xfrm>
            <a:off x="368300" y="298450"/>
            <a:ext cx="9158288" cy="1052513"/>
          </a:xfrm>
        </p:spPr>
        <p:txBody>
          <a:bodyPr/>
          <a:lstStyle/>
          <a:p>
            <a:pPr eaLnBrk="1" hangingPunct="1"/>
            <a:r>
              <a:rPr lang="de-DE" sz="2400" b="1" smtClean="0"/>
              <a:t>STOXX Europe Maximum Dividend 40 Index</a:t>
            </a:r>
            <a:r>
              <a:rPr lang="de-DE" smtClean="0"/>
              <a:t/>
            </a:r>
            <a:br>
              <a:rPr lang="de-DE" smtClean="0"/>
            </a:br>
            <a:r>
              <a:rPr lang="de-DE" smtClean="0">
                <a:solidFill>
                  <a:srgbClr val="B8D266"/>
                </a:solidFill>
              </a:rPr>
              <a:t>2. Methodolog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2"/>
          <p:cNvSpPr txBox="1">
            <a:spLocks noGrp="1"/>
          </p:cNvSpPr>
          <p:nvPr/>
        </p:nvSpPr>
        <p:spPr bwMode="auto">
          <a:xfrm>
            <a:off x="8642350" y="6508750"/>
            <a:ext cx="900113"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4C20FD9A-170B-405F-9154-08E1ECC6D766}" type="slidenum">
              <a:rPr lang="en-US" sz="1200"/>
              <a:pPr algn="r" eaLnBrk="1" hangingPunct="1"/>
              <a:t>9</a:t>
            </a:fld>
            <a:endParaRPr lang="en-US" sz="1200"/>
          </a:p>
        </p:txBody>
      </p:sp>
      <p:sp>
        <p:nvSpPr>
          <p:cNvPr id="11267" name="Rectangle 2"/>
          <p:cNvSpPr>
            <a:spLocks noGrp="1" noChangeArrowheads="1"/>
          </p:cNvSpPr>
          <p:nvPr>
            <p:ph type="title" idx="4294967295"/>
          </p:nvPr>
        </p:nvSpPr>
        <p:spPr/>
        <p:txBody>
          <a:bodyPr/>
          <a:lstStyle/>
          <a:p>
            <a:pPr eaLnBrk="1" hangingPunct="1"/>
            <a:r>
              <a:rPr lang="en-US" smtClean="0"/>
              <a:t>STOXX Europe Maximum Dividend 40 index aims to maximize the dividend yield of the index portfolio</a:t>
            </a:r>
          </a:p>
        </p:txBody>
      </p:sp>
      <p:sp>
        <p:nvSpPr>
          <p:cNvPr id="11268" name="Rectangle 3"/>
          <p:cNvSpPr>
            <a:spLocks noChangeArrowheads="1"/>
          </p:cNvSpPr>
          <p:nvPr/>
        </p:nvSpPr>
        <p:spPr bwMode="auto">
          <a:xfrm>
            <a:off x="368300" y="2217738"/>
            <a:ext cx="2881313" cy="2646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spcBef>
                <a:spcPct val="15000"/>
              </a:spcBef>
              <a:buClr>
                <a:schemeClr val="accent1"/>
              </a:buClr>
              <a:buFont typeface="Arial" charset="0"/>
              <a:buChar char="»"/>
            </a:pPr>
            <a:r>
              <a:rPr lang="en-US" sz="1600"/>
              <a:t>STOXX Europe 600 index</a:t>
            </a:r>
          </a:p>
          <a:p>
            <a:pPr marL="190500" lvl="1" indent="-188913">
              <a:lnSpc>
                <a:spcPct val="95000"/>
              </a:lnSpc>
              <a:spcBef>
                <a:spcPct val="15000"/>
              </a:spcBef>
              <a:buClr>
                <a:schemeClr val="accent1"/>
              </a:buClr>
              <a:buFont typeface="Arial" charset="0"/>
              <a:buChar char="»"/>
            </a:pPr>
            <a:r>
              <a:rPr lang="en-US" sz="1600"/>
              <a:t>All companies are ranked according to their liquidity adjusted expected dividend yield</a:t>
            </a:r>
            <a:r>
              <a:rPr lang="en-US" sz="1600" baseline="30000"/>
              <a:t>1)</a:t>
            </a:r>
          </a:p>
          <a:p>
            <a:pPr marL="190500" lvl="1" indent="-188913">
              <a:lnSpc>
                <a:spcPct val="95000"/>
              </a:lnSpc>
              <a:spcBef>
                <a:spcPct val="15000"/>
              </a:spcBef>
              <a:buClr>
                <a:schemeClr val="accent1"/>
              </a:buClr>
              <a:buFont typeface="Arial" charset="0"/>
              <a:buChar char="»"/>
            </a:pPr>
            <a:r>
              <a:rPr lang="en-US" sz="1600"/>
              <a:t>The liquidity adjustment considers the ratio of dividend yield and equity turnover in order to select high dividend yielding companies with high liquidity </a:t>
            </a:r>
          </a:p>
        </p:txBody>
      </p:sp>
      <p:sp>
        <p:nvSpPr>
          <p:cNvPr id="11269" name="Rectangle 2"/>
          <p:cNvSpPr>
            <a:spLocks noChangeArrowheads="1"/>
          </p:cNvSpPr>
          <p:nvPr/>
        </p:nvSpPr>
        <p:spPr bwMode="auto">
          <a:xfrm>
            <a:off x="368300" y="1836738"/>
            <a:ext cx="288131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600" b="1">
                <a:solidFill>
                  <a:schemeClr val="bg1"/>
                </a:solidFill>
              </a:rPr>
              <a:t>Universe/ Ranking</a:t>
            </a:r>
          </a:p>
        </p:txBody>
      </p:sp>
      <p:sp>
        <p:nvSpPr>
          <p:cNvPr id="11270" name="Rectangle 5"/>
          <p:cNvSpPr>
            <a:spLocks noChangeArrowheads="1"/>
          </p:cNvSpPr>
          <p:nvPr/>
        </p:nvSpPr>
        <p:spPr bwMode="auto">
          <a:xfrm>
            <a:off x="3505200" y="2217738"/>
            <a:ext cx="2881313" cy="221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190500" lvl="1" indent="-188913">
              <a:lnSpc>
                <a:spcPct val="95000"/>
              </a:lnSpc>
              <a:spcBef>
                <a:spcPct val="15000"/>
              </a:spcBef>
              <a:buClr>
                <a:schemeClr val="accent1"/>
              </a:buClr>
              <a:buFont typeface="Arial" charset="0"/>
              <a:buChar char="»"/>
            </a:pPr>
            <a:r>
              <a:rPr lang="en-US" sz="1600"/>
              <a:t>40 companies with the highest expected dividend yield within upcoming quarter are selected</a:t>
            </a:r>
          </a:p>
          <a:p>
            <a:pPr marL="190500" lvl="1" indent="-188913">
              <a:lnSpc>
                <a:spcPct val="95000"/>
              </a:lnSpc>
              <a:spcBef>
                <a:spcPct val="15000"/>
              </a:spcBef>
              <a:buClr>
                <a:schemeClr val="accent1"/>
              </a:buClr>
              <a:buFont typeface="Arial" charset="0"/>
              <a:buChar char="»"/>
            </a:pPr>
            <a:r>
              <a:rPr lang="en-US" sz="1600"/>
              <a:t>Market Cap &gt; 1bn EUR</a:t>
            </a:r>
          </a:p>
          <a:p>
            <a:pPr marL="190500" lvl="1" indent="-188913">
              <a:lnSpc>
                <a:spcPct val="95000"/>
              </a:lnSpc>
              <a:spcBef>
                <a:spcPct val="15000"/>
              </a:spcBef>
              <a:buClr>
                <a:schemeClr val="accent1"/>
              </a:buClr>
              <a:buFont typeface="Arial" charset="0"/>
              <a:buChar char="»"/>
            </a:pPr>
            <a:r>
              <a:rPr lang="en-US" sz="1600"/>
              <a:t>ADTV (3-month) &gt; 4mn EUR</a:t>
            </a:r>
          </a:p>
          <a:p>
            <a:pPr marL="190500" lvl="1" indent="-188913">
              <a:lnSpc>
                <a:spcPct val="95000"/>
              </a:lnSpc>
              <a:spcBef>
                <a:spcPct val="15000"/>
              </a:spcBef>
              <a:buClr>
                <a:schemeClr val="accent1"/>
              </a:buClr>
              <a:buFont typeface="Arial" charset="0"/>
              <a:buChar char="»"/>
            </a:pPr>
            <a:r>
              <a:rPr lang="en-US" sz="1600"/>
              <a:t>Index is reviewed quarterly in March, June, September and December</a:t>
            </a:r>
          </a:p>
        </p:txBody>
      </p:sp>
      <p:sp>
        <p:nvSpPr>
          <p:cNvPr id="11271" name="Rectangle 2"/>
          <p:cNvSpPr>
            <a:spLocks noChangeArrowheads="1"/>
          </p:cNvSpPr>
          <p:nvPr/>
        </p:nvSpPr>
        <p:spPr bwMode="auto">
          <a:xfrm>
            <a:off x="3505200" y="1836738"/>
            <a:ext cx="2881313"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600" b="1">
                <a:solidFill>
                  <a:schemeClr val="bg1"/>
                </a:solidFill>
              </a:rPr>
              <a:t>Selection</a:t>
            </a:r>
          </a:p>
        </p:txBody>
      </p:sp>
      <p:sp>
        <p:nvSpPr>
          <p:cNvPr id="11272" name="Rectangle 7"/>
          <p:cNvSpPr>
            <a:spLocks noChangeArrowheads="1"/>
          </p:cNvSpPr>
          <p:nvPr/>
        </p:nvSpPr>
        <p:spPr bwMode="auto">
          <a:xfrm>
            <a:off x="6643688" y="2217738"/>
            <a:ext cx="2882900" cy="241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p>
            <a:pPr marL="190500" lvl="1" indent="-188913">
              <a:lnSpc>
                <a:spcPct val="95000"/>
              </a:lnSpc>
              <a:spcBef>
                <a:spcPct val="15000"/>
              </a:spcBef>
              <a:buClr>
                <a:schemeClr val="accent1"/>
              </a:buClr>
              <a:buFont typeface="Arial" charset="0"/>
              <a:buChar char="»"/>
            </a:pPr>
            <a:r>
              <a:rPr lang="en-US" sz="1600"/>
              <a:t>Constituents are weighted according to expected dividend yield</a:t>
            </a:r>
          </a:p>
          <a:p>
            <a:pPr marL="190500" lvl="1" indent="-188913">
              <a:lnSpc>
                <a:spcPct val="95000"/>
              </a:lnSpc>
              <a:spcBef>
                <a:spcPct val="15000"/>
              </a:spcBef>
              <a:buClr>
                <a:schemeClr val="accent1"/>
              </a:buClr>
              <a:buFont typeface="Arial" charset="0"/>
              <a:buChar char="»"/>
            </a:pPr>
            <a:r>
              <a:rPr lang="en-US" sz="1600"/>
              <a:t>Maximum weight of 10% per constituent</a:t>
            </a:r>
          </a:p>
          <a:p>
            <a:pPr marL="190500" lvl="1" indent="-188913">
              <a:lnSpc>
                <a:spcPct val="95000"/>
              </a:lnSpc>
              <a:spcBef>
                <a:spcPct val="15000"/>
              </a:spcBef>
              <a:buClr>
                <a:schemeClr val="accent1"/>
              </a:buClr>
              <a:buFont typeface="Arial" charset="0"/>
              <a:buChar char="»"/>
            </a:pPr>
            <a:r>
              <a:rPr lang="en-US" sz="1600"/>
              <a:t>The index calculation is based on closing prices and dividend forecasts as of last trading day in January, April, July and October</a:t>
            </a:r>
          </a:p>
        </p:txBody>
      </p:sp>
      <p:sp>
        <p:nvSpPr>
          <p:cNvPr id="11273" name="Rectangle 2"/>
          <p:cNvSpPr>
            <a:spLocks noChangeArrowheads="1"/>
          </p:cNvSpPr>
          <p:nvPr/>
        </p:nvSpPr>
        <p:spPr bwMode="auto">
          <a:xfrm>
            <a:off x="6643688" y="1836738"/>
            <a:ext cx="2882900" cy="284162"/>
          </a:xfrm>
          <a:prstGeom prst="rect">
            <a:avLst/>
          </a:prstGeom>
          <a:solidFill>
            <a:schemeClr val="accent1"/>
          </a:solidFill>
          <a:ln w="12700" algn="ctr">
            <a:solidFill>
              <a:schemeClr val="accent1"/>
            </a:solidFill>
            <a:miter lim="800000"/>
            <a:headEnd/>
            <a:tailEnd/>
          </a:ln>
        </p:spPr>
        <p:txBody>
          <a:bodyPr lIns="90487" tIns="0" rIns="0" bIns="0" anchor="ctr"/>
          <a:lstStyle/>
          <a:p>
            <a:r>
              <a:rPr lang="en-US" sz="1600" b="1">
                <a:solidFill>
                  <a:schemeClr val="bg1"/>
                </a:solidFill>
              </a:rPr>
              <a:t>Calculation</a:t>
            </a:r>
          </a:p>
        </p:txBody>
      </p:sp>
      <p:sp>
        <p:nvSpPr>
          <p:cNvPr id="11274" name="Text Box 9"/>
          <p:cNvSpPr txBox="1">
            <a:spLocks noChangeArrowheads="1"/>
          </p:cNvSpPr>
          <p:nvPr/>
        </p:nvSpPr>
        <p:spPr bwMode="auto">
          <a:xfrm>
            <a:off x="368300" y="1293813"/>
            <a:ext cx="91614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Index methodology overview</a:t>
            </a:r>
          </a:p>
        </p:txBody>
      </p:sp>
      <p:sp>
        <p:nvSpPr>
          <p:cNvPr id="11275" name="Rectangle 10"/>
          <p:cNvSpPr>
            <a:spLocks noChangeArrowheads="1"/>
          </p:cNvSpPr>
          <p:nvPr/>
        </p:nvSpPr>
        <p:spPr bwMode="auto">
          <a:xfrm>
            <a:off x="508000" y="5372100"/>
            <a:ext cx="8890000" cy="720725"/>
          </a:xfrm>
          <a:prstGeom prst="rect">
            <a:avLst/>
          </a:prstGeom>
          <a:solidFill>
            <a:schemeClr val="folHlink"/>
          </a:solidFill>
          <a:ln w="9525" algn="ctr">
            <a:solidFill>
              <a:schemeClr val="folHlink"/>
            </a:solidFill>
            <a:miter lim="800000"/>
            <a:headEnd/>
            <a:tailEnd/>
          </a:ln>
        </p:spPr>
        <p:txBody>
          <a:bodyPr lIns="0" tIns="0" rIns="0" bIns="0" anchor="ctr"/>
          <a:lstStyle/>
          <a:p>
            <a:pPr algn="ctr"/>
            <a:endParaRPr lang="en-US" sz="1600" b="1"/>
          </a:p>
        </p:txBody>
      </p:sp>
      <p:grpSp>
        <p:nvGrpSpPr>
          <p:cNvPr id="11276" name="Group 11"/>
          <p:cNvGrpSpPr>
            <a:grpSpLocks/>
          </p:cNvGrpSpPr>
          <p:nvPr/>
        </p:nvGrpSpPr>
        <p:grpSpPr bwMode="auto">
          <a:xfrm>
            <a:off x="588963" y="5494338"/>
            <a:ext cx="339725" cy="307975"/>
            <a:chOff x="1603" y="2418"/>
            <a:chExt cx="198" cy="194"/>
          </a:xfrm>
        </p:grpSpPr>
        <p:sp>
          <p:nvSpPr>
            <p:cNvPr id="11280" name="Freeform 12"/>
            <p:cNvSpPr>
              <a:spLocks/>
            </p:cNvSpPr>
            <p:nvPr/>
          </p:nvSpPr>
          <p:spPr bwMode="auto">
            <a:xfrm>
              <a:off x="1603" y="2418"/>
              <a:ext cx="108" cy="194"/>
            </a:xfrm>
            <a:custGeom>
              <a:avLst/>
              <a:gdLst>
                <a:gd name="T0" fmla="*/ 0 w 80"/>
                <a:gd name="T1" fmla="*/ 0 h 162"/>
                <a:gd name="T2" fmla="*/ 25442 w 80"/>
                <a:gd name="T3" fmla="*/ 0 h 162"/>
                <a:gd name="T4" fmla="*/ 79696 w 80"/>
                <a:gd name="T5" fmla="*/ 5048 h 162"/>
                <a:gd name="T6" fmla="*/ 26707 w 80"/>
                <a:gd name="T7" fmla="*/ 10227 h 162"/>
                <a:gd name="T8" fmla="*/ 0 w 80"/>
                <a:gd name="T9" fmla="*/ 10227 h 162"/>
                <a:gd name="T10" fmla="*/ 48245 w 80"/>
                <a:gd name="T11" fmla="*/ 5163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sp>
          <p:nvSpPr>
            <p:cNvPr id="11281" name="Freeform 13"/>
            <p:cNvSpPr>
              <a:spLocks/>
            </p:cNvSpPr>
            <p:nvPr/>
          </p:nvSpPr>
          <p:spPr bwMode="auto">
            <a:xfrm>
              <a:off x="1693" y="2418"/>
              <a:ext cx="108" cy="194"/>
            </a:xfrm>
            <a:custGeom>
              <a:avLst/>
              <a:gdLst>
                <a:gd name="T0" fmla="*/ 0 w 80"/>
                <a:gd name="T1" fmla="*/ 0 h 162"/>
                <a:gd name="T2" fmla="*/ 25442 w 80"/>
                <a:gd name="T3" fmla="*/ 0 h 162"/>
                <a:gd name="T4" fmla="*/ 79696 w 80"/>
                <a:gd name="T5" fmla="*/ 5048 h 162"/>
                <a:gd name="T6" fmla="*/ 26707 w 80"/>
                <a:gd name="T7" fmla="*/ 10227 h 162"/>
                <a:gd name="T8" fmla="*/ 0 w 80"/>
                <a:gd name="T9" fmla="*/ 10227 h 162"/>
                <a:gd name="T10" fmla="*/ 48245 w 80"/>
                <a:gd name="T11" fmla="*/ 5163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GB"/>
            </a:p>
          </p:txBody>
        </p:sp>
      </p:grpSp>
      <p:sp>
        <p:nvSpPr>
          <p:cNvPr id="11277" name="Rectangle 14"/>
          <p:cNvSpPr>
            <a:spLocks noChangeArrowheads="1"/>
          </p:cNvSpPr>
          <p:nvPr/>
        </p:nvSpPr>
        <p:spPr bwMode="auto">
          <a:xfrm>
            <a:off x="1116013" y="5494338"/>
            <a:ext cx="7970837" cy="468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nSpc>
                <a:spcPct val="95000"/>
              </a:lnSpc>
              <a:buClr>
                <a:schemeClr val="accent1"/>
              </a:buClr>
              <a:buFont typeface="Arial" charset="0"/>
              <a:buNone/>
            </a:pPr>
            <a:r>
              <a:rPr lang="en-US" sz="1600" b="1"/>
              <a:t>Constituents are shifted on a quarterly basis in order to always select the top dividend yielding companies</a:t>
            </a:r>
          </a:p>
        </p:txBody>
      </p:sp>
      <p:sp>
        <p:nvSpPr>
          <p:cNvPr id="11278" name="Text Box 150"/>
          <p:cNvSpPr txBox="1">
            <a:spLocks noChangeArrowheads="1"/>
          </p:cNvSpPr>
          <p:nvPr/>
        </p:nvSpPr>
        <p:spPr bwMode="auto">
          <a:xfrm>
            <a:off x="2022475" y="6330950"/>
            <a:ext cx="65405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aseline="30000">
                <a:solidFill>
                  <a:srgbClr val="AFAFAF"/>
                </a:solidFill>
              </a:rPr>
              <a:t>1) </a:t>
            </a:r>
            <a:r>
              <a:rPr lang="en-US" sz="1000">
                <a:solidFill>
                  <a:srgbClr val="AFAFAF"/>
                </a:solidFill>
              </a:rPr>
              <a:t>The expected dividend yield is calculated on the basis of announced or expected dividends and the closing price at the time of ranking (January, April, July and October)</a:t>
            </a:r>
          </a:p>
        </p:txBody>
      </p:sp>
      <p:sp>
        <p:nvSpPr>
          <p:cNvPr id="11279" name="Rectangle 31"/>
          <p:cNvSpPr>
            <a:spLocks noChangeArrowheads="1"/>
          </p:cNvSpPr>
          <p:nvPr/>
        </p:nvSpPr>
        <p:spPr bwMode="auto">
          <a:xfrm>
            <a:off x="0" y="-184150"/>
            <a:ext cx="184150"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p>
            <a:endParaRPr lang="en-GB"/>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plate-2011-Feb">
  <a:themeElements>
    <a:clrScheme name="Template-2011-Feb 1">
      <a:dk1>
        <a:srgbClr val="000000"/>
      </a:dk1>
      <a:lt1>
        <a:srgbClr val="FFFFFF"/>
      </a:lt1>
      <a:dk2>
        <a:srgbClr val="000000"/>
      </a:dk2>
      <a:lt2>
        <a:srgbClr val="D80F5F"/>
      </a:lt2>
      <a:accent1>
        <a:srgbClr val="14044E"/>
      </a:accent1>
      <a:accent2>
        <a:srgbClr val="99D8F3"/>
      </a:accent2>
      <a:accent3>
        <a:srgbClr val="FFFFFF"/>
      </a:accent3>
      <a:accent4>
        <a:srgbClr val="000000"/>
      </a:accent4>
      <a:accent5>
        <a:srgbClr val="AAAAB2"/>
      </a:accent5>
      <a:accent6>
        <a:srgbClr val="8AC4DC"/>
      </a:accent6>
      <a:hlink>
        <a:srgbClr val="AFAFAF"/>
      </a:hlink>
      <a:folHlink>
        <a:srgbClr val="D9D9D9"/>
      </a:folHlink>
    </a:clrScheme>
    <a:fontScheme name="Template-2011-Fe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ate-2011-Feb 1">
        <a:dk1>
          <a:srgbClr val="000000"/>
        </a:dk1>
        <a:lt1>
          <a:srgbClr val="FFFFFF"/>
        </a:lt1>
        <a:dk2>
          <a:srgbClr val="000000"/>
        </a:dk2>
        <a:lt2>
          <a:srgbClr val="D80F5F"/>
        </a:lt2>
        <a:accent1>
          <a:srgbClr val="14044E"/>
        </a:accent1>
        <a:accent2>
          <a:srgbClr val="99D8F3"/>
        </a:accent2>
        <a:accent3>
          <a:srgbClr val="FFFFFF"/>
        </a:accent3>
        <a:accent4>
          <a:srgbClr val="000000"/>
        </a:accent4>
        <a:accent5>
          <a:srgbClr val="AAAAB2"/>
        </a:accent5>
        <a:accent6>
          <a:srgbClr val="8AC4DC"/>
        </a:accent6>
        <a:hlink>
          <a:srgbClr val="AFAFAF"/>
        </a:hlink>
        <a:folHlink>
          <a:srgbClr val="D9D9D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andarddesign">
  <a:themeElements>
    <a:clrScheme name="Standarddesign 5">
      <a:dk1>
        <a:srgbClr val="000000"/>
      </a:dk1>
      <a:lt1>
        <a:srgbClr val="FFFFFF"/>
      </a:lt1>
      <a:dk2>
        <a:srgbClr val="000000"/>
      </a:dk2>
      <a:lt2>
        <a:srgbClr val="D80F5F"/>
      </a:lt2>
      <a:accent1>
        <a:srgbClr val="14044E"/>
      </a:accent1>
      <a:accent2>
        <a:srgbClr val="99D8F3"/>
      </a:accent2>
      <a:accent3>
        <a:srgbClr val="FFFFFF"/>
      </a:accent3>
      <a:accent4>
        <a:srgbClr val="000000"/>
      </a:accent4>
      <a:accent5>
        <a:srgbClr val="AAAAB2"/>
      </a:accent5>
      <a:accent6>
        <a:srgbClr val="8AC4DC"/>
      </a:accent6>
      <a:hlink>
        <a:srgbClr val="AFAFAF"/>
      </a:hlink>
      <a:folHlink>
        <a:srgbClr val="D9D9D9"/>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hlink"/>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hlink"/>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1"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00000"/>
        </a:dk2>
        <a:lt2>
          <a:srgbClr val="8A8A8A"/>
        </a:lt2>
        <a:accent1>
          <a:srgbClr val="14044E"/>
        </a:accent1>
        <a:accent2>
          <a:srgbClr val="92B614"/>
        </a:accent2>
        <a:accent3>
          <a:srgbClr val="FFFFFF"/>
        </a:accent3>
        <a:accent4>
          <a:srgbClr val="000000"/>
        </a:accent4>
        <a:accent5>
          <a:srgbClr val="AAAAB2"/>
        </a:accent5>
        <a:accent6>
          <a:srgbClr val="84A511"/>
        </a:accent6>
        <a:hlink>
          <a:srgbClr val="C9C9C9"/>
        </a:hlink>
        <a:folHlink>
          <a:srgbClr val="EAEAEA"/>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A8A8A"/>
        </a:lt2>
        <a:accent1>
          <a:srgbClr val="14044E"/>
        </a:accent1>
        <a:accent2>
          <a:srgbClr val="009EE0"/>
        </a:accent2>
        <a:accent3>
          <a:srgbClr val="FFFFFF"/>
        </a:accent3>
        <a:accent4>
          <a:srgbClr val="000000"/>
        </a:accent4>
        <a:accent5>
          <a:srgbClr val="AAAAB2"/>
        </a:accent5>
        <a:accent6>
          <a:srgbClr val="008FCB"/>
        </a:accent6>
        <a:hlink>
          <a:srgbClr val="C9C9C9"/>
        </a:hlink>
        <a:folHlink>
          <a:srgbClr val="EAEAEA"/>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A8A8A"/>
        </a:lt2>
        <a:accent1>
          <a:srgbClr val="14044E"/>
        </a:accent1>
        <a:accent2>
          <a:srgbClr val="F99E00"/>
        </a:accent2>
        <a:accent3>
          <a:srgbClr val="FFFFFF"/>
        </a:accent3>
        <a:accent4>
          <a:srgbClr val="000000"/>
        </a:accent4>
        <a:accent5>
          <a:srgbClr val="AAAAB2"/>
        </a:accent5>
        <a:accent6>
          <a:srgbClr val="E28F00"/>
        </a:accent6>
        <a:hlink>
          <a:srgbClr val="C9C9C9"/>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000000"/>
        </a:dk2>
        <a:lt2>
          <a:srgbClr val="8A8A8A"/>
        </a:lt2>
        <a:accent1>
          <a:srgbClr val="14044E"/>
        </a:accent1>
        <a:accent2>
          <a:srgbClr val="D80F5F"/>
        </a:accent2>
        <a:accent3>
          <a:srgbClr val="FFFFFF"/>
        </a:accent3>
        <a:accent4>
          <a:srgbClr val="000000"/>
        </a:accent4>
        <a:accent5>
          <a:srgbClr val="AAAAB2"/>
        </a:accent5>
        <a:accent6>
          <a:srgbClr val="C40C55"/>
        </a:accent6>
        <a:hlink>
          <a:srgbClr val="C9C9C9"/>
        </a:hlink>
        <a:folHlink>
          <a:srgbClr val="EAEAEA"/>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D80F5F"/>
        </a:lt2>
        <a:accent1>
          <a:srgbClr val="14044E"/>
        </a:accent1>
        <a:accent2>
          <a:srgbClr val="99D8F3"/>
        </a:accent2>
        <a:accent3>
          <a:srgbClr val="FFFFFF"/>
        </a:accent3>
        <a:accent4>
          <a:srgbClr val="000000"/>
        </a:accent4>
        <a:accent5>
          <a:srgbClr val="AAAAB2"/>
        </a:accent5>
        <a:accent6>
          <a:srgbClr val="8AC4DC"/>
        </a:accent6>
        <a:hlink>
          <a:srgbClr val="AFAFAF"/>
        </a:hlink>
        <a:folHlink>
          <a:srgbClr val="D9D9D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9B94EA90-33BD-45AF-BD47-A2D03F9A3AF7}"/>
</file>

<file path=customXml/itemProps2.xml><?xml version="1.0" encoding="utf-8"?>
<ds:datastoreItem xmlns:ds="http://schemas.openxmlformats.org/officeDocument/2006/customXml" ds:itemID="{3728106E-B42C-417E-9602-C838B1447D1B}"/>
</file>

<file path=customXml/itemProps3.xml><?xml version="1.0" encoding="utf-8"?>
<ds:datastoreItem xmlns:ds="http://schemas.openxmlformats.org/officeDocument/2006/customXml" ds:itemID="{0DDF416A-677C-4B68-B883-E1EFF01BFB99}"/>
</file>

<file path=docProps/app.xml><?xml version="1.0" encoding="utf-8"?>
<Properties xmlns="http://schemas.openxmlformats.org/officeDocument/2006/extended-properties" xmlns:vt="http://schemas.openxmlformats.org/officeDocument/2006/docPropsVTypes">
  <TotalTime>0</TotalTime>
  <Words>1666</Words>
  <Application>Microsoft Office PowerPoint</Application>
  <PresentationFormat>A4 Paper (210x297 mm)</PresentationFormat>
  <Paragraphs>252</Paragraphs>
  <Slides>17</Slides>
  <Notes>8</Notes>
  <HiddenSlides>0</HiddenSlides>
  <MMClips>0</MMClips>
  <ScaleCrop>false</ScaleCrop>
  <HeadingPairs>
    <vt:vector size="4" baseType="variant">
      <vt:variant>
        <vt:lpstr>Theme</vt:lpstr>
      </vt:variant>
      <vt:variant>
        <vt:i4>2</vt:i4>
      </vt:variant>
      <vt:variant>
        <vt:lpstr>Slide Titles</vt:lpstr>
      </vt:variant>
      <vt:variant>
        <vt:i4>17</vt:i4>
      </vt:variant>
    </vt:vector>
  </HeadingPairs>
  <TitlesOfParts>
    <vt:vector size="19" baseType="lpstr">
      <vt:lpstr>Template-2011-Feb</vt:lpstr>
      <vt:lpstr>1_Standarddesign</vt:lpstr>
      <vt:lpstr>STOXX® Europe Maximum Dividend 40 Index</vt:lpstr>
      <vt:lpstr>STOXX Europe Maximum Dividend 40 index is a liquid and tradable underlying for financial products</vt:lpstr>
      <vt:lpstr>Agenda</vt:lpstr>
      <vt:lpstr>STOXX Europe Maximum Dividend 40 Index 1. Index Indroduction  </vt:lpstr>
      <vt:lpstr>The vast majority of dividend payments in Europe take place in spring</vt:lpstr>
      <vt:lpstr>In Europe Great Britain is paying dividends throughout the year whereas Germany is paying mostly in Q1 and Q2</vt:lpstr>
      <vt:lpstr>STOXX Europe Maximum Dividend 40 index follows a stand alone concept for the European market</vt:lpstr>
      <vt:lpstr>STOXX Europe Maximum Dividend 40 Index 2. Methodology</vt:lpstr>
      <vt:lpstr>STOXX Europe Maximum Dividend 40 index aims to maximize the dividend yield of the index portfolio</vt:lpstr>
      <vt:lpstr>STOXX Europe Maximum Dividend 40 index</vt:lpstr>
      <vt:lpstr>STOXX Dividend Indices: Comparative Overview of the Select Dividend and the Maximum Dividend concepts</vt:lpstr>
      <vt:lpstr>STOXX Europe Maximum Dividend 40 Index 3. Profile &amp; Performance Figures</vt:lpstr>
      <vt:lpstr>STOXX Europe Maximum Dividend Index shows strong outperformance of STOXX Europe 600</vt:lpstr>
      <vt:lpstr>Historical dividend yield can be significantly improved by applying the maximum dividend concept</vt:lpstr>
      <vt:lpstr>During financial crisis in 2007 and 2008 overweight in financials was high, in 2009 significantly reduced</vt:lpstr>
      <vt:lpstr>STOXX sales contacts</vt:lpstr>
      <vt:lpstr>Disclaimer</vt:lpstr>
    </vt:vector>
  </TitlesOfParts>
  <Company>Deutsche Boers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ylbver</dc:creator>
  <cp:lastModifiedBy>txwu8</cp:lastModifiedBy>
  <cp:revision>132</cp:revision>
  <cp:lastPrinted>2011-10-28T11:22:46Z</cp:lastPrinted>
  <dcterms:created xsi:type="dcterms:W3CDTF">2011-06-07T09:13:21Z</dcterms:created>
  <dcterms:modified xsi:type="dcterms:W3CDTF">2012-11-15T08:2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